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6.xml" ContentType="application/vnd.openxmlformats-officedocument.presentationml.tags+xml"/>
  <Override PartName="/ppt/notesSlides/notesSlide21.xml" ContentType="application/vnd.openxmlformats-officedocument.presentationml.notesSlide+xml"/>
  <Override PartName="/ppt/tags/tag7.xml" ContentType="application/vnd.openxmlformats-officedocument.presentationml.tags+xml"/>
  <Override PartName="/ppt/notesSlides/notesSlide22.xml" ContentType="application/vnd.openxmlformats-officedocument.presentationml.notesSlide+xml"/>
  <Override PartName="/ppt/tags/tag8.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9.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23" r:id="rId4"/>
  </p:sldMasterIdLst>
  <p:notesMasterIdLst>
    <p:notesMasterId r:id="rId41"/>
  </p:notesMasterIdLst>
  <p:handoutMasterIdLst>
    <p:handoutMasterId r:id="rId42"/>
  </p:handoutMasterIdLst>
  <p:sldIdLst>
    <p:sldId id="2147481903" r:id="rId5"/>
    <p:sldId id="2147481882" r:id="rId6"/>
    <p:sldId id="2147481877" r:id="rId7"/>
    <p:sldId id="2147481883" r:id="rId8"/>
    <p:sldId id="2147481894" r:id="rId9"/>
    <p:sldId id="2147481959" r:id="rId10"/>
    <p:sldId id="2147481887" r:id="rId11"/>
    <p:sldId id="2147481900" r:id="rId12"/>
    <p:sldId id="2147481912" r:id="rId13"/>
    <p:sldId id="2147481904" r:id="rId14"/>
    <p:sldId id="2147481905" r:id="rId15"/>
    <p:sldId id="2147481885" r:id="rId16"/>
    <p:sldId id="317" r:id="rId17"/>
    <p:sldId id="2147481898" r:id="rId18"/>
    <p:sldId id="2147481907" r:id="rId19"/>
    <p:sldId id="761" r:id="rId20"/>
    <p:sldId id="2147481895" r:id="rId21"/>
    <p:sldId id="764" r:id="rId22"/>
    <p:sldId id="2147481886" r:id="rId23"/>
    <p:sldId id="2147481949" r:id="rId24"/>
    <p:sldId id="2147481950" r:id="rId25"/>
    <p:sldId id="2147481966" r:id="rId26"/>
    <p:sldId id="2147481969" r:id="rId27"/>
    <p:sldId id="2147481968" r:id="rId28"/>
    <p:sldId id="2147481889" r:id="rId29"/>
    <p:sldId id="257" r:id="rId30"/>
    <p:sldId id="769" r:id="rId31"/>
    <p:sldId id="2147481911" r:id="rId32"/>
    <p:sldId id="2147481919" r:id="rId33"/>
    <p:sldId id="2147481920" r:id="rId34"/>
    <p:sldId id="6887" r:id="rId35"/>
    <p:sldId id="2147481958" r:id="rId36"/>
    <p:sldId id="2147481953" r:id="rId37"/>
    <p:sldId id="2147481942" r:id="rId38"/>
    <p:sldId id="2147481962" r:id="rId39"/>
    <p:sldId id="2147481963" r:id="rId40"/>
  </p:sldIdLst>
  <p:sldSz cx="12192000" cy="6858000"/>
  <p:notesSz cx="6858000" cy="9144000"/>
  <p:custDataLst>
    <p:tags r:id="rId4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7A24BC19-97EB-72DD-ADE2-04832C3AB4AA}" name="Ramona Daukste (LV)" initials="RD(" userId="S::ramona.daukste@pwc.com::cb110d71-928f-4029-96c9-9e7c32e592fe" providerId="AD"/>
  <p188:author id="{90456D42-69BA-FA00-84FF-970E8159E349}" name="Annemarija Apine (LV)" initials="A(" userId="S::annemarija.apine@pwc.com::546f5c59-3b8d-47fd-b739-a8fadc631053" providerId="AD"/>
  <p188:author id="{A13A8A74-66D6-E386-D661-E95E9B0717FF}" name="Annemarija Apine (LV)" initials="AA" userId="Annemarija Apine (LV)" providerId="None"/>
  <p188:author id="{6C60D3CE-0911-E382-B5F7-D4118947E6C4}" name="Sindija Kirsteine (LV)" initials="SK(" userId="S::sindija.kirsteine@pwc.com::5f25501a-2215-4bb3-9d9c-8d1484ffa7c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8192D"/>
    <a:srgbClr val="CFD6E8"/>
    <a:srgbClr val="525A72"/>
    <a:srgbClr val="D18D85"/>
    <a:srgbClr val="D0CFD7"/>
    <a:srgbClr val="A4A3B2"/>
    <a:srgbClr val="F2F2F2"/>
    <a:srgbClr val="ADADAD"/>
    <a:srgbClr val="828283"/>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7" d="100"/>
          <a:sy n="107" d="100"/>
        </p:scale>
        <p:origin x="714" y="10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gs" Target="tags/tag1.xml"/><Relationship Id="rId48" Type="http://schemas.microsoft.com/office/2016/11/relationships/changesInfo" Target="changesInfos/changesInfo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mona Daukste (LV)" userId="cb110d71-928f-4029-96c9-9e7c32e592fe" providerId="ADAL" clId="{7B62B472-7289-48F8-8F5E-042798090305}"/>
    <pc:docChg chg="custSel delSld modSld">
      <pc:chgData name="Ramona Daukste (LV)" userId="cb110d71-928f-4029-96c9-9e7c32e592fe" providerId="ADAL" clId="{7B62B472-7289-48F8-8F5E-042798090305}" dt="2024-06-10T15:18:28.943" v="6" actId="478"/>
      <pc:docMkLst>
        <pc:docMk/>
      </pc:docMkLst>
      <pc:sldChg chg="del">
        <pc:chgData name="Ramona Daukste (LV)" userId="cb110d71-928f-4029-96c9-9e7c32e592fe" providerId="ADAL" clId="{7B62B472-7289-48F8-8F5E-042798090305}" dt="2024-06-10T15:17:20.220" v="3" actId="2696"/>
        <pc:sldMkLst>
          <pc:docMk/>
          <pc:sldMk cId="8764514" sldId="2147481952"/>
        </pc:sldMkLst>
      </pc:sldChg>
      <pc:sldChg chg="delSp mod">
        <pc:chgData name="Ramona Daukste (LV)" userId="cb110d71-928f-4029-96c9-9e7c32e592fe" providerId="ADAL" clId="{7B62B472-7289-48F8-8F5E-042798090305}" dt="2024-06-10T15:18:28.943" v="6" actId="478"/>
        <pc:sldMkLst>
          <pc:docMk/>
          <pc:sldMk cId="2248175541" sldId="2147481958"/>
        </pc:sldMkLst>
        <pc:spChg chg="del">
          <ac:chgData name="Ramona Daukste (LV)" userId="cb110d71-928f-4029-96c9-9e7c32e592fe" providerId="ADAL" clId="{7B62B472-7289-48F8-8F5E-042798090305}" dt="2024-06-10T15:18:28.943" v="6" actId="478"/>
          <ac:spMkLst>
            <pc:docMk/>
            <pc:sldMk cId="2248175541" sldId="2147481958"/>
            <ac:spMk id="2" creationId="{FFC448EE-BD0B-565D-940C-2AF0B89867AE}"/>
          </ac:spMkLst>
        </pc:spChg>
      </pc:sldChg>
      <pc:sldChg chg="delSp mod">
        <pc:chgData name="Ramona Daukste (LV)" userId="cb110d71-928f-4029-96c9-9e7c32e592fe" providerId="ADAL" clId="{7B62B472-7289-48F8-8F5E-042798090305}" dt="2024-06-10T15:15:29.252" v="0" actId="478"/>
        <pc:sldMkLst>
          <pc:docMk/>
          <pc:sldMk cId="329214126" sldId="2147481959"/>
        </pc:sldMkLst>
        <pc:spChg chg="del">
          <ac:chgData name="Ramona Daukste (LV)" userId="cb110d71-928f-4029-96c9-9e7c32e592fe" providerId="ADAL" clId="{7B62B472-7289-48F8-8F5E-042798090305}" dt="2024-06-10T15:15:29.252" v="0" actId="478"/>
          <ac:spMkLst>
            <pc:docMk/>
            <pc:sldMk cId="329214126" sldId="2147481959"/>
            <ac:spMk id="35" creationId="{E75B0771-339E-D70E-BF92-01FF7186E519}"/>
          </ac:spMkLst>
        </pc:spChg>
      </pc:sldChg>
      <pc:sldChg chg="delSp mod">
        <pc:chgData name="Ramona Daukste (LV)" userId="cb110d71-928f-4029-96c9-9e7c32e592fe" providerId="ADAL" clId="{7B62B472-7289-48F8-8F5E-042798090305}" dt="2024-06-10T15:16:31.519" v="1" actId="478"/>
        <pc:sldMkLst>
          <pc:docMk/>
          <pc:sldMk cId="3061079320" sldId="2147481966"/>
        </pc:sldMkLst>
        <pc:spChg chg="del">
          <ac:chgData name="Ramona Daukste (LV)" userId="cb110d71-928f-4029-96c9-9e7c32e592fe" providerId="ADAL" clId="{7B62B472-7289-48F8-8F5E-042798090305}" dt="2024-06-10T15:16:31.519" v="1" actId="478"/>
          <ac:spMkLst>
            <pc:docMk/>
            <pc:sldMk cId="3061079320" sldId="2147481966"/>
            <ac:spMk id="22" creationId="{55FD3447-15FB-514A-421F-725EDAEB25EB}"/>
          </ac:spMkLst>
        </pc:spChg>
      </pc:sldChg>
      <pc:sldChg chg="delSp modSp mod">
        <pc:chgData name="Ramona Daukste (LV)" userId="cb110d71-928f-4029-96c9-9e7c32e592fe" providerId="ADAL" clId="{7B62B472-7289-48F8-8F5E-042798090305}" dt="2024-06-10T15:17:51.922" v="5" actId="255"/>
        <pc:sldMkLst>
          <pc:docMk/>
          <pc:sldMk cId="2820792045" sldId="2147481968"/>
        </pc:sldMkLst>
        <pc:spChg chg="mod">
          <ac:chgData name="Ramona Daukste (LV)" userId="cb110d71-928f-4029-96c9-9e7c32e592fe" providerId="ADAL" clId="{7B62B472-7289-48F8-8F5E-042798090305}" dt="2024-06-10T15:17:51.922" v="5" actId="255"/>
          <ac:spMkLst>
            <pc:docMk/>
            <pc:sldMk cId="2820792045" sldId="2147481968"/>
            <ac:spMk id="9" creationId="{E60771D5-36B1-5846-E0FD-EE10BA67E143}"/>
          </ac:spMkLst>
        </pc:spChg>
        <pc:spChg chg="mod">
          <ac:chgData name="Ramona Daukste (LV)" userId="cb110d71-928f-4029-96c9-9e7c32e592fe" providerId="ADAL" clId="{7B62B472-7289-48F8-8F5E-042798090305}" dt="2024-06-10T15:17:51.922" v="5" actId="255"/>
          <ac:spMkLst>
            <pc:docMk/>
            <pc:sldMk cId="2820792045" sldId="2147481968"/>
            <ac:spMk id="10" creationId="{0E3AF958-70C4-357F-D986-53A75E5CF63B}"/>
          </ac:spMkLst>
        </pc:spChg>
        <pc:spChg chg="mod">
          <ac:chgData name="Ramona Daukste (LV)" userId="cb110d71-928f-4029-96c9-9e7c32e592fe" providerId="ADAL" clId="{7B62B472-7289-48F8-8F5E-042798090305}" dt="2024-06-10T15:17:51.922" v="5" actId="255"/>
          <ac:spMkLst>
            <pc:docMk/>
            <pc:sldMk cId="2820792045" sldId="2147481968"/>
            <ac:spMk id="11" creationId="{70513DFC-D897-87EB-EF6A-D4829E31C2D1}"/>
          </ac:spMkLst>
        </pc:spChg>
        <pc:spChg chg="mod">
          <ac:chgData name="Ramona Daukste (LV)" userId="cb110d71-928f-4029-96c9-9e7c32e592fe" providerId="ADAL" clId="{7B62B472-7289-48F8-8F5E-042798090305}" dt="2024-06-10T15:17:51.922" v="5" actId="255"/>
          <ac:spMkLst>
            <pc:docMk/>
            <pc:sldMk cId="2820792045" sldId="2147481968"/>
            <ac:spMk id="12" creationId="{9FE544F4-5FE9-EB4A-60A5-5DB0C11FA6FA}"/>
          </ac:spMkLst>
        </pc:spChg>
        <pc:spChg chg="del">
          <ac:chgData name="Ramona Daukste (LV)" userId="cb110d71-928f-4029-96c9-9e7c32e592fe" providerId="ADAL" clId="{7B62B472-7289-48F8-8F5E-042798090305}" dt="2024-06-10T15:17:30.763" v="4" actId="478"/>
          <ac:spMkLst>
            <pc:docMk/>
            <pc:sldMk cId="2820792045" sldId="2147481968"/>
            <ac:spMk id="72" creationId="{1713E620-B769-FB60-102D-E8F42D8A225B}"/>
          </ac:spMkLst>
        </pc:spChg>
      </pc:sldChg>
      <pc:sldChg chg="delSp mod">
        <pc:chgData name="Ramona Daukste (LV)" userId="cb110d71-928f-4029-96c9-9e7c32e592fe" providerId="ADAL" clId="{7B62B472-7289-48F8-8F5E-042798090305}" dt="2024-06-10T15:16:36.422" v="2" actId="478"/>
        <pc:sldMkLst>
          <pc:docMk/>
          <pc:sldMk cId="3998587978" sldId="2147481969"/>
        </pc:sldMkLst>
        <pc:spChg chg="del">
          <ac:chgData name="Ramona Daukste (LV)" userId="cb110d71-928f-4029-96c9-9e7c32e592fe" providerId="ADAL" clId="{7B62B472-7289-48F8-8F5E-042798090305}" dt="2024-06-10T15:16:36.422" v="2" actId="478"/>
          <ac:spMkLst>
            <pc:docMk/>
            <pc:sldMk cId="3998587978" sldId="2147481969"/>
            <ac:spMk id="143" creationId="{5791E58A-C025-5D3A-CCC7-D729968B9DA2}"/>
          </ac:spMkLst>
        </pc:spChg>
      </pc:sldChg>
    </pc:docChg>
  </pc:docChgLst>
  <pc:docChgLst>
    <pc:chgData name="Annemarija Apine (LV)" userId="S::annemarija.apine@pwc.com::546f5c59-3b8d-47fd-b739-a8fadc631053" providerId="AD" clId="Web-{538CCA16-C173-6D56-1770-9CDF56CAFDED}"/>
    <pc:docChg chg="delSld modSld">
      <pc:chgData name="Annemarija Apine (LV)" userId="S::annemarija.apine@pwc.com::546f5c59-3b8d-47fd-b739-a8fadc631053" providerId="AD" clId="Web-{538CCA16-C173-6D56-1770-9CDF56CAFDED}" dt="2024-05-16T13:08:16.298" v="20"/>
      <pc:docMkLst>
        <pc:docMk/>
      </pc:docMkLst>
      <pc:sldChg chg="del">
        <pc:chgData name="Annemarija Apine (LV)" userId="S::annemarija.apine@pwc.com::546f5c59-3b8d-47fd-b739-a8fadc631053" providerId="AD" clId="Web-{538CCA16-C173-6D56-1770-9CDF56CAFDED}" dt="2024-05-16T13:08:16.267" v="15"/>
        <pc:sldMkLst>
          <pc:docMk/>
          <pc:sldMk cId="0" sldId="258"/>
        </pc:sldMkLst>
      </pc:sldChg>
      <pc:sldChg chg="del">
        <pc:chgData name="Annemarija Apine (LV)" userId="S::annemarija.apine@pwc.com::546f5c59-3b8d-47fd-b739-a8fadc631053" providerId="AD" clId="Web-{538CCA16-C173-6D56-1770-9CDF56CAFDED}" dt="2024-05-16T13:08:16.204" v="1"/>
        <pc:sldMkLst>
          <pc:docMk/>
          <pc:sldMk cId="2519050060" sldId="265"/>
        </pc:sldMkLst>
      </pc:sldChg>
      <pc:sldChg chg="del">
        <pc:chgData name="Annemarija Apine (LV)" userId="S::annemarija.apine@pwc.com::546f5c59-3b8d-47fd-b739-a8fadc631053" providerId="AD" clId="Web-{538CCA16-C173-6D56-1770-9CDF56CAFDED}" dt="2024-05-16T13:08:16.267" v="13"/>
        <pc:sldMkLst>
          <pc:docMk/>
          <pc:sldMk cId="3995767015" sldId="387"/>
        </pc:sldMkLst>
      </pc:sldChg>
      <pc:sldChg chg="del">
        <pc:chgData name="Annemarija Apine (LV)" userId="S::annemarija.apine@pwc.com::546f5c59-3b8d-47fd-b739-a8fadc631053" providerId="AD" clId="Web-{538CCA16-C173-6D56-1770-9CDF56CAFDED}" dt="2024-05-16T13:08:16.235" v="10"/>
        <pc:sldMkLst>
          <pc:docMk/>
          <pc:sldMk cId="176643549" sldId="392"/>
        </pc:sldMkLst>
      </pc:sldChg>
      <pc:sldChg chg="del">
        <pc:chgData name="Annemarija Apine (LV)" userId="S::annemarija.apine@pwc.com::546f5c59-3b8d-47fd-b739-a8fadc631053" providerId="AD" clId="Web-{538CCA16-C173-6D56-1770-9CDF56CAFDED}" dt="2024-05-16T13:08:16.282" v="18"/>
        <pc:sldMkLst>
          <pc:docMk/>
          <pc:sldMk cId="4265792907" sldId="529"/>
        </pc:sldMkLst>
      </pc:sldChg>
      <pc:sldChg chg="del">
        <pc:chgData name="Annemarija Apine (LV)" userId="S::annemarija.apine@pwc.com::546f5c59-3b8d-47fd-b739-a8fadc631053" providerId="AD" clId="Web-{538CCA16-C173-6D56-1770-9CDF56CAFDED}" dt="2024-05-16T13:08:16.298" v="19"/>
        <pc:sldMkLst>
          <pc:docMk/>
          <pc:sldMk cId="4271101327" sldId="711"/>
        </pc:sldMkLst>
      </pc:sldChg>
      <pc:sldChg chg="del">
        <pc:chgData name="Annemarija Apine (LV)" userId="S::annemarija.apine@pwc.com::546f5c59-3b8d-47fd-b739-a8fadc631053" providerId="AD" clId="Web-{538CCA16-C173-6D56-1770-9CDF56CAFDED}" dt="2024-05-16T13:08:16.282" v="17"/>
        <pc:sldMkLst>
          <pc:docMk/>
          <pc:sldMk cId="1709250386" sldId="713"/>
        </pc:sldMkLst>
      </pc:sldChg>
      <pc:sldChg chg="del">
        <pc:chgData name="Annemarija Apine (LV)" userId="S::annemarija.apine@pwc.com::546f5c59-3b8d-47fd-b739-a8fadc631053" providerId="AD" clId="Web-{538CCA16-C173-6D56-1770-9CDF56CAFDED}" dt="2024-05-16T13:08:16.298" v="20"/>
        <pc:sldMkLst>
          <pc:docMk/>
          <pc:sldMk cId="1203577095" sldId="715"/>
        </pc:sldMkLst>
      </pc:sldChg>
      <pc:sldChg chg="del">
        <pc:chgData name="Annemarija Apine (LV)" userId="S::annemarija.apine@pwc.com::546f5c59-3b8d-47fd-b739-a8fadc631053" providerId="AD" clId="Web-{538CCA16-C173-6D56-1770-9CDF56CAFDED}" dt="2024-05-16T13:08:16.282" v="16"/>
        <pc:sldMkLst>
          <pc:docMk/>
          <pc:sldMk cId="3081899946" sldId="716"/>
        </pc:sldMkLst>
      </pc:sldChg>
      <pc:sldChg chg="del">
        <pc:chgData name="Annemarija Apine (LV)" userId="S::annemarija.apine@pwc.com::546f5c59-3b8d-47fd-b739-a8fadc631053" providerId="AD" clId="Web-{538CCA16-C173-6D56-1770-9CDF56CAFDED}" dt="2024-05-16T13:08:16.220" v="6"/>
        <pc:sldMkLst>
          <pc:docMk/>
          <pc:sldMk cId="2140825596" sldId="717"/>
        </pc:sldMkLst>
      </pc:sldChg>
      <pc:sldChg chg="del">
        <pc:chgData name="Annemarija Apine (LV)" userId="S::annemarija.apine@pwc.com::546f5c59-3b8d-47fd-b739-a8fadc631053" providerId="AD" clId="Web-{538CCA16-C173-6D56-1770-9CDF56CAFDED}" dt="2024-05-16T13:08:16.235" v="8"/>
        <pc:sldMkLst>
          <pc:docMk/>
          <pc:sldMk cId="0" sldId="724"/>
        </pc:sldMkLst>
      </pc:sldChg>
      <pc:sldChg chg="del">
        <pc:chgData name="Annemarija Apine (LV)" userId="S::annemarija.apine@pwc.com::546f5c59-3b8d-47fd-b739-a8fadc631053" providerId="AD" clId="Web-{538CCA16-C173-6D56-1770-9CDF56CAFDED}" dt="2024-05-16T13:08:16.220" v="5"/>
        <pc:sldMkLst>
          <pc:docMk/>
          <pc:sldMk cId="3720380803" sldId="725"/>
        </pc:sldMkLst>
      </pc:sldChg>
      <pc:sldChg chg="del">
        <pc:chgData name="Annemarija Apine (LV)" userId="S::annemarija.apine@pwc.com::546f5c59-3b8d-47fd-b739-a8fadc631053" providerId="AD" clId="Web-{538CCA16-C173-6D56-1770-9CDF56CAFDED}" dt="2024-05-16T13:08:16.220" v="4"/>
        <pc:sldMkLst>
          <pc:docMk/>
          <pc:sldMk cId="1762602753" sldId="726"/>
        </pc:sldMkLst>
      </pc:sldChg>
      <pc:sldChg chg="del">
        <pc:chgData name="Annemarija Apine (LV)" userId="S::annemarija.apine@pwc.com::546f5c59-3b8d-47fd-b739-a8fadc631053" providerId="AD" clId="Web-{538CCA16-C173-6D56-1770-9CDF56CAFDED}" dt="2024-05-16T13:08:16.204" v="3"/>
        <pc:sldMkLst>
          <pc:docMk/>
          <pc:sldMk cId="1702508433" sldId="727"/>
        </pc:sldMkLst>
      </pc:sldChg>
      <pc:sldChg chg="del">
        <pc:chgData name="Annemarija Apine (LV)" userId="S::annemarija.apine@pwc.com::546f5c59-3b8d-47fd-b739-a8fadc631053" providerId="AD" clId="Web-{538CCA16-C173-6D56-1770-9CDF56CAFDED}" dt="2024-05-16T13:08:16.204" v="2"/>
        <pc:sldMkLst>
          <pc:docMk/>
          <pc:sldMk cId="1990025065" sldId="759"/>
        </pc:sldMkLst>
      </pc:sldChg>
      <pc:sldChg chg="del">
        <pc:chgData name="Annemarija Apine (LV)" userId="S::annemarija.apine@pwc.com::546f5c59-3b8d-47fd-b739-a8fadc631053" providerId="AD" clId="Web-{538CCA16-C173-6D56-1770-9CDF56CAFDED}" dt="2024-05-16T13:08:16.267" v="14"/>
        <pc:sldMkLst>
          <pc:docMk/>
          <pc:sldMk cId="160076585" sldId="766"/>
        </pc:sldMkLst>
      </pc:sldChg>
      <pc:sldChg chg="modSp modCm">
        <pc:chgData name="Annemarija Apine (LV)" userId="S::annemarija.apine@pwc.com::546f5c59-3b8d-47fd-b739-a8fadc631053" providerId="AD" clId="Web-{538CCA16-C173-6D56-1770-9CDF56CAFDED}" dt="2024-05-16T13:08:00.454" v="0" actId="20577"/>
        <pc:sldMkLst>
          <pc:docMk/>
          <pc:sldMk cId="192098022" sldId="2147481877"/>
        </pc:sldMkLst>
        <pc:spChg chg="mod">
          <ac:chgData name="Annemarija Apine (LV)" userId="S::annemarija.apine@pwc.com::546f5c59-3b8d-47fd-b739-a8fadc631053" providerId="AD" clId="Web-{538CCA16-C173-6D56-1770-9CDF56CAFDED}" dt="2024-05-16T13:08:00.454" v="0" actId="20577"/>
          <ac:spMkLst>
            <pc:docMk/>
            <pc:sldMk cId="192098022" sldId="2147481877"/>
            <ac:spMk id="6" creationId="{2CB3F9F5-858C-1D21-4D13-EAEDABE2E74A}"/>
          </ac:spMkLst>
        </pc:spChg>
        <pc:extLst>
          <p:ext xmlns:p="http://schemas.openxmlformats.org/presentationml/2006/main" uri="{D6D511B9-2390-475A-947B-AFAB55BFBCF1}">
            <pc226:cmChg xmlns:pc226="http://schemas.microsoft.com/office/powerpoint/2022/06/main/command" chg="mod">
              <pc226:chgData name="Annemarija Apine (LV)" userId="S::annemarija.apine@pwc.com::546f5c59-3b8d-47fd-b739-a8fadc631053" providerId="AD" clId="Web-{538CCA16-C173-6D56-1770-9CDF56CAFDED}" dt="2024-05-16T13:08:00.454" v="0" actId="20577"/>
              <pc2:cmMkLst xmlns:pc2="http://schemas.microsoft.com/office/powerpoint/2019/9/main/command">
                <pc:docMk/>
                <pc:sldMk cId="192098022" sldId="2147481877"/>
                <pc2:cmMk id="{34AB9907-A448-473E-B05A-E96D68CA518A}"/>
              </pc2:cmMkLst>
            </pc226:cmChg>
          </p:ext>
        </pc:extLst>
      </pc:sldChg>
      <pc:sldChg chg="del">
        <pc:chgData name="Annemarija Apine (LV)" userId="S::annemarija.apine@pwc.com::546f5c59-3b8d-47fd-b739-a8fadc631053" providerId="AD" clId="Web-{538CCA16-C173-6D56-1770-9CDF56CAFDED}" dt="2024-05-16T13:08:16.251" v="12"/>
        <pc:sldMkLst>
          <pc:docMk/>
          <pc:sldMk cId="2160348050" sldId="2147481944"/>
        </pc:sldMkLst>
      </pc:sldChg>
      <pc:sldChg chg="del">
        <pc:chgData name="Annemarija Apine (LV)" userId="S::annemarija.apine@pwc.com::546f5c59-3b8d-47fd-b739-a8fadc631053" providerId="AD" clId="Web-{538CCA16-C173-6D56-1770-9CDF56CAFDED}" dt="2024-05-16T13:08:16.251" v="11"/>
        <pc:sldMkLst>
          <pc:docMk/>
          <pc:sldMk cId="2967609754" sldId="2147481945"/>
        </pc:sldMkLst>
      </pc:sldChg>
      <pc:sldChg chg="del">
        <pc:chgData name="Annemarija Apine (LV)" userId="S::annemarija.apine@pwc.com::546f5c59-3b8d-47fd-b739-a8fadc631053" providerId="AD" clId="Web-{538CCA16-C173-6D56-1770-9CDF56CAFDED}" dt="2024-05-16T13:08:16.235" v="9"/>
        <pc:sldMkLst>
          <pc:docMk/>
          <pc:sldMk cId="790851881" sldId="2147481946"/>
        </pc:sldMkLst>
      </pc:sldChg>
      <pc:sldChg chg="del">
        <pc:chgData name="Annemarija Apine (LV)" userId="S::annemarija.apine@pwc.com::546f5c59-3b8d-47fd-b739-a8fadc631053" providerId="AD" clId="Web-{538CCA16-C173-6D56-1770-9CDF56CAFDED}" dt="2024-05-16T13:08:16.220" v="7"/>
        <pc:sldMkLst>
          <pc:docMk/>
          <pc:sldMk cId="972494666" sldId="2147481947"/>
        </pc:sldMkLst>
      </pc:sldChg>
    </pc:docChg>
  </pc:docChgLst>
  <pc:docChgLst>
    <pc:chgData name="Sindija Kirsteine (LV)" userId="5f25501a-2215-4bb3-9d9c-8d1484ffa7c1" providerId="ADAL" clId="{AD634740-2A4A-4DBA-91EE-B286EB63FCB7}"/>
    <pc:docChg chg="undo custSel addSld delSld modSld sldOrd replTag">
      <pc:chgData name="Sindija Kirsteine (LV)" userId="5f25501a-2215-4bb3-9d9c-8d1484ffa7c1" providerId="ADAL" clId="{AD634740-2A4A-4DBA-91EE-B286EB63FCB7}" dt="2024-06-10T09:35:33.308" v="3118"/>
      <pc:docMkLst>
        <pc:docMk/>
      </pc:docMkLst>
      <pc:sldChg chg="modSp mod">
        <pc:chgData name="Sindija Kirsteine (LV)" userId="5f25501a-2215-4bb3-9d9c-8d1484ffa7c1" providerId="ADAL" clId="{AD634740-2A4A-4DBA-91EE-B286EB63FCB7}" dt="2024-06-05T08:35:39.276" v="875" actId="20577"/>
        <pc:sldMkLst>
          <pc:docMk/>
          <pc:sldMk cId="0" sldId="257"/>
        </pc:sldMkLst>
        <pc:spChg chg="mod">
          <ac:chgData name="Sindija Kirsteine (LV)" userId="5f25501a-2215-4bb3-9d9c-8d1484ffa7c1" providerId="ADAL" clId="{AD634740-2A4A-4DBA-91EE-B286EB63FCB7}" dt="2024-06-05T08:25:40.085" v="537"/>
          <ac:spMkLst>
            <pc:docMk/>
            <pc:sldMk cId="0" sldId="257"/>
            <ac:spMk id="4" creationId="{D2DC2135-6C91-C657-7AF3-7AE1A1FE4EA9}"/>
          </ac:spMkLst>
        </pc:spChg>
        <pc:spChg chg="mod">
          <ac:chgData name="Sindija Kirsteine (LV)" userId="5f25501a-2215-4bb3-9d9c-8d1484ffa7c1" providerId="ADAL" clId="{AD634740-2A4A-4DBA-91EE-B286EB63FCB7}" dt="2024-06-05T08:35:39.276" v="875" actId="20577"/>
          <ac:spMkLst>
            <pc:docMk/>
            <pc:sldMk cId="0" sldId="257"/>
            <ac:spMk id="43" creationId="{062F8418-DF01-4DEB-DD86-BFE5C35728DB}"/>
          </ac:spMkLst>
        </pc:spChg>
        <pc:spChg chg="mod">
          <ac:chgData name="Sindija Kirsteine (LV)" userId="5f25501a-2215-4bb3-9d9c-8d1484ffa7c1" providerId="ADAL" clId="{AD634740-2A4A-4DBA-91EE-B286EB63FCB7}" dt="2024-06-05T08:35:30.974" v="867" actId="20577"/>
          <ac:spMkLst>
            <pc:docMk/>
            <pc:sldMk cId="0" sldId="257"/>
            <ac:spMk id="44" creationId="{B5C75262-5B73-0D6D-2784-7C4146FFCE0D}"/>
          </ac:spMkLst>
        </pc:spChg>
        <pc:spChg chg="mod">
          <ac:chgData name="Sindija Kirsteine (LV)" userId="5f25501a-2215-4bb3-9d9c-8d1484ffa7c1" providerId="ADAL" clId="{AD634740-2A4A-4DBA-91EE-B286EB63FCB7}" dt="2024-06-05T08:35:32.874" v="869" actId="20577"/>
          <ac:spMkLst>
            <pc:docMk/>
            <pc:sldMk cId="0" sldId="257"/>
            <ac:spMk id="46" creationId="{D3984ABA-C280-1233-6275-A6FFB82AC7C6}"/>
          </ac:spMkLst>
        </pc:spChg>
        <pc:spChg chg="mod">
          <ac:chgData name="Sindija Kirsteine (LV)" userId="5f25501a-2215-4bb3-9d9c-8d1484ffa7c1" providerId="ADAL" clId="{AD634740-2A4A-4DBA-91EE-B286EB63FCB7}" dt="2024-06-05T08:35:34.648" v="871" actId="20577"/>
          <ac:spMkLst>
            <pc:docMk/>
            <pc:sldMk cId="0" sldId="257"/>
            <ac:spMk id="47" creationId="{22420D02-673E-A1D3-B38E-73257965E943}"/>
          </ac:spMkLst>
        </pc:spChg>
        <pc:spChg chg="mod">
          <ac:chgData name="Sindija Kirsteine (LV)" userId="5f25501a-2215-4bb3-9d9c-8d1484ffa7c1" providerId="ADAL" clId="{AD634740-2A4A-4DBA-91EE-B286EB63FCB7}" dt="2024-06-05T08:35:36.532" v="873" actId="20577"/>
          <ac:spMkLst>
            <pc:docMk/>
            <pc:sldMk cId="0" sldId="257"/>
            <ac:spMk id="48" creationId="{533E4F8D-7B13-9790-8931-DFE03A2CF14A}"/>
          </ac:spMkLst>
        </pc:spChg>
        <pc:spChg chg="mod">
          <ac:chgData name="Sindija Kirsteine (LV)" userId="5f25501a-2215-4bb3-9d9c-8d1484ffa7c1" providerId="ADAL" clId="{AD634740-2A4A-4DBA-91EE-B286EB63FCB7}" dt="2024-06-05T08:35:28.793" v="865" actId="20577"/>
          <ac:spMkLst>
            <pc:docMk/>
            <pc:sldMk cId="0" sldId="257"/>
            <ac:spMk id="51" creationId="{81AF180C-6B8F-CA49-F52D-1B3F038B0FBD}"/>
          </ac:spMkLst>
        </pc:spChg>
      </pc:sldChg>
      <pc:sldChg chg="addSp delSp modSp mod">
        <pc:chgData name="Sindija Kirsteine (LV)" userId="5f25501a-2215-4bb3-9d9c-8d1484ffa7c1" providerId="ADAL" clId="{AD634740-2A4A-4DBA-91EE-B286EB63FCB7}" dt="2024-06-05T08:27:48.043" v="602"/>
        <pc:sldMkLst>
          <pc:docMk/>
          <pc:sldMk cId="1395428684" sldId="269"/>
        </pc:sldMkLst>
        <pc:spChg chg="mod">
          <ac:chgData name="Sindija Kirsteine (LV)" userId="5f25501a-2215-4bb3-9d9c-8d1484ffa7c1" providerId="ADAL" clId="{AD634740-2A4A-4DBA-91EE-B286EB63FCB7}" dt="2024-06-05T08:22:49.695" v="435"/>
          <ac:spMkLst>
            <pc:docMk/>
            <pc:sldMk cId="1395428684" sldId="269"/>
            <ac:spMk id="3" creationId="{07B729B6-6A1E-DA06-7FD1-06B57DF4CA3D}"/>
          </ac:spMkLst>
        </pc:spChg>
        <pc:spChg chg="mod">
          <ac:chgData name="Sindija Kirsteine (LV)" userId="5f25501a-2215-4bb3-9d9c-8d1484ffa7c1" providerId="ADAL" clId="{AD634740-2A4A-4DBA-91EE-B286EB63FCB7}" dt="2024-06-05T08:27:48.043" v="602"/>
          <ac:spMkLst>
            <pc:docMk/>
            <pc:sldMk cId="1395428684" sldId="269"/>
            <ac:spMk id="6" creationId="{18051140-FCCA-F20A-06DC-408A65F92BBB}"/>
          </ac:spMkLst>
        </pc:spChg>
        <pc:spChg chg="mod">
          <ac:chgData name="Sindija Kirsteine (LV)" userId="5f25501a-2215-4bb3-9d9c-8d1484ffa7c1" providerId="ADAL" clId="{AD634740-2A4A-4DBA-91EE-B286EB63FCB7}" dt="2024-06-05T08:27:48.043" v="602"/>
          <ac:spMkLst>
            <pc:docMk/>
            <pc:sldMk cId="1395428684" sldId="269"/>
            <ac:spMk id="7" creationId="{D50524A2-16C9-8119-7624-94AD33A92698}"/>
          </ac:spMkLst>
        </pc:spChg>
        <pc:spChg chg="mod">
          <ac:chgData name="Sindija Kirsteine (LV)" userId="5f25501a-2215-4bb3-9d9c-8d1484ffa7c1" providerId="ADAL" clId="{AD634740-2A4A-4DBA-91EE-B286EB63FCB7}" dt="2024-06-05T08:27:48.043" v="602"/>
          <ac:spMkLst>
            <pc:docMk/>
            <pc:sldMk cId="1395428684" sldId="269"/>
            <ac:spMk id="12" creationId="{1E94DCF4-87CD-C04D-202B-3602D5E9CAB7}"/>
          </ac:spMkLst>
        </pc:spChg>
        <pc:spChg chg="mod">
          <ac:chgData name="Sindija Kirsteine (LV)" userId="5f25501a-2215-4bb3-9d9c-8d1484ffa7c1" providerId="ADAL" clId="{AD634740-2A4A-4DBA-91EE-B286EB63FCB7}" dt="2024-06-05T08:27:48.043" v="602"/>
          <ac:spMkLst>
            <pc:docMk/>
            <pc:sldMk cId="1395428684" sldId="269"/>
            <ac:spMk id="14" creationId="{2CFCB049-D49D-8F78-B934-154FC9EF7C93}"/>
          </ac:spMkLst>
        </pc:spChg>
        <pc:spChg chg="mod">
          <ac:chgData name="Sindija Kirsteine (LV)" userId="5f25501a-2215-4bb3-9d9c-8d1484ffa7c1" providerId="ADAL" clId="{AD634740-2A4A-4DBA-91EE-B286EB63FCB7}" dt="2024-06-05T08:27:48.043" v="602"/>
          <ac:spMkLst>
            <pc:docMk/>
            <pc:sldMk cId="1395428684" sldId="269"/>
            <ac:spMk id="15" creationId="{864ABA50-7CE9-3265-972A-A369BF6A74EC}"/>
          </ac:spMkLst>
        </pc:spChg>
        <pc:spChg chg="mod">
          <ac:chgData name="Sindija Kirsteine (LV)" userId="5f25501a-2215-4bb3-9d9c-8d1484ffa7c1" providerId="ADAL" clId="{AD634740-2A4A-4DBA-91EE-B286EB63FCB7}" dt="2024-06-05T08:27:48.043" v="602"/>
          <ac:spMkLst>
            <pc:docMk/>
            <pc:sldMk cId="1395428684" sldId="269"/>
            <ac:spMk id="16" creationId="{8C6285E4-6EF7-019D-BDF2-18E6F30DAC71}"/>
          </ac:spMkLst>
        </pc:spChg>
        <pc:spChg chg="mod">
          <ac:chgData name="Sindija Kirsteine (LV)" userId="5f25501a-2215-4bb3-9d9c-8d1484ffa7c1" providerId="ADAL" clId="{AD634740-2A4A-4DBA-91EE-B286EB63FCB7}" dt="2024-06-05T08:27:48.043" v="602"/>
          <ac:spMkLst>
            <pc:docMk/>
            <pc:sldMk cId="1395428684" sldId="269"/>
            <ac:spMk id="17" creationId="{113BDFC9-9059-6694-2CA3-4143DB68E019}"/>
          </ac:spMkLst>
        </pc:spChg>
        <pc:grpChg chg="add mod">
          <ac:chgData name="Sindija Kirsteine (LV)" userId="5f25501a-2215-4bb3-9d9c-8d1484ffa7c1" providerId="ADAL" clId="{AD634740-2A4A-4DBA-91EE-B286EB63FCB7}" dt="2024-06-05T08:27:48.043" v="602"/>
          <ac:grpSpMkLst>
            <pc:docMk/>
            <pc:sldMk cId="1395428684" sldId="269"/>
            <ac:grpSpMk id="5" creationId="{44146702-A337-91F0-08D9-C7706A95A89F}"/>
          </ac:grpSpMkLst>
        </pc:grpChg>
        <pc:grpChg chg="del">
          <ac:chgData name="Sindija Kirsteine (LV)" userId="5f25501a-2215-4bb3-9d9c-8d1484ffa7c1" providerId="ADAL" clId="{AD634740-2A4A-4DBA-91EE-B286EB63FCB7}" dt="2024-06-05T08:27:47.790" v="601" actId="478"/>
          <ac:grpSpMkLst>
            <pc:docMk/>
            <pc:sldMk cId="1395428684" sldId="269"/>
            <ac:grpSpMk id="37" creationId="{352E7B30-4249-D378-2910-F85BB5B8127A}"/>
          </ac:grpSpMkLst>
        </pc:grpChg>
      </pc:sldChg>
      <pc:sldChg chg="addSp delSp modSp mod ord delCm">
        <pc:chgData name="Sindija Kirsteine (LV)" userId="5f25501a-2215-4bb3-9d9c-8d1484ffa7c1" providerId="ADAL" clId="{AD634740-2A4A-4DBA-91EE-B286EB63FCB7}" dt="2024-06-10T07:48:32.827" v="2660" actId="207"/>
        <pc:sldMkLst>
          <pc:docMk/>
          <pc:sldMk cId="0" sldId="317"/>
        </pc:sldMkLst>
        <pc:spChg chg="mod">
          <ac:chgData name="Sindija Kirsteine (LV)" userId="5f25501a-2215-4bb3-9d9c-8d1484ffa7c1" providerId="ADAL" clId="{AD634740-2A4A-4DBA-91EE-B286EB63FCB7}" dt="2024-06-05T08:23:21.381" v="458"/>
          <ac:spMkLst>
            <pc:docMk/>
            <pc:sldMk cId="0" sldId="317"/>
            <ac:spMk id="3" creationId="{4054DBA8-7533-4104-F0C8-00FAEB2195D2}"/>
          </ac:spMkLst>
        </pc:spChg>
        <pc:spChg chg="mod">
          <ac:chgData name="Sindija Kirsteine (LV)" userId="5f25501a-2215-4bb3-9d9c-8d1484ffa7c1" providerId="ADAL" clId="{AD634740-2A4A-4DBA-91EE-B286EB63FCB7}" dt="2024-06-05T08:28:40.495" v="638"/>
          <ac:spMkLst>
            <pc:docMk/>
            <pc:sldMk cId="0" sldId="317"/>
            <ac:spMk id="5" creationId="{811FBC76-38A1-3D0C-CA42-D9229C2EBEB2}"/>
          </ac:spMkLst>
        </pc:spChg>
        <pc:spChg chg="mod">
          <ac:chgData name="Sindija Kirsteine (LV)" userId="5f25501a-2215-4bb3-9d9c-8d1484ffa7c1" providerId="ADAL" clId="{AD634740-2A4A-4DBA-91EE-B286EB63FCB7}" dt="2024-06-05T08:28:40.495" v="638"/>
          <ac:spMkLst>
            <pc:docMk/>
            <pc:sldMk cId="0" sldId="317"/>
            <ac:spMk id="6" creationId="{854733CA-77D5-53D8-34FD-33C7350DC9E9}"/>
          </ac:spMkLst>
        </pc:spChg>
        <pc:spChg chg="mod">
          <ac:chgData name="Sindija Kirsteine (LV)" userId="5f25501a-2215-4bb3-9d9c-8d1484ffa7c1" providerId="ADAL" clId="{AD634740-2A4A-4DBA-91EE-B286EB63FCB7}" dt="2024-06-05T08:28:40.495" v="638"/>
          <ac:spMkLst>
            <pc:docMk/>
            <pc:sldMk cId="0" sldId="317"/>
            <ac:spMk id="7" creationId="{BAE5EC89-5375-5422-44C1-548532963130}"/>
          </ac:spMkLst>
        </pc:spChg>
        <pc:spChg chg="mod">
          <ac:chgData name="Sindija Kirsteine (LV)" userId="5f25501a-2215-4bb3-9d9c-8d1484ffa7c1" providerId="ADAL" clId="{AD634740-2A4A-4DBA-91EE-B286EB63FCB7}" dt="2024-06-05T08:28:40.495" v="638"/>
          <ac:spMkLst>
            <pc:docMk/>
            <pc:sldMk cId="0" sldId="317"/>
            <ac:spMk id="8" creationId="{7922B9AC-D06F-291B-14D6-CC66BCC27C1C}"/>
          </ac:spMkLst>
        </pc:spChg>
        <pc:spChg chg="mod">
          <ac:chgData name="Sindija Kirsteine (LV)" userId="5f25501a-2215-4bb3-9d9c-8d1484ffa7c1" providerId="ADAL" clId="{AD634740-2A4A-4DBA-91EE-B286EB63FCB7}" dt="2024-06-05T08:28:40.495" v="638"/>
          <ac:spMkLst>
            <pc:docMk/>
            <pc:sldMk cId="0" sldId="317"/>
            <ac:spMk id="9" creationId="{3EEFE46F-1E14-3996-0E3A-8704BA16695C}"/>
          </ac:spMkLst>
        </pc:spChg>
        <pc:spChg chg="mod">
          <ac:chgData name="Sindija Kirsteine (LV)" userId="5f25501a-2215-4bb3-9d9c-8d1484ffa7c1" providerId="ADAL" clId="{AD634740-2A4A-4DBA-91EE-B286EB63FCB7}" dt="2024-06-05T08:28:40.495" v="638"/>
          <ac:spMkLst>
            <pc:docMk/>
            <pc:sldMk cId="0" sldId="317"/>
            <ac:spMk id="10" creationId="{7C153D51-E589-669E-2102-30184770539A}"/>
          </ac:spMkLst>
        </pc:spChg>
        <pc:spChg chg="mod">
          <ac:chgData name="Sindija Kirsteine (LV)" userId="5f25501a-2215-4bb3-9d9c-8d1484ffa7c1" providerId="ADAL" clId="{AD634740-2A4A-4DBA-91EE-B286EB63FCB7}" dt="2024-06-05T08:28:40.495" v="638"/>
          <ac:spMkLst>
            <pc:docMk/>
            <pc:sldMk cId="0" sldId="317"/>
            <ac:spMk id="11" creationId="{CA5D8FF2-E36A-CFBC-2EF3-7BE51989331D}"/>
          </ac:spMkLst>
        </pc:spChg>
        <pc:spChg chg="add mod">
          <ac:chgData name="Sindija Kirsteine (LV)" userId="5f25501a-2215-4bb3-9d9c-8d1484ffa7c1" providerId="ADAL" clId="{AD634740-2A4A-4DBA-91EE-B286EB63FCB7}" dt="2024-06-10T07:48:32.827" v="2660" actId="207"/>
          <ac:spMkLst>
            <pc:docMk/>
            <pc:sldMk cId="0" sldId="317"/>
            <ac:spMk id="12" creationId="{59783A96-B5FE-DDBB-D9D0-8B2BC464F04F}"/>
          </ac:spMkLst>
        </pc:spChg>
        <pc:grpChg chg="add mod">
          <ac:chgData name="Sindija Kirsteine (LV)" userId="5f25501a-2215-4bb3-9d9c-8d1484ffa7c1" providerId="ADAL" clId="{AD634740-2A4A-4DBA-91EE-B286EB63FCB7}" dt="2024-06-05T08:28:40.495" v="638"/>
          <ac:grpSpMkLst>
            <pc:docMk/>
            <pc:sldMk cId="0" sldId="317"/>
            <ac:grpSpMk id="2" creationId="{7DD15C27-0EEF-6252-C492-2DB4D44A4344}"/>
          </ac:grpSpMkLst>
        </pc:grpChg>
        <pc:grpChg chg="del">
          <ac:chgData name="Sindija Kirsteine (LV)" userId="5f25501a-2215-4bb3-9d9c-8d1484ffa7c1" providerId="ADAL" clId="{AD634740-2A4A-4DBA-91EE-B286EB63FCB7}" dt="2024-06-05T08:28:40.274" v="637" actId="478"/>
          <ac:grpSpMkLst>
            <pc:docMk/>
            <pc:sldMk cId="0" sldId="317"/>
            <ac:grpSpMk id="25" creationId="{9C4D462A-1299-E301-A3CC-6A77244EC900}"/>
          </ac:grpSpMkLst>
        </pc:grpChg>
        <pc:cxnChg chg="add">
          <ac:chgData name="Sindija Kirsteine (LV)" userId="5f25501a-2215-4bb3-9d9c-8d1484ffa7c1" providerId="ADAL" clId="{AD634740-2A4A-4DBA-91EE-B286EB63FCB7}" dt="2024-06-10T07:47:48.930" v="2659" actId="11529"/>
          <ac:cxnSpMkLst>
            <pc:docMk/>
            <pc:sldMk cId="0" sldId="317"/>
            <ac:cxnSpMk id="14" creationId="{65702FDC-13D4-230D-4AE7-857EDCD012F2}"/>
          </ac:cxnSpMkLst>
        </pc:cxnChg>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AD634740-2A4A-4DBA-91EE-B286EB63FCB7}" dt="2024-06-07T15:03:48.866" v="2475"/>
              <pc2:cmMkLst xmlns:pc2="http://schemas.microsoft.com/office/powerpoint/2019/9/main/command">
                <pc:docMk/>
                <pc:sldMk cId="0" sldId="317"/>
                <pc2:cmMk id="{4A1AB072-8859-46AB-BD17-FA8F74F5D532}"/>
              </pc2:cmMkLst>
            </pc226:cmChg>
          </p:ext>
        </pc:extLst>
      </pc:sldChg>
      <pc:sldChg chg="addSp modSp mod">
        <pc:chgData name="Sindija Kirsteine (LV)" userId="5f25501a-2215-4bb3-9d9c-8d1484ffa7c1" providerId="ADAL" clId="{AD634740-2A4A-4DBA-91EE-B286EB63FCB7}" dt="2024-06-07T15:00:40.107" v="2408" actId="20577"/>
        <pc:sldMkLst>
          <pc:docMk/>
          <pc:sldMk cId="3910420445" sldId="318"/>
        </pc:sldMkLst>
        <pc:spChg chg="add mod">
          <ac:chgData name="Sindija Kirsteine (LV)" userId="5f25501a-2215-4bb3-9d9c-8d1484ffa7c1" providerId="ADAL" clId="{AD634740-2A4A-4DBA-91EE-B286EB63FCB7}" dt="2024-06-07T15:00:40.107" v="2408" actId="20577"/>
          <ac:spMkLst>
            <pc:docMk/>
            <pc:sldMk cId="3910420445" sldId="318"/>
            <ac:spMk id="2" creationId="{3ACF7BD8-388B-FD79-4524-771C9B5D26CC}"/>
          </ac:spMkLst>
        </pc:spChg>
        <pc:spChg chg="mod">
          <ac:chgData name="Sindija Kirsteine (LV)" userId="5f25501a-2215-4bb3-9d9c-8d1484ffa7c1" providerId="ADAL" clId="{AD634740-2A4A-4DBA-91EE-B286EB63FCB7}" dt="2024-06-05T08:27:28.624" v="586" actId="20577"/>
          <ac:spMkLst>
            <pc:docMk/>
            <pc:sldMk cId="3910420445" sldId="318"/>
            <ac:spMk id="9" creationId="{9C0FFD5F-DADC-2ACD-0E26-EB5192486BB9}"/>
          </ac:spMkLst>
        </pc:spChg>
        <pc:spChg chg="mod">
          <ac:chgData name="Sindija Kirsteine (LV)" userId="5f25501a-2215-4bb3-9d9c-8d1484ffa7c1" providerId="ADAL" clId="{AD634740-2A4A-4DBA-91EE-B286EB63FCB7}" dt="2024-06-05T08:27:30.668" v="588" actId="20577"/>
          <ac:spMkLst>
            <pc:docMk/>
            <pc:sldMk cId="3910420445" sldId="318"/>
            <ac:spMk id="10" creationId="{F8AE939C-0D5C-6E4D-68E5-5418A7D7E228}"/>
          </ac:spMkLst>
        </pc:spChg>
        <pc:spChg chg="mod">
          <ac:chgData name="Sindija Kirsteine (LV)" userId="5f25501a-2215-4bb3-9d9c-8d1484ffa7c1" providerId="ADAL" clId="{AD634740-2A4A-4DBA-91EE-B286EB63FCB7}" dt="2024-06-05T08:27:32.648" v="590" actId="20577"/>
          <ac:spMkLst>
            <pc:docMk/>
            <pc:sldMk cId="3910420445" sldId="318"/>
            <ac:spMk id="12" creationId="{1B219C83-5ECB-E72D-D217-1A1628589890}"/>
          </ac:spMkLst>
        </pc:spChg>
        <pc:spChg chg="mod">
          <ac:chgData name="Sindija Kirsteine (LV)" userId="5f25501a-2215-4bb3-9d9c-8d1484ffa7c1" providerId="ADAL" clId="{AD634740-2A4A-4DBA-91EE-B286EB63FCB7}" dt="2024-06-05T08:27:34.870" v="592" actId="20577"/>
          <ac:spMkLst>
            <pc:docMk/>
            <pc:sldMk cId="3910420445" sldId="318"/>
            <ac:spMk id="13" creationId="{DDE59943-60AD-DE69-E439-6748EB1D466E}"/>
          </ac:spMkLst>
        </pc:spChg>
        <pc:spChg chg="mod">
          <ac:chgData name="Sindija Kirsteine (LV)" userId="5f25501a-2215-4bb3-9d9c-8d1484ffa7c1" providerId="ADAL" clId="{AD634740-2A4A-4DBA-91EE-B286EB63FCB7}" dt="2024-06-05T08:27:36.695" v="594" actId="20577"/>
          <ac:spMkLst>
            <pc:docMk/>
            <pc:sldMk cId="3910420445" sldId="318"/>
            <ac:spMk id="15" creationId="{B6AD5ACC-ADD6-A4A0-35DF-14FCD1641DE1}"/>
          </ac:spMkLst>
        </pc:spChg>
        <pc:spChg chg="mod">
          <ac:chgData name="Sindija Kirsteine (LV)" userId="5f25501a-2215-4bb3-9d9c-8d1484ffa7c1" providerId="ADAL" clId="{AD634740-2A4A-4DBA-91EE-B286EB63FCB7}" dt="2024-06-05T08:27:38.554" v="596" actId="20577"/>
          <ac:spMkLst>
            <pc:docMk/>
            <pc:sldMk cId="3910420445" sldId="318"/>
            <ac:spMk id="16" creationId="{E33CA906-B71B-6EB1-7754-15CDF86E1FCB}"/>
          </ac:spMkLst>
        </pc:spChg>
        <pc:spChg chg="mod">
          <ac:chgData name="Sindija Kirsteine (LV)" userId="5f25501a-2215-4bb3-9d9c-8d1484ffa7c1" providerId="ADAL" clId="{AD634740-2A4A-4DBA-91EE-B286EB63FCB7}" dt="2024-06-05T08:22:27.968" v="429"/>
          <ac:spMkLst>
            <pc:docMk/>
            <pc:sldMk cId="3910420445" sldId="318"/>
            <ac:spMk id="17" creationId="{693F9EAE-8F0B-929A-77B9-1CA5A84FA7A6}"/>
          </ac:spMkLst>
        </pc:spChg>
        <pc:cxnChg chg="add mod">
          <ac:chgData name="Sindija Kirsteine (LV)" userId="5f25501a-2215-4bb3-9d9c-8d1484ffa7c1" providerId="ADAL" clId="{AD634740-2A4A-4DBA-91EE-B286EB63FCB7}" dt="2024-06-07T08:38:56.940" v="1217" actId="1076"/>
          <ac:cxnSpMkLst>
            <pc:docMk/>
            <pc:sldMk cId="3910420445" sldId="318"/>
            <ac:cxnSpMk id="18" creationId="{1258DF46-4B70-24D8-4F7F-BCE7AEA95E19}"/>
          </ac:cxnSpMkLst>
        </pc:cxnChg>
      </pc:sldChg>
      <pc:sldChg chg="addSp delSp modSp mod">
        <pc:chgData name="Sindija Kirsteine (LV)" userId="5f25501a-2215-4bb3-9d9c-8d1484ffa7c1" providerId="ADAL" clId="{AD634740-2A4A-4DBA-91EE-B286EB63FCB7}" dt="2024-06-05T08:27:44.434" v="599"/>
        <pc:sldMkLst>
          <pc:docMk/>
          <pc:sldMk cId="2834373602" sldId="757"/>
        </pc:sldMkLst>
        <pc:spChg chg="mod">
          <ac:chgData name="Sindija Kirsteine (LV)" userId="5f25501a-2215-4bb3-9d9c-8d1484ffa7c1" providerId="ADAL" clId="{AD634740-2A4A-4DBA-91EE-B286EB63FCB7}" dt="2024-06-05T08:22:46.131" v="433"/>
          <ac:spMkLst>
            <pc:docMk/>
            <pc:sldMk cId="2834373602" sldId="757"/>
            <ac:spMk id="2" creationId="{1D196AC2-1443-7050-7543-AE20CE3288E8}"/>
          </ac:spMkLst>
        </pc:spChg>
        <pc:spChg chg="mod">
          <ac:chgData name="Sindija Kirsteine (LV)" userId="5f25501a-2215-4bb3-9d9c-8d1484ffa7c1" providerId="ADAL" clId="{AD634740-2A4A-4DBA-91EE-B286EB63FCB7}" dt="2024-06-05T08:27:44.434" v="599"/>
          <ac:spMkLst>
            <pc:docMk/>
            <pc:sldMk cId="2834373602" sldId="757"/>
            <ac:spMk id="9" creationId="{64F2C7D8-4E0D-2A8A-A96D-C7BC04F57A0C}"/>
          </ac:spMkLst>
        </pc:spChg>
        <pc:spChg chg="mod">
          <ac:chgData name="Sindija Kirsteine (LV)" userId="5f25501a-2215-4bb3-9d9c-8d1484ffa7c1" providerId="ADAL" clId="{AD634740-2A4A-4DBA-91EE-B286EB63FCB7}" dt="2024-06-05T08:27:44.434" v="599"/>
          <ac:spMkLst>
            <pc:docMk/>
            <pc:sldMk cId="2834373602" sldId="757"/>
            <ac:spMk id="10" creationId="{0DA8ADB2-16F7-C5CC-A726-9DF171BD9AA5}"/>
          </ac:spMkLst>
        </pc:spChg>
        <pc:spChg chg="mod">
          <ac:chgData name="Sindija Kirsteine (LV)" userId="5f25501a-2215-4bb3-9d9c-8d1484ffa7c1" providerId="ADAL" clId="{AD634740-2A4A-4DBA-91EE-B286EB63FCB7}" dt="2024-06-05T08:27:44.434" v="599"/>
          <ac:spMkLst>
            <pc:docMk/>
            <pc:sldMk cId="2834373602" sldId="757"/>
            <ac:spMk id="14" creationId="{9DD980B9-21B9-A65A-F8E5-B3D5F032999B}"/>
          </ac:spMkLst>
        </pc:spChg>
        <pc:spChg chg="mod">
          <ac:chgData name="Sindija Kirsteine (LV)" userId="5f25501a-2215-4bb3-9d9c-8d1484ffa7c1" providerId="ADAL" clId="{AD634740-2A4A-4DBA-91EE-B286EB63FCB7}" dt="2024-06-05T08:27:44.434" v="599"/>
          <ac:spMkLst>
            <pc:docMk/>
            <pc:sldMk cId="2834373602" sldId="757"/>
            <ac:spMk id="15" creationId="{02C25D1B-AA28-A163-F4A7-6F25138F3C07}"/>
          </ac:spMkLst>
        </pc:spChg>
        <pc:spChg chg="mod">
          <ac:chgData name="Sindija Kirsteine (LV)" userId="5f25501a-2215-4bb3-9d9c-8d1484ffa7c1" providerId="ADAL" clId="{AD634740-2A4A-4DBA-91EE-B286EB63FCB7}" dt="2024-06-05T08:27:44.434" v="599"/>
          <ac:spMkLst>
            <pc:docMk/>
            <pc:sldMk cId="2834373602" sldId="757"/>
            <ac:spMk id="16" creationId="{BCC2C371-A73E-412C-630D-C3E8883517E7}"/>
          </ac:spMkLst>
        </pc:spChg>
        <pc:spChg chg="mod">
          <ac:chgData name="Sindija Kirsteine (LV)" userId="5f25501a-2215-4bb3-9d9c-8d1484ffa7c1" providerId="ADAL" clId="{AD634740-2A4A-4DBA-91EE-B286EB63FCB7}" dt="2024-06-05T08:27:44.434" v="599"/>
          <ac:spMkLst>
            <pc:docMk/>
            <pc:sldMk cId="2834373602" sldId="757"/>
            <ac:spMk id="17" creationId="{EB51D44B-5B4D-2AF1-320D-FDE735E32A97}"/>
          </ac:spMkLst>
        </pc:spChg>
        <pc:spChg chg="mod">
          <ac:chgData name="Sindija Kirsteine (LV)" userId="5f25501a-2215-4bb3-9d9c-8d1484ffa7c1" providerId="ADAL" clId="{AD634740-2A4A-4DBA-91EE-B286EB63FCB7}" dt="2024-06-05T08:27:44.434" v="599"/>
          <ac:spMkLst>
            <pc:docMk/>
            <pc:sldMk cId="2834373602" sldId="757"/>
            <ac:spMk id="18" creationId="{318C18E2-2E64-0061-DECE-5C7BB951AAC9}"/>
          </ac:spMkLst>
        </pc:spChg>
        <pc:grpChg chg="add mod">
          <ac:chgData name="Sindija Kirsteine (LV)" userId="5f25501a-2215-4bb3-9d9c-8d1484ffa7c1" providerId="ADAL" clId="{AD634740-2A4A-4DBA-91EE-B286EB63FCB7}" dt="2024-06-05T08:27:44.434" v="599"/>
          <ac:grpSpMkLst>
            <pc:docMk/>
            <pc:sldMk cId="2834373602" sldId="757"/>
            <ac:grpSpMk id="7" creationId="{69CEA96A-17E2-579F-F4B3-045F4A74888C}"/>
          </ac:grpSpMkLst>
        </pc:grpChg>
        <pc:grpChg chg="del">
          <ac:chgData name="Sindija Kirsteine (LV)" userId="5f25501a-2215-4bb3-9d9c-8d1484ffa7c1" providerId="ADAL" clId="{AD634740-2A4A-4DBA-91EE-B286EB63FCB7}" dt="2024-06-05T08:27:44.165" v="598" actId="478"/>
          <ac:grpSpMkLst>
            <pc:docMk/>
            <pc:sldMk cId="2834373602" sldId="757"/>
            <ac:grpSpMk id="21" creationId="{3FDA6B32-877D-323A-7115-32FBCF8F2574}"/>
          </ac:grpSpMkLst>
        </pc:grpChg>
      </pc:sldChg>
      <pc:sldChg chg="addSp delSp modSp mod ord">
        <pc:chgData name="Sindija Kirsteine (LV)" userId="5f25501a-2215-4bb3-9d9c-8d1484ffa7c1" providerId="ADAL" clId="{AD634740-2A4A-4DBA-91EE-B286EB63FCB7}" dt="2024-06-07T14:59:17.591" v="2338"/>
        <pc:sldMkLst>
          <pc:docMk/>
          <pc:sldMk cId="12612729" sldId="761"/>
        </pc:sldMkLst>
        <pc:spChg chg="mod">
          <ac:chgData name="Sindija Kirsteine (LV)" userId="5f25501a-2215-4bb3-9d9c-8d1484ffa7c1" providerId="ADAL" clId="{AD634740-2A4A-4DBA-91EE-B286EB63FCB7}" dt="2024-06-05T08:24:45.737" v="511"/>
          <ac:spMkLst>
            <pc:docMk/>
            <pc:sldMk cId="12612729" sldId="761"/>
            <ac:spMk id="2" creationId="{69E106F8-1B3E-9362-637B-7C102288BB6A}"/>
          </ac:spMkLst>
        </pc:spChg>
        <pc:spChg chg="mod">
          <ac:chgData name="Sindija Kirsteine (LV)" userId="5f25501a-2215-4bb3-9d9c-8d1484ffa7c1" providerId="ADAL" clId="{AD634740-2A4A-4DBA-91EE-B286EB63FCB7}" dt="2024-06-05T08:34:54.203" v="841"/>
          <ac:spMkLst>
            <pc:docMk/>
            <pc:sldMk cId="12612729" sldId="761"/>
            <ac:spMk id="13" creationId="{5BBEED25-80F2-E970-7CB8-291AF84398AC}"/>
          </ac:spMkLst>
        </pc:spChg>
        <pc:spChg chg="mod">
          <ac:chgData name="Sindija Kirsteine (LV)" userId="5f25501a-2215-4bb3-9d9c-8d1484ffa7c1" providerId="ADAL" clId="{AD634740-2A4A-4DBA-91EE-B286EB63FCB7}" dt="2024-06-05T08:34:54.203" v="841"/>
          <ac:spMkLst>
            <pc:docMk/>
            <pc:sldMk cId="12612729" sldId="761"/>
            <ac:spMk id="14" creationId="{092BFA48-E787-6DC9-0CD0-1D66C9EC463A}"/>
          </ac:spMkLst>
        </pc:spChg>
        <pc:spChg chg="mod">
          <ac:chgData name="Sindija Kirsteine (LV)" userId="5f25501a-2215-4bb3-9d9c-8d1484ffa7c1" providerId="ADAL" clId="{AD634740-2A4A-4DBA-91EE-B286EB63FCB7}" dt="2024-06-05T08:34:54.203" v="841"/>
          <ac:spMkLst>
            <pc:docMk/>
            <pc:sldMk cId="12612729" sldId="761"/>
            <ac:spMk id="15" creationId="{5B3FE16C-E7AE-657D-F2ED-FE95CE0B2859}"/>
          </ac:spMkLst>
        </pc:spChg>
        <pc:spChg chg="mod">
          <ac:chgData name="Sindija Kirsteine (LV)" userId="5f25501a-2215-4bb3-9d9c-8d1484ffa7c1" providerId="ADAL" clId="{AD634740-2A4A-4DBA-91EE-B286EB63FCB7}" dt="2024-06-05T08:34:54.203" v="841"/>
          <ac:spMkLst>
            <pc:docMk/>
            <pc:sldMk cId="12612729" sldId="761"/>
            <ac:spMk id="16" creationId="{7EBD572D-6F1C-CE26-DFF3-364DD1B4B09C}"/>
          </ac:spMkLst>
        </pc:spChg>
        <pc:spChg chg="mod">
          <ac:chgData name="Sindija Kirsteine (LV)" userId="5f25501a-2215-4bb3-9d9c-8d1484ffa7c1" providerId="ADAL" clId="{AD634740-2A4A-4DBA-91EE-B286EB63FCB7}" dt="2024-06-05T08:34:54.203" v="841"/>
          <ac:spMkLst>
            <pc:docMk/>
            <pc:sldMk cId="12612729" sldId="761"/>
            <ac:spMk id="17" creationId="{DD97AEF7-10A8-8503-FDF6-B326B0676989}"/>
          </ac:spMkLst>
        </pc:spChg>
        <pc:spChg chg="mod">
          <ac:chgData name="Sindija Kirsteine (LV)" userId="5f25501a-2215-4bb3-9d9c-8d1484ffa7c1" providerId="ADAL" clId="{AD634740-2A4A-4DBA-91EE-B286EB63FCB7}" dt="2024-06-05T08:34:54.203" v="841"/>
          <ac:spMkLst>
            <pc:docMk/>
            <pc:sldMk cId="12612729" sldId="761"/>
            <ac:spMk id="18" creationId="{8F40EB88-C881-F353-C6AE-C9A69B641EA0}"/>
          </ac:spMkLst>
        </pc:spChg>
        <pc:spChg chg="mod">
          <ac:chgData name="Sindija Kirsteine (LV)" userId="5f25501a-2215-4bb3-9d9c-8d1484ffa7c1" providerId="ADAL" clId="{AD634740-2A4A-4DBA-91EE-B286EB63FCB7}" dt="2024-06-05T08:34:54.203" v="841"/>
          <ac:spMkLst>
            <pc:docMk/>
            <pc:sldMk cId="12612729" sldId="761"/>
            <ac:spMk id="19" creationId="{6B812998-50FB-79E1-2073-C716D2F8B529}"/>
          </ac:spMkLst>
        </pc:spChg>
        <pc:grpChg chg="del">
          <ac:chgData name="Sindija Kirsteine (LV)" userId="5f25501a-2215-4bb3-9d9c-8d1484ffa7c1" providerId="ADAL" clId="{AD634740-2A4A-4DBA-91EE-B286EB63FCB7}" dt="2024-06-05T08:34:53.888" v="840" actId="478"/>
          <ac:grpSpMkLst>
            <pc:docMk/>
            <pc:sldMk cId="12612729" sldId="761"/>
            <ac:grpSpMk id="3" creationId="{CECEC2E9-9EBE-11AA-1177-48DC75CC998A}"/>
          </ac:grpSpMkLst>
        </pc:grpChg>
        <pc:grpChg chg="add mod">
          <ac:chgData name="Sindija Kirsteine (LV)" userId="5f25501a-2215-4bb3-9d9c-8d1484ffa7c1" providerId="ADAL" clId="{AD634740-2A4A-4DBA-91EE-B286EB63FCB7}" dt="2024-06-05T08:34:54.203" v="841"/>
          <ac:grpSpMkLst>
            <pc:docMk/>
            <pc:sldMk cId="12612729" sldId="761"/>
            <ac:grpSpMk id="12" creationId="{075ADFF6-DF93-E786-67DB-96E9161F3009}"/>
          </ac:grpSpMkLst>
        </pc:grpChg>
      </pc:sldChg>
      <pc:sldChg chg="modSp del mod modShow">
        <pc:chgData name="Sindija Kirsteine (LV)" userId="5f25501a-2215-4bb3-9d9c-8d1484ffa7c1" providerId="ADAL" clId="{AD634740-2A4A-4DBA-91EE-B286EB63FCB7}" dt="2024-06-07T06:25:41.367" v="1103" actId="2696"/>
        <pc:sldMkLst>
          <pc:docMk/>
          <pc:sldMk cId="2056487948" sldId="763"/>
        </pc:sldMkLst>
        <pc:spChg chg="mod">
          <ac:chgData name="Sindija Kirsteine (LV)" userId="5f25501a-2215-4bb3-9d9c-8d1484ffa7c1" providerId="ADAL" clId="{AD634740-2A4A-4DBA-91EE-B286EB63FCB7}" dt="2024-06-05T08:25:00.936" v="518"/>
          <ac:spMkLst>
            <pc:docMk/>
            <pc:sldMk cId="2056487948" sldId="763"/>
            <ac:spMk id="3" creationId="{7C64739B-BBAB-9B07-CCF5-1EB4AD51C2F6}"/>
          </ac:spMkLst>
        </pc:spChg>
        <pc:spChg chg="mod">
          <ac:chgData name="Sindija Kirsteine (LV)" userId="5f25501a-2215-4bb3-9d9c-8d1484ffa7c1" providerId="ADAL" clId="{AD634740-2A4A-4DBA-91EE-B286EB63FCB7}" dt="2024-06-05T08:35:20.771" v="859" actId="20577"/>
          <ac:spMkLst>
            <pc:docMk/>
            <pc:sldMk cId="2056487948" sldId="763"/>
            <ac:spMk id="13" creationId="{44861B7E-0E93-30BA-D7A2-6CE473BB6899}"/>
          </ac:spMkLst>
        </pc:spChg>
        <pc:spChg chg="mod">
          <ac:chgData name="Sindija Kirsteine (LV)" userId="5f25501a-2215-4bb3-9d9c-8d1484ffa7c1" providerId="ADAL" clId="{AD634740-2A4A-4DBA-91EE-B286EB63FCB7}" dt="2024-06-05T08:35:14.561" v="853" actId="20577"/>
          <ac:spMkLst>
            <pc:docMk/>
            <pc:sldMk cId="2056487948" sldId="763"/>
            <ac:spMk id="14" creationId="{329CA1CC-E98B-6BCA-EE49-61A97CA4CE01}"/>
          </ac:spMkLst>
        </pc:spChg>
        <pc:spChg chg="mod">
          <ac:chgData name="Sindija Kirsteine (LV)" userId="5f25501a-2215-4bb3-9d9c-8d1484ffa7c1" providerId="ADAL" clId="{AD634740-2A4A-4DBA-91EE-B286EB63FCB7}" dt="2024-06-05T08:35:16.254" v="855" actId="20577"/>
          <ac:spMkLst>
            <pc:docMk/>
            <pc:sldMk cId="2056487948" sldId="763"/>
            <ac:spMk id="21" creationId="{9C698947-DE76-182D-DFD7-B1003F100EAB}"/>
          </ac:spMkLst>
        </pc:spChg>
        <pc:spChg chg="mod">
          <ac:chgData name="Sindija Kirsteine (LV)" userId="5f25501a-2215-4bb3-9d9c-8d1484ffa7c1" providerId="ADAL" clId="{AD634740-2A4A-4DBA-91EE-B286EB63FCB7}" dt="2024-06-05T08:35:18.283" v="857" actId="20577"/>
          <ac:spMkLst>
            <pc:docMk/>
            <pc:sldMk cId="2056487948" sldId="763"/>
            <ac:spMk id="24" creationId="{FBC36502-3424-BB2B-9F48-0A37D58A3700}"/>
          </ac:spMkLst>
        </pc:spChg>
        <pc:spChg chg="mod">
          <ac:chgData name="Sindija Kirsteine (LV)" userId="5f25501a-2215-4bb3-9d9c-8d1484ffa7c1" providerId="ADAL" clId="{AD634740-2A4A-4DBA-91EE-B286EB63FCB7}" dt="2024-06-05T08:35:22.861" v="861" actId="20577"/>
          <ac:spMkLst>
            <pc:docMk/>
            <pc:sldMk cId="2056487948" sldId="763"/>
            <ac:spMk id="27" creationId="{B93E2AC6-039C-6E8D-1D82-772D46B675EB}"/>
          </ac:spMkLst>
        </pc:spChg>
        <pc:spChg chg="mod">
          <ac:chgData name="Sindija Kirsteine (LV)" userId="5f25501a-2215-4bb3-9d9c-8d1484ffa7c1" providerId="ADAL" clId="{AD634740-2A4A-4DBA-91EE-B286EB63FCB7}" dt="2024-06-05T08:35:12.473" v="851" actId="20577"/>
          <ac:spMkLst>
            <pc:docMk/>
            <pc:sldMk cId="2056487948" sldId="763"/>
            <ac:spMk id="30" creationId="{5B5D674B-6A42-9B33-53B4-87CFC6156FB4}"/>
          </ac:spMkLst>
        </pc:spChg>
      </pc:sldChg>
      <pc:sldChg chg="addSp delSp modSp mod ord">
        <pc:chgData name="Sindija Kirsteine (LV)" userId="5f25501a-2215-4bb3-9d9c-8d1484ffa7c1" providerId="ADAL" clId="{AD634740-2A4A-4DBA-91EE-B286EB63FCB7}" dt="2024-06-07T14:59:17.591" v="2338"/>
        <pc:sldMkLst>
          <pc:docMk/>
          <pc:sldMk cId="2326445928" sldId="764"/>
        </pc:sldMkLst>
        <pc:spChg chg="mod">
          <ac:chgData name="Sindija Kirsteine (LV)" userId="5f25501a-2215-4bb3-9d9c-8d1484ffa7c1" providerId="ADAL" clId="{AD634740-2A4A-4DBA-91EE-B286EB63FCB7}" dt="2024-06-05T08:24:51.706" v="515"/>
          <ac:spMkLst>
            <pc:docMk/>
            <pc:sldMk cId="2326445928" sldId="764"/>
            <ac:spMk id="2" creationId="{5E819559-CA8D-76F9-8402-D2EB38AA36E5}"/>
          </ac:spMkLst>
        </pc:spChg>
        <pc:spChg chg="mod">
          <ac:chgData name="Sindija Kirsteine (LV)" userId="5f25501a-2215-4bb3-9d9c-8d1484ffa7c1" providerId="ADAL" clId="{AD634740-2A4A-4DBA-91EE-B286EB63FCB7}" dt="2024-06-05T08:35:04.202" v="847"/>
          <ac:spMkLst>
            <pc:docMk/>
            <pc:sldMk cId="2326445928" sldId="764"/>
            <ac:spMk id="16" creationId="{7215C882-A2B4-6866-104D-5E0EEF1F063F}"/>
          </ac:spMkLst>
        </pc:spChg>
        <pc:spChg chg="mod">
          <ac:chgData name="Sindija Kirsteine (LV)" userId="5f25501a-2215-4bb3-9d9c-8d1484ffa7c1" providerId="ADAL" clId="{AD634740-2A4A-4DBA-91EE-B286EB63FCB7}" dt="2024-06-05T08:35:04.202" v="847"/>
          <ac:spMkLst>
            <pc:docMk/>
            <pc:sldMk cId="2326445928" sldId="764"/>
            <ac:spMk id="17" creationId="{6C01AC70-3C95-5049-8B92-588C4EC43CB6}"/>
          </ac:spMkLst>
        </pc:spChg>
        <pc:spChg chg="mod">
          <ac:chgData name="Sindija Kirsteine (LV)" userId="5f25501a-2215-4bb3-9d9c-8d1484ffa7c1" providerId="ADAL" clId="{AD634740-2A4A-4DBA-91EE-B286EB63FCB7}" dt="2024-06-05T08:35:04.202" v="847"/>
          <ac:spMkLst>
            <pc:docMk/>
            <pc:sldMk cId="2326445928" sldId="764"/>
            <ac:spMk id="18" creationId="{7D5E2449-DBAD-20A4-E67A-BB5B01AF0103}"/>
          </ac:spMkLst>
        </pc:spChg>
        <pc:spChg chg="mod">
          <ac:chgData name="Sindija Kirsteine (LV)" userId="5f25501a-2215-4bb3-9d9c-8d1484ffa7c1" providerId="ADAL" clId="{AD634740-2A4A-4DBA-91EE-B286EB63FCB7}" dt="2024-06-05T08:35:04.202" v="847"/>
          <ac:spMkLst>
            <pc:docMk/>
            <pc:sldMk cId="2326445928" sldId="764"/>
            <ac:spMk id="19" creationId="{54B0937F-0C73-A644-51DB-53B18700FEEC}"/>
          </ac:spMkLst>
        </pc:spChg>
        <pc:spChg chg="mod">
          <ac:chgData name="Sindija Kirsteine (LV)" userId="5f25501a-2215-4bb3-9d9c-8d1484ffa7c1" providerId="ADAL" clId="{AD634740-2A4A-4DBA-91EE-B286EB63FCB7}" dt="2024-06-05T08:35:04.202" v="847"/>
          <ac:spMkLst>
            <pc:docMk/>
            <pc:sldMk cId="2326445928" sldId="764"/>
            <ac:spMk id="21" creationId="{E28CEBC3-CAFE-219C-6387-3D4E5F15FFE6}"/>
          </ac:spMkLst>
        </pc:spChg>
        <pc:spChg chg="mod">
          <ac:chgData name="Sindija Kirsteine (LV)" userId="5f25501a-2215-4bb3-9d9c-8d1484ffa7c1" providerId="ADAL" clId="{AD634740-2A4A-4DBA-91EE-B286EB63FCB7}" dt="2024-06-05T08:35:04.202" v="847"/>
          <ac:spMkLst>
            <pc:docMk/>
            <pc:sldMk cId="2326445928" sldId="764"/>
            <ac:spMk id="25" creationId="{0319F565-7FCE-8C4A-2DE7-B88FEFD44E25}"/>
          </ac:spMkLst>
        </pc:spChg>
        <pc:spChg chg="mod">
          <ac:chgData name="Sindija Kirsteine (LV)" userId="5f25501a-2215-4bb3-9d9c-8d1484ffa7c1" providerId="ADAL" clId="{AD634740-2A4A-4DBA-91EE-B286EB63FCB7}" dt="2024-06-05T08:35:04.202" v="847"/>
          <ac:spMkLst>
            <pc:docMk/>
            <pc:sldMk cId="2326445928" sldId="764"/>
            <ac:spMk id="28" creationId="{0CD87B39-0C16-1A7B-4417-6F028652449D}"/>
          </ac:spMkLst>
        </pc:spChg>
        <pc:grpChg chg="del">
          <ac:chgData name="Sindija Kirsteine (LV)" userId="5f25501a-2215-4bb3-9d9c-8d1484ffa7c1" providerId="ADAL" clId="{AD634740-2A4A-4DBA-91EE-B286EB63FCB7}" dt="2024-06-05T08:35:03.633" v="846" actId="478"/>
          <ac:grpSpMkLst>
            <pc:docMk/>
            <pc:sldMk cId="2326445928" sldId="764"/>
            <ac:grpSpMk id="3" creationId="{56DC0F92-61BB-1851-106C-EC75957919AE}"/>
          </ac:grpSpMkLst>
        </pc:grpChg>
        <pc:grpChg chg="add mod">
          <ac:chgData name="Sindija Kirsteine (LV)" userId="5f25501a-2215-4bb3-9d9c-8d1484ffa7c1" providerId="ADAL" clId="{AD634740-2A4A-4DBA-91EE-B286EB63FCB7}" dt="2024-06-05T08:35:04.202" v="847"/>
          <ac:grpSpMkLst>
            <pc:docMk/>
            <pc:sldMk cId="2326445928" sldId="764"/>
            <ac:grpSpMk id="15" creationId="{8BEC1D25-1C62-3C3C-097B-F25E500AE7CA}"/>
          </ac:grpSpMkLst>
        </pc:grpChg>
      </pc:sldChg>
      <pc:sldChg chg="addSp delSp modSp mod">
        <pc:chgData name="Sindija Kirsteine (LV)" userId="5f25501a-2215-4bb3-9d9c-8d1484ffa7c1" providerId="ADAL" clId="{AD634740-2A4A-4DBA-91EE-B286EB63FCB7}" dt="2024-06-05T08:36:08.025" v="878"/>
        <pc:sldMkLst>
          <pc:docMk/>
          <pc:sldMk cId="4204094504" sldId="769"/>
        </pc:sldMkLst>
        <pc:spChg chg="mod">
          <ac:chgData name="Sindija Kirsteine (LV)" userId="5f25501a-2215-4bb3-9d9c-8d1484ffa7c1" providerId="ADAL" clId="{AD634740-2A4A-4DBA-91EE-B286EB63FCB7}" dt="2024-06-05T08:25:43.353" v="539"/>
          <ac:spMkLst>
            <pc:docMk/>
            <pc:sldMk cId="4204094504" sldId="769"/>
            <ac:spMk id="3" creationId="{50BE8D0B-0159-6A39-A753-7CB43C7CF41D}"/>
          </ac:spMkLst>
        </pc:spChg>
        <pc:spChg chg="mod">
          <ac:chgData name="Sindija Kirsteine (LV)" userId="5f25501a-2215-4bb3-9d9c-8d1484ffa7c1" providerId="ADAL" clId="{AD634740-2A4A-4DBA-91EE-B286EB63FCB7}" dt="2024-06-05T08:36:08.025" v="878"/>
          <ac:spMkLst>
            <pc:docMk/>
            <pc:sldMk cId="4204094504" sldId="769"/>
            <ac:spMk id="6" creationId="{3DD02043-E998-FF86-86B4-A96408367AC4}"/>
          </ac:spMkLst>
        </pc:spChg>
        <pc:spChg chg="mod">
          <ac:chgData name="Sindija Kirsteine (LV)" userId="5f25501a-2215-4bb3-9d9c-8d1484ffa7c1" providerId="ADAL" clId="{AD634740-2A4A-4DBA-91EE-B286EB63FCB7}" dt="2024-06-05T08:36:08.025" v="878"/>
          <ac:spMkLst>
            <pc:docMk/>
            <pc:sldMk cId="4204094504" sldId="769"/>
            <ac:spMk id="7" creationId="{B47C7D57-651A-4B54-6F34-462F293D64AB}"/>
          </ac:spMkLst>
        </pc:spChg>
        <pc:spChg chg="mod">
          <ac:chgData name="Sindija Kirsteine (LV)" userId="5f25501a-2215-4bb3-9d9c-8d1484ffa7c1" providerId="ADAL" clId="{AD634740-2A4A-4DBA-91EE-B286EB63FCB7}" dt="2024-06-05T08:36:08.025" v="878"/>
          <ac:spMkLst>
            <pc:docMk/>
            <pc:sldMk cId="4204094504" sldId="769"/>
            <ac:spMk id="9" creationId="{63D2CD0C-6164-EE83-8723-27B02985D458}"/>
          </ac:spMkLst>
        </pc:spChg>
        <pc:spChg chg="mod">
          <ac:chgData name="Sindija Kirsteine (LV)" userId="5f25501a-2215-4bb3-9d9c-8d1484ffa7c1" providerId="ADAL" clId="{AD634740-2A4A-4DBA-91EE-B286EB63FCB7}" dt="2024-06-05T08:36:08.025" v="878"/>
          <ac:spMkLst>
            <pc:docMk/>
            <pc:sldMk cId="4204094504" sldId="769"/>
            <ac:spMk id="10" creationId="{370BF058-05DE-3CE4-F31A-D41DF6011C1A}"/>
          </ac:spMkLst>
        </pc:spChg>
        <pc:spChg chg="mod">
          <ac:chgData name="Sindija Kirsteine (LV)" userId="5f25501a-2215-4bb3-9d9c-8d1484ffa7c1" providerId="ADAL" clId="{AD634740-2A4A-4DBA-91EE-B286EB63FCB7}" dt="2024-06-05T08:36:08.025" v="878"/>
          <ac:spMkLst>
            <pc:docMk/>
            <pc:sldMk cId="4204094504" sldId="769"/>
            <ac:spMk id="11" creationId="{9F171FB5-F28F-A9A8-F2FE-4AD34693B50E}"/>
          </ac:spMkLst>
        </pc:spChg>
        <pc:spChg chg="mod">
          <ac:chgData name="Sindija Kirsteine (LV)" userId="5f25501a-2215-4bb3-9d9c-8d1484ffa7c1" providerId="ADAL" clId="{AD634740-2A4A-4DBA-91EE-B286EB63FCB7}" dt="2024-06-05T08:36:08.025" v="878"/>
          <ac:spMkLst>
            <pc:docMk/>
            <pc:sldMk cId="4204094504" sldId="769"/>
            <ac:spMk id="12" creationId="{518253B4-A8C3-BA64-9221-C136A20094CA}"/>
          </ac:spMkLst>
        </pc:spChg>
        <pc:spChg chg="mod">
          <ac:chgData name="Sindija Kirsteine (LV)" userId="5f25501a-2215-4bb3-9d9c-8d1484ffa7c1" providerId="ADAL" clId="{AD634740-2A4A-4DBA-91EE-B286EB63FCB7}" dt="2024-06-05T08:36:08.025" v="878"/>
          <ac:spMkLst>
            <pc:docMk/>
            <pc:sldMk cId="4204094504" sldId="769"/>
            <ac:spMk id="14" creationId="{B0A3C50F-BE3C-CC86-01B1-490D035FCD82}"/>
          </ac:spMkLst>
        </pc:spChg>
        <pc:grpChg chg="del">
          <ac:chgData name="Sindija Kirsteine (LV)" userId="5f25501a-2215-4bb3-9d9c-8d1484ffa7c1" providerId="ADAL" clId="{AD634740-2A4A-4DBA-91EE-B286EB63FCB7}" dt="2024-06-05T08:36:07.711" v="877" actId="478"/>
          <ac:grpSpMkLst>
            <pc:docMk/>
            <pc:sldMk cId="4204094504" sldId="769"/>
            <ac:grpSpMk id="2" creationId="{A080E78F-7368-2E10-6BCA-1E491F130C33}"/>
          </ac:grpSpMkLst>
        </pc:grpChg>
        <pc:grpChg chg="add mod">
          <ac:chgData name="Sindija Kirsteine (LV)" userId="5f25501a-2215-4bb3-9d9c-8d1484ffa7c1" providerId="ADAL" clId="{AD634740-2A4A-4DBA-91EE-B286EB63FCB7}" dt="2024-06-05T08:36:08.025" v="878"/>
          <ac:grpSpMkLst>
            <pc:docMk/>
            <pc:sldMk cId="4204094504" sldId="769"/>
            <ac:grpSpMk id="4" creationId="{0B1B7A20-C37A-69B5-6A59-249C7C805D9C}"/>
          </ac:grpSpMkLst>
        </pc:grpChg>
      </pc:sldChg>
      <pc:sldChg chg="addSp delSp modSp mod">
        <pc:chgData name="Sindija Kirsteine (LV)" userId="5f25501a-2215-4bb3-9d9c-8d1484ffa7c1" providerId="ADAL" clId="{AD634740-2A4A-4DBA-91EE-B286EB63FCB7}" dt="2024-06-05T08:36:27.429" v="895"/>
        <pc:sldMkLst>
          <pc:docMk/>
          <pc:sldMk cId="301651023" sldId="6887"/>
        </pc:sldMkLst>
        <pc:spChg chg="mod">
          <ac:chgData name="Sindija Kirsteine (LV)" userId="5f25501a-2215-4bb3-9d9c-8d1484ffa7c1" providerId="ADAL" clId="{AD634740-2A4A-4DBA-91EE-B286EB63FCB7}" dt="2024-06-05T08:26:11.508" v="557"/>
          <ac:spMkLst>
            <pc:docMk/>
            <pc:sldMk cId="301651023" sldId="6887"/>
            <ac:spMk id="26" creationId="{E90EBED5-0119-63B5-8ADA-A782F80BE09D}"/>
          </ac:spMkLst>
        </pc:spChg>
        <pc:spChg chg="mod">
          <ac:chgData name="Sindija Kirsteine (LV)" userId="5f25501a-2215-4bb3-9d9c-8d1484ffa7c1" providerId="ADAL" clId="{AD634740-2A4A-4DBA-91EE-B286EB63FCB7}" dt="2024-06-05T08:36:27.429" v="895"/>
          <ac:spMkLst>
            <pc:docMk/>
            <pc:sldMk cId="301651023" sldId="6887"/>
            <ac:spMk id="27" creationId="{D6155AF2-A2E2-79D3-8DF6-690434B56D80}"/>
          </ac:spMkLst>
        </pc:spChg>
        <pc:spChg chg="mod">
          <ac:chgData name="Sindija Kirsteine (LV)" userId="5f25501a-2215-4bb3-9d9c-8d1484ffa7c1" providerId="ADAL" clId="{AD634740-2A4A-4DBA-91EE-B286EB63FCB7}" dt="2024-06-05T08:36:27.429" v="895"/>
          <ac:spMkLst>
            <pc:docMk/>
            <pc:sldMk cId="301651023" sldId="6887"/>
            <ac:spMk id="28" creationId="{593C3569-982C-3E00-A57A-FBA2BBE1654E}"/>
          </ac:spMkLst>
        </pc:spChg>
        <pc:spChg chg="mod">
          <ac:chgData name="Sindija Kirsteine (LV)" userId="5f25501a-2215-4bb3-9d9c-8d1484ffa7c1" providerId="ADAL" clId="{AD634740-2A4A-4DBA-91EE-B286EB63FCB7}" dt="2024-06-05T08:36:27.429" v="895"/>
          <ac:spMkLst>
            <pc:docMk/>
            <pc:sldMk cId="301651023" sldId="6887"/>
            <ac:spMk id="30" creationId="{14CE6011-A369-17C7-6632-229E91F12EDB}"/>
          </ac:spMkLst>
        </pc:spChg>
        <pc:spChg chg="mod">
          <ac:chgData name="Sindija Kirsteine (LV)" userId="5f25501a-2215-4bb3-9d9c-8d1484ffa7c1" providerId="ADAL" clId="{AD634740-2A4A-4DBA-91EE-B286EB63FCB7}" dt="2024-06-05T08:36:27.429" v="895"/>
          <ac:spMkLst>
            <pc:docMk/>
            <pc:sldMk cId="301651023" sldId="6887"/>
            <ac:spMk id="32" creationId="{66098ECD-18B6-182E-1929-76F330729C36}"/>
          </ac:spMkLst>
        </pc:spChg>
        <pc:spChg chg="mod">
          <ac:chgData name="Sindija Kirsteine (LV)" userId="5f25501a-2215-4bb3-9d9c-8d1484ffa7c1" providerId="ADAL" clId="{AD634740-2A4A-4DBA-91EE-B286EB63FCB7}" dt="2024-06-05T08:36:27.429" v="895"/>
          <ac:spMkLst>
            <pc:docMk/>
            <pc:sldMk cId="301651023" sldId="6887"/>
            <ac:spMk id="35" creationId="{E9CFA06E-BE24-83CC-9058-CFB44AC8CFB8}"/>
          </ac:spMkLst>
        </pc:spChg>
        <pc:spChg chg="mod">
          <ac:chgData name="Sindija Kirsteine (LV)" userId="5f25501a-2215-4bb3-9d9c-8d1484ffa7c1" providerId="ADAL" clId="{AD634740-2A4A-4DBA-91EE-B286EB63FCB7}" dt="2024-06-05T08:36:27.429" v="895"/>
          <ac:spMkLst>
            <pc:docMk/>
            <pc:sldMk cId="301651023" sldId="6887"/>
            <ac:spMk id="38" creationId="{BE4C6298-A95C-D32F-080C-549D57294AE9}"/>
          </ac:spMkLst>
        </pc:spChg>
        <pc:spChg chg="mod">
          <ac:chgData name="Sindija Kirsteine (LV)" userId="5f25501a-2215-4bb3-9d9c-8d1484ffa7c1" providerId="ADAL" clId="{AD634740-2A4A-4DBA-91EE-B286EB63FCB7}" dt="2024-06-05T08:36:27.429" v="895"/>
          <ac:spMkLst>
            <pc:docMk/>
            <pc:sldMk cId="301651023" sldId="6887"/>
            <ac:spMk id="41" creationId="{2F5F56CA-D418-5A18-F48A-2DD5D458DB36}"/>
          </ac:spMkLst>
        </pc:spChg>
        <pc:grpChg chg="del">
          <ac:chgData name="Sindija Kirsteine (LV)" userId="5f25501a-2215-4bb3-9d9c-8d1484ffa7c1" providerId="ADAL" clId="{AD634740-2A4A-4DBA-91EE-B286EB63FCB7}" dt="2024-06-05T08:36:27.177" v="894" actId="478"/>
          <ac:grpSpMkLst>
            <pc:docMk/>
            <pc:sldMk cId="301651023" sldId="6887"/>
            <ac:grpSpMk id="2" creationId="{D926B872-8210-A0B7-F5CF-85716A067531}"/>
          </ac:grpSpMkLst>
        </pc:grpChg>
        <pc:grpChg chg="add mod">
          <ac:chgData name="Sindija Kirsteine (LV)" userId="5f25501a-2215-4bb3-9d9c-8d1484ffa7c1" providerId="ADAL" clId="{AD634740-2A4A-4DBA-91EE-B286EB63FCB7}" dt="2024-06-05T08:36:27.429" v="895"/>
          <ac:grpSpMkLst>
            <pc:docMk/>
            <pc:sldMk cId="301651023" sldId="6887"/>
            <ac:grpSpMk id="5" creationId="{9A662FD0-25E5-85FD-1BA6-E8A71D16AA76}"/>
          </ac:grpSpMkLst>
        </pc:grpChg>
      </pc:sldChg>
      <pc:sldChg chg="addSp delSp modSp mod delCm modCm">
        <pc:chgData name="Sindija Kirsteine (LV)" userId="5f25501a-2215-4bb3-9d9c-8d1484ffa7c1" providerId="ADAL" clId="{AD634740-2A4A-4DBA-91EE-B286EB63FCB7}" dt="2024-06-10T07:46:18.014" v="2602" actId="1076"/>
        <pc:sldMkLst>
          <pc:docMk/>
          <pc:sldMk cId="192098022" sldId="2147481877"/>
        </pc:sldMkLst>
        <pc:spChg chg="mod">
          <ac:chgData name="Sindija Kirsteine (LV)" userId="5f25501a-2215-4bb3-9d9c-8d1484ffa7c1" providerId="ADAL" clId="{AD634740-2A4A-4DBA-91EE-B286EB63FCB7}" dt="2024-06-10T07:46:18.014" v="2602" actId="1076"/>
          <ac:spMkLst>
            <pc:docMk/>
            <pc:sldMk cId="192098022" sldId="2147481877"/>
            <ac:spMk id="3" creationId="{6A355E03-E3D4-57E7-8E5C-EA6D87D67D07}"/>
          </ac:spMkLst>
        </pc:spChg>
        <pc:spChg chg="add del mod">
          <ac:chgData name="Sindija Kirsteine (LV)" userId="5f25501a-2215-4bb3-9d9c-8d1484ffa7c1" providerId="ADAL" clId="{AD634740-2A4A-4DBA-91EE-B286EB63FCB7}" dt="2024-06-07T14:43:43.574" v="2327" actId="478"/>
          <ac:spMkLst>
            <pc:docMk/>
            <pc:sldMk cId="192098022" sldId="2147481877"/>
            <ac:spMk id="4" creationId="{5D11349D-67E6-D358-56A1-2A641284DFB5}"/>
          </ac:spMkLst>
        </pc:spChg>
        <pc:spChg chg="add del mod">
          <ac:chgData name="Sindija Kirsteine (LV)" userId="5f25501a-2215-4bb3-9d9c-8d1484ffa7c1" providerId="ADAL" clId="{AD634740-2A4A-4DBA-91EE-B286EB63FCB7}" dt="2024-06-07T14:43:41.808" v="2325" actId="478"/>
          <ac:spMkLst>
            <pc:docMk/>
            <pc:sldMk cId="192098022" sldId="2147481877"/>
            <ac:spMk id="5" creationId="{308ECC67-B761-96DF-30AC-C0262F606CFA}"/>
          </ac:spMkLst>
        </pc:spChg>
        <pc:spChg chg="del">
          <ac:chgData name="Sindija Kirsteine (LV)" userId="5f25501a-2215-4bb3-9d9c-8d1484ffa7c1" providerId="ADAL" clId="{AD634740-2A4A-4DBA-91EE-B286EB63FCB7}" dt="2024-06-05T11:59:07.504" v="1053" actId="478"/>
          <ac:spMkLst>
            <pc:docMk/>
            <pc:sldMk cId="192098022" sldId="2147481877"/>
            <ac:spMk id="6" creationId="{847F1DA5-4E0E-C3BD-946C-125801C6EDE8}"/>
          </ac:spMkLst>
        </pc:spChg>
        <pc:spChg chg="mod">
          <ac:chgData name="Sindija Kirsteine (LV)" userId="5f25501a-2215-4bb3-9d9c-8d1484ffa7c1" providerId="ADAL" clId="{AD634740-2A4A-4DBA-91EE-B286EB63FCB7}" dt="2024-06-05T08:21:25.633" v="417"/>
          <ac:spMkLst>
            <pc:docMk/>
            <pc:sldMk cId="192098022" sldId="2147481877"/>
            <ac:spMk id="7" creationId="{99589C5F-A268-A9F2-6268-411BE0E28F8C}"/>
          </ac:spMkLst>
        </pc:spChg>
        <pc:spChg chg="add del mod">
          <ac:chgData name="Sindija Kirsteine (LV)" userId="5f25501a-2215-4bb3-9d9c-8d1484ffa7c1" providerId="ADAL" clId="{AD634740-2A4A-4DBA-91EE-B286EB63FCB7}" dt="2024-06-07T14:43:40.698" v="2324" actId="478"/>
          <ac:spMkLst>
            <pc:docMk/>
            <pc:sldMk cId="192098022" sldId="2147481877"/>
            <ac:spMk id="8" creationId="{AD0EC130-F5B9-24BB-A5F8-C9198B2644E6}"/>
          </ac:spMkLst>
        </pc:spChg>
        <pc:spChg chg="add del mod">
          <ac:chgData name="Sindija Kirsteine (LV)" userId="5f25501a-2215-4bb3-9d9c-8d1484ffa7c1" providerId="ADAL" clId="{AD634740-2A4A-4DBA-91EE-B286EB63FCB7}" dt="2024-06-07T14:43:40.698" v="2324" actId="478"/>
          <ac:spMkLst>
            <pc:docMk/>
            <pc:sldMk cId="192098022" sldId="2147481877"/>
            <ac:spMk id="10" creationId="{C56FC8EF-C04E-C075-E2F4-4BCB83948E28}"/>
          </ac:spMkLst>
        </pc:spChg>
        <pc:extLst>
          <p:ext xmlns:p="http://schemas.openxmlformats.org/presentationml/2006/main" uri="{D6D511B9-2390-475A-947B-AFAB55BFBCF1}">
            <pc226:cmChg xmlns:pc226="http://schemas.microsoft.com/office/powerpoint/2022/06/main/command" chg="del mod">
              <pc226:chgData name="Sindija Kirsteine (LV)" userId="5f25501a-2215-4bb3-9d9c-8d1484ffa7c1" providerId="ADAL" clId="{AD634740-2A4A-4DBA-91EE-B286EB63FCB7}" dt="2024-06-07T15:01:30.501" v="2419"/>
              <pc2:cmMkLst xmlns:pc2="http://schemas.microsoft.com/office/powerpoint/2019/9/main/command">
                <pc:docMk/>
                <pc:sldMk cId="192098022" sldId="2147481877"/>
                <pc2:cmMk id="{42340CB7-382F-4BFC-9464-B01F4E65E661}"/>
              </pc2:cmMkLst>
            </pc226:cmChg>
            <pc226:cmChg xmlns:pc226="http://schemas.microsoft.com/office/powerpoint/2022/06/main/command" chg="mod">
              <pc226:chgData name="Sindija Kirsteine (LV)" userId="5f25501a-2215-4bb3-9d9c-8d1484ffa7c1" providerId="ADAL" clId="{AD634740-2A4A-4DBA-91EE-B286EB63FCB7}" dt="2024-06-05T11:59:07.511" v="1054" actId="2056"/>
              <pc2:cmMkLst xmlns:pc2="http://schemas.microsoft.com/office/powerpoint/2019/9/main/command">
                <pc:docMk/>
                <pc:sldMk cId="192098022" sldId="2147481877"/>
                <pc2:cmMk id="{2BAFDAD7-4750-421D-879A-E56EE9100927}"/>
              </pc2:cmMkLst>
            </pc226:cmChg>
          </p:ext>
        </pc:extLst>
      </pc:sldChg>
      <pc:sldChg chg="addSp delSp modSp mod delCm">
        <pc:chgData name="Sindija Kirsteine (LV)" userId="5f25501a-2215-4bb3-9d9c-8d1484ffa7c1" providerId="ADAL" clId="{AD634740-2A4A-4DBA-91EE-B286EB63FCB7}" dt="2024-06-05T11:46:36.659" v="1005" actId="948"/>
        <pc:sldMkLst>
          <pc:docMk/>
          <pc:sldMk cId="839732171" sldId="2147481882"/>
        </pc:sldMkLst>
        <pc:spChg chg="mod">
          <ac:chgData name="Sindija Kirsteine (LV)" userId="5f25501a-2215-4bb3-9d9c-8d1484ffa7c1" providerId="ADAL" clId="{AD634740-2A4A-4DBA-91EE-B286EB63FCB7}" dt="2024-06-05T11:32:34.525" v="960" actId="948"/>
          <ac:spMkLst>
            <pc:docMk/>
            <pc:sldMk cId="839732171" sldId="2147481882"/>
            <ac:spMk id="3" creationId="{4EF6DB77-182C-C281-1C2F-C2E2D9AB6583}"/>
          </ac:spMkLst>
        </pc:spChg>
        <pc:spChg chg="add mod">
          <ac:chgData name="Sindija Kirsteine (LV)" userId="5f25501a-2215-4bb3-9d9c-8d1484ffa7c1" providerId="ADAL" clId="{AD634740-2A4A-4DBA-91EE-B286EB63FCB7}" dt="2024-06-05T08:21:47.096" v="422"/>
          <ac:spMkLst>
            <pc:docMk/>
            <pc:sldMk cId="839732171" sldId="2147481882"/>
            <ac:spMk id="5" creationId="{7E4ED79F-2C53-B555-2F4D-21E619D1E11A}"/>
          </ac:spMkLst>
        </pc:spChg>
        <pc:spChg chg="mod">
          <ac:chgData name="Sindija Kirsteine (LV)" userId="5f25501a-2215-4bb3-9d9c-8d1484ffa7c1" providerId="ADAL" clId="{AD634740-2A4A-4DBA-91EE-B286EB63FCB7}" dt="2024-06-05T11:46:36.659" v="1005" actId="948"/>
          <ac:spMkLst>
            <pc:docMk/>
            <pc:sldMk cId="839732171" sldId="2147481882"/>
            <ac:spMk id="6" creationId="{2CB3F9F5-858C-1D21-4D13-EAEDABE2E74A}"/>
          </ac:spMkLst>
        </pc:spChg>
        <pc:spChg chg="del mod">
          <ac:chgData name="Sindija Kirsteine (LV)" userId="5f25501a-2215-4bb3-9d9c-8d1484ffa7c1" providerId="ADAL" clId="{AD634740-2A4A-4DBA-91EE-B286EB63FCB7}" dt="2024-06-05T08:21:31.114" v="419" actId="478"/>
          <ac:spMkLst>
            <pc:docMk/>
            <pc:sldMk cId="839732171" sldId="2147481882"/>
            <ac:spMk id="10" creationId="{A4023E8B-2A57-59A4-3BAA-367FEF6C1A6B}"/>
          </ac:spMkLst>
        </pc:spChg>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AD634740-2A4A-4DBA-91EE-B286EB63FCB7}" dt="2024-06-05T08:20:43.994" v="402"/>
              <pc2:cmMkLst xmlns:pc2="http://schemas.microsoft.com/office/powerpoint/2019/9/main/command">
                <pc:docMk/>
                <pc:sldMk cId="839732171" sldId="2147481882"/>
                <pc2:cmMk id="{AC732292-0AA3-46F5-86C5-9A6BAAAA2C1F}"/>
              </pc2:cmMkLst>
            </pc226:cmChg>
          </p:ext>
        </pc:extLst>
      </pc:sldChg>
      <pc:sldChg chg="modSp mod delCm">
        <pc:chgData name="Sindija Kirsteine (LV)" userId="5f25501a-2215-4bb3-9d9c-8d1484ffa7c1" providerId="ADAL" clId="{AD634740-2A4A-4DBA-91EE-B286EB63FCB7}" dt="2024-06-07T15:46:59.949" v="2588" actId="20577"/>
        <pc:sldMkLst>
          <pc:docMk/>
          <pc:sldMk cId="1076096228" sldId="2147481883"/>
        </pc:sldMkLst>
        <pc:spChg chg="mod">
          <ac:chgData name="Sindija Kirsteine (LV)" userId="5f25501a-2215-4bb3-9d9c-8d1484ffa7c1" providerId="ADAL" clId="{AD634740-2A4A-4DBA-91EE-B286EB63FCB7}" dt="2024-06-05T08:21:55.625" v="425"/>
          <ac:spMkLst>
            <pc:docMk/>
            <pc:sldMk cId="1076096228" sldId="2147481883"/>
            <ac:spMk id="5" creationId="{77809E40-37CF-33A7-7901-D1413BC4E7D9}"/>
          </ac:spMkLst>
        </pc:spChg>
        <pc:spChg chg="mod">
          <ac:chgData name="Sindija Kirsteine (LV)" userId="5f25501a-2215-4bb3-9d9c-8d1484ffa7c1" providerId="ADAL" clId="{AD634740-2A4A-4DBA-91EE-B286EB63FCB7}" dt="2024-06-07T15:46:59.949" v="2588" actId="20577"/>
          <ac:spMkLst>
            <pc:docMk/>
            <pc:sldMk cId="1076096228" sldId="2147481883"/>
            <ac:spMk id="7" creationId="{8955B2C7-F22E-6F52-733B-63ECB21657CB}"/>
          </ac:spMkLst>
        </pc:spChg>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AD634740-2A4A-4DBA-91EE-B286EB63FCB7}" dt="2024-06-07T08:53:06.261" v="2006"/>
              <pc2:cmMkLst xmlns:pc2="http://schemas.microsoft.com/office/powerpoint/2019/9/main/command">
                <pc:docMk/>
                <pc:sldMk cId="1076096228" sldId="2147481883"/>
                <pc2:cmMk id="{A5CE162D-2EEE-4922-B176-CB61EFDAC24E}"/>
              </pc2:cmMkLst>
            </pc226:cmChg>
            <pc226:cmChg xmlns:pc226="http://schemas.microsoft.com/office/powerpoint/2022/06/main/command" chg="del">
              <pc226:chgData name="Sindija Kirsteine (LV)" userId="5f25501a-2215-4bb3-9d9c-8d1484ffa7c1" providerId="ADAL" clId="{AD634740-2A4A-4DBA-91EE-B286EB63FCB7}" dt="2024-06-07T08:53:05.089" v="2005"/>
              <pc2:cmMkLst xmlns:pc2="http://schemas.microsoft.com/office/powerpoint/2019/9/main/command">
                <pc:docMk/>
                <pc:sldMk cId="1076096228" sldId="2147481883"/>
                <pc2:cmMk id="{15B0C1A2-347A-4C6A-94D2-48D8CFAC1078}"/>
              </pc2:cmMkLst>
            </pc226:cmChg>
          </p:ext>
        </pc:extLst>
      </pc:sldChg>
      <pc:sldChg chg="modSp mod ord">
        <pc:chgData name="Sindija Kirsteine (LV)" userId="5f25501a-2215-4bb3-9d9c-8d1484ffa7c1" providerId="ADAL" clId="{AD634740-2A4A-4DBA-91EE-B286EB63FCB7}" dt="2024-06-07T15:03:41.571" v="2473" actId="27636"/>
        <pc:sldMkLst>
          <pc:docMk/>
          <pc:sldMk cId="1498590892" sldId="2147481885"/>
        </pc:sldMkLst>
        <pc:spChg chg="mod">
          <ac:chgData name="Sindija Kirsteine (LV)" userId="5f25501a-2215-4bb3-9d9c-8d1484ffa7c1" providerId="ADAL" clId="{AD634740-2A4A-4DBA-91EE-B286EB63FCB7}" dt="2024-06-07T15:03:41.571" v="2473" actId="27636"/>
          <ac:spMkLst>
            <pc:docMk/>
            <pc:sldMk cId="1498590892" sldId="2147481885"/>
            <ac:spMk id="4" creationId="{B1CBE399-95B1-4855-23E2-3019CA5A03DE}"/>
          </ac:spMkLst>
        </pc:spChg>
      </pc:sldChg>
      <pc:sldChg chg="modSp mod">
        <pc:chgData name="Sindija Kirsteine (LV)" userId="5f25501a-2215-4bb3-9d9c-8d1484ffa7c1" providerId="ADAL" clId="{AD634740-2A4A-4DBA-91EE-B286EB63FCB7}" dt="2024-06-07T14:59:57.054" v="2349"/>
        <pc:sldMkLst>
          <pc:docMk/>
          <pc:sldMk cId="4260349440" sldId="2147481886"/>
        </pc:sldMkLst>
        <pc:spChg chg="mod">
          <ac:chgData name="Sindija Kirsteine (LV)" userId="5f25501a-2215-4bb3-9d9c-8d1484ffa7c1" providerId="ADAL" clId="{AD634740-2A4A-4DBA-91EE-B286EB63FCB7}" dt="2024-06-07T14:59:57.054" v="2349"/>
          <ac:spMkLst>
            <pc:docMk/>
            <pc:sldMk cId="4260349440" sldId="2147481886"/>
            <ac:spMk id="4" creationId="{B1CBE399-95B1-4855-23E2-3019CA5A03DE}"/>
          </ac:spMkLst>
        </pc:spChg>
      </pc:sldChg>
      <pc:sldChg chg="modSp mod ord">
        <pc:chgData name="Sindija Kirsteine (LV)" userId="5f25501a-2215-4bb3-9d9c-8d1484ffa7c1" providerId="ADAL" clId="{AD634740-2A4A-4DBA-91EE-B286EB63FCB7}" dt="2024-06-07T15:03:29.394" v="2469"/>
        <pc:sldMkLst>
          <pc:docMk/>
          <pc:sldMk cId="2647739992" sldId="2147481887"/>
        </pc:sldMkLst>
        <pc:spChg chg="mod">
          <ac:chgData name="Sindija Kirsteine (LV)" userId="5f25501a-2215-4bb3-9d9c-8d1484ffa7c1" providerId="ADAL" clId="{AD634740-2A4A-4DBA-91EE-B286EB63FCB7}" dt="2024-06-07T15:03:29.394" v="2469"/>
          <ac:spMkLst>
            <pc:docMk/>
            <pc:sldMk cId="2647739992" sldId="2147481887"/>
            <ac:spMk id="4" creationId="{B1CBE399-95B1-4855-23E2-3019CA5A03DE}"/>
          </ac:spMkLst>
        </pc:spChg>
        <pc:spChg chg="mod">
          <ac:chgData name="Sindija Kirsteine (LV)" userId="5f25501a-2215-4bb3-9d9c-8d1484ffa7c1" providerId="ADAL" clId="{AD634740-2A4A-4DBA-91EE-B286EB63FCB7}" dt="2024-06-07T15:02:58.852" v="2453"/>
          <ac:spMkLst>
            <pc:docMk/>
            <pc:sldMk cId="2647739992" sldId="2147481887"/>
            <ac:spMk id="20" creationId="{DA4789A9-B8AF-52BF-5DEF-333466FE31C0}"/>
          </ac:spMkLst>
        </pc:spChg>
      </pc:sldChg>
      <pc:sldChg chg="modSp del mod modShow delCm">
        <pc:chgData name="Sindija Kirsteine (LV)" userId="5f25501a-2215-4bb3-9d9c-8d1484ffa7c1" providerId="ADAL" clId="{AD634740-2A4A-4DBA-91EE-B286EB63FCB7}" dt="2024-06-07T06:25:38.960" v="1101" actId="2696"/>
        <pc:sldMkLst>
          <pc:docMk/>
          <pc:sldMk cId="59703751" sldId="2147481888"/>
        </pc:sldMkLst>
        <pc:spChg chg="mod">
          <ac:chgData name="Sindija Kirsteine (LV)" userId="5f25501a-2215-4bb3-9d9c-8d1484ffa7c1" providerId="ADAL" clId="{AD634740-2A4A-4DBA-91EE-B286EB63FCB7}" dt="2024-06-05T08:25:29.157" v="532" actId="20577"/>
          <ac:spMkLst>
            <pc:docMk/>
            <pc:sldMk cId="59703751" sldId="2147481888"/>
            <ac:spMk id="4" creationId="{B1CBE399-95B1-4855-23E2-3019CA5A03DE}"/>
          </ac:spMkLst>
        </pc:spChg>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AD634740-2A4A-4DBA-91EE-B286EB63FCB7}" dt="2024-06-05T08:25:18.547" v="526"/>
              <pc2:cmMkLst xmlns:pc2="http://schemas.microsoft.com/office/powerpoint/2019/9/main/command">
                <pc:docMk/>
                <pc:sldMk cId="59703751" sldId="2147481888"/>
                <pc2:cmMk id="{4B62BA8B-4351-4CD1-8070-6A6DD6FEFD97}"/>
              </pc2:cmMkLst>
            </pc226:cmChg>
          </p:ext>
        </pc:extLst>
      </pc:sldChg>
      <pc:sldChg chg="modSp mod">
        <pc:chgData name="Sindija Kirsteine (LV)" userId="5f25501a-2215-4bb3-9d9c-8d1484ffa7c1" providerId="ADAL" clId="{AD634740-2A4A-4DBA-91EE-B286EB63FCB7}" dt="2024-06-07T06:25:49.257" v="1108" actId="20577"/>
        <pc:sldMkLst>
          <pc:docMk/>
          <pc:sldMk cId="449992976" sldId="2147481889"/>
        </pc:sldMkLst>
        <pc:spChg chg="mod">
          <ac:chgData name="Sindija Kirsteine (LV)" userId="5f25501a-2215-4bb3-9d9c-8d1484ffa7c1" providerId="ADAL" clId="{AD634740-2A4A-4DBA-91EE-B286EB63FCB7}" dt="2024-06-07T06:25:49.257" v="1108" actId="20577"/>
          <ac:spMkLst>
            <pc:docMk/>
            <pc:sldMk cId="449992976" sldId="2147481889"/>
            <ac:spMk id="4" creationId="{B1CBE399-95B1-4855-23E2-3019CA5A03DE}"/>
          </ac:spMkLst>
        </pc:spChg>
      </pc:sldChg>
      <pc:sldChg chg="modSp mod delCm">
        <pc:chgData name="Sindija Kirsteine (LV)" userId="5f25501a-2215-4bb3-9d9c-8d1484ffa7c1" providerId="ADAL" clId="{AD634740-2A4A-4DBA-91EE-B286EB63FCB7}" dt="2024-06-10T07:46:24.976" v="2604"/>
        <pc:sldMkLst>
          <pc:docMk/>
          <pc:sldMk cId="3901568867" sldId="2147481894"/>
        </pc:sldMkLst>
        <pc:spChg chg="mod">
          <ac:chgData name="Sindija Kirsteine (LV)" userId="5f25501a-2215-4bb3-9d9c-8d1484ffa7c1" providerId="ADAL" clId="{AD634740-2A4A-4DBA-91EE-B286EB63FCB7}" dt="2024-06-10T07:46:24.976" v="2604"/>
          <ac:spMkLst>
            <pc:docMk/>
            <pc:sldMk cId="3901568867" sldId="2147481894"/>
            <ac:spMk id="2" creationId="{00000000-0000-0000-0000-000000000000}"/>
          </ac:spMkLst>
        </pc:spChg>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AD634740-2A4A-4DBA-91EE-B286EB63FCB7}" dt="2024-06-10T07:45:53.081" v="2597"/>
              <pc2:cmMkLst xmlns:pc2="http://schemas.microsoft.com/office/powerpoint/2019/9/main/command">
                <pc:docMk/>
                <pc:sldMk cId="3901568867" sldId="2147481894"/>
                <pc2:cmMk id="{48CE4E91-3BD3-4EFA-B790-50795C518EF0}"/>
              </pc2:cmMkLst>
            </pc226:cmChg>
          </p:ext>
        </pc:extLst>
      </pc:sldChg>
      <pc:sldChg chg="addSp delSp modSp mod ord">
        <pc:chgData name="Sindija Kirsteine (LV)" userId="5f25501a-2215-4bb3-9d9c-8d1484ffa7c1" providerId="ADAL" clId="{AD634740-2A4A-4DBA-91EE-B286EB63FCB7}" dt="2024-06-07T14:59:17.591" v="2338"/>
        <pc:sldMkLst>
          <pc:docMk/>
          <pc:sldMk cId="2731229360" sldId="2147481895"/>
        </pc:sldMkLst>
        <pc:spChg chg="mod">
          <ac:chgData name="Sindija Kirsteine (LV)" userId="5f25501a-2215-4bb3-9d9c-8d1484ffa7c1" providerId="ADAL" clId="{AD634740-2A4A-4DBA-91EE-B286EB63FCB7}" dt="2024-06-05T08:24:48.546" v="513"/>
          <ac:spMkLst>
            <pc:docMk/>
            <pc:sldMk cId="2731229360" sldId="2147481895"/>
            <ac:spMk id="3" creationId="{3C51BFB5-F916-5BE2-0E6F-7E9812C79E56}"/>
          </ac:spMkLst>
        </pc:spChg>
        <pc:spChg chg="mod">
          <ac:chgData name="Sindija Kirsteine (LV)" userId="5f25501a-2215-4bb3-9d9c-8d1484ffa7c1" providerId="ADAL" clId="{AD634740-2A4A-4DBA-91EE-B286EB63FCB7}" dt="2024-06-05T08:35:00.088" v="844"/>
          <ac:spMkLst>
            <pc:docMk/>
            <pc:sldMk cId="2731229360" sldId="2147481895"/>
            <ac:spMk id="17" creationId="{6DA53E30-F96B-6833-4C88-7469C1FAA717}"/>
          </ac:spMkLst>
        </pc:spChg>
        <pc:spChg chg="mod">
          <ac:chgData name="Sindija Kirsteine (LV)" userId="5f25501a-2215-4bb3-9d9c-8d1484ffa7c1" providerId="ADAL" clId="{AD634740-2A4A-4DBA-91EE-B286EB63FCB7}" dt="2024-06-05T08:35:00.088" v="844"/>
          <ac:spMkLst>
            <pc:docMk/>
            <pc:sldMk cId="2731229360" sldId="2147481895"/>
            <ac:spMk id="18" creationId="{87C0CF4C-D8C0-C432-809C-63DCEB47120E}"/>
          </ac:spMkLst>
        </pc:spChg>
        <pc:spChg chg="mod">
          <ac:chgData name="Sindija Kirsteine (LV)" userId="5f25501a-2215-4bb3-9d9c-8d1484ffa7c1" providerId="ADAL" clId="{AD634740-2A4A-4DBA-91EE-B286EB63FCB7}" dt="2024-06-05T08:35:00.088" v="844"/>
          <ac:spMkLst>
            <pc:docMk/>
            <pc:sldMk cId="2731229360" sldId="2147481895"/>
            <ac:spMk id="19" creationId="{577BEA8F-F690-A1D5-2883-0EBF8A176E05}"/>
          </ac:spMkLst>
        </pc:spChg>
        <pc:spChg chg="mod">
          <ac:chgData name="Sindija Kirsteine (LV)" userId="5f25501a-2215-4bb3-9d9c-8d1484ffa7c1" providerId="ADAL" clId="{AD634740-2A4A-4DBA-91EE-B286EB63FCB7}" dt="2024-06-05T08:35:00.088" v="844"/>
          <ac:spMkLst>
            <pc:docMk/>
            <pc:sldMk cId="2731229360" sldId="2147481895"/>
            <ac:spMk id="20" creationId="{3EC16632-C079-DC4C-E174-CDFE92C0B971}"/>
          </ac:spMkLst>
        </pc:spChg>
        <pc:spChg chg="mod">
          <ac:chgData name="Sindija Kirsteine (LV)" userId="5f25501a-2215-4bb3-9d9c-8d1484ffa7c1" providerId="ADAL" clId="{AD634740-2A4A-4DBA-91EE-B286EB63FCB7}" dt="2024-06-05T08:35:00.088" v="844"/>
          <ac:spMkLst>
            <pc:docMk/>
            <pc:sldMk cId="2731229360" sldId="2147481895"/>
            <ac:spMk id="21" creationId="{6A238922-F823-13D2-371B-CBD04F274DD9}"/>
          </ac:spMkLst>
        </pc:spChg>
        <pc:spChg chg="mod">
          <ac:chgData name="Sindija Kirsteine (LV)" userId="5f25501a-2215-4bb3-9d9c-8d1484ffa7c1" providerId="ADAL" clId="{AD634740-2A4A-4DBA-91EE-B286EB63FCB7}" dt="2024-06-05T08:35:00.088" v="844"/>
          <ac:spMkLst>
            <pc:docMk/>
            <pc:sldMk cId="2731229360" sldId="2147481895"/>
            <ac:spMk id="23" creationId="{140B6471-0A0E-1E1A-DE43-0434AB3EDE61}"/>
          </ac:spMkLst>
        </pc:spChg>
        <pc:spChg chg="mod">
          <ac:chgData name="Sindija Kirsteine (LV)" userId="5f25501a-2215-4bb3-9d9c-8d1484ffa7c1" providerId="ADAL" clId="{AD634740-2A4A-4DBA-91EE-B286EB63FCB7}" dt="2024-06-05T08:35:00.088" v="844"/>
          <ac:spMkLst>
            <pc:docMk/>
            <pc:sldMk cId="2731229360" sldId="2147481895"/>
            <ac:spMk id="24" creationId="{BC9AF67D-F8F4-DA79-05B7-2B4E466AE175}"/>
          </ac:spMkLst>
        </pc:spChg>
        <pc:grpChg chg="del">
          <ac:chgData name="Sindija Kirsteine (LV)" userId="5f25501a-2215-4bb3-9d9c-8d1484ffa7c1" providerId="ADAL" clId="{AD634740-2A4A-4DBA-91EE-B286EB63FCB7}" dt="2024-06-05T08:34:59.851" v="843" actId="478"/>
          <ac:grpSpMkLst>
            <pc:docMk/>
            <pc:sldMk cId="2731229360" sldId="2147481895"/>
            <ac:grpSpMk id="4" creationId="{1BBC90F7-45FE-5341-A1A0-E8682D73CB7D}"/>
          </ac:grpSpMkLst>
        </pc:grpChg>
        <pc:grpChg chg="add mod">
          <ac:chgData name="Sindija Kirsteine (LV)" userId="5f25501a-2215-4bb3-9d9c-8d1484ffa7c1" providerId="ADAL" clId="{AD634740-2A4A-4DBA-91EE-B286EB63FCB7}" dt="2024-06-05T08:35:00.088" v="844"/>
          <ac:grpSpMkLst>
            <pc:docMk/>
            <pc:sldMk cId="2731229360" sldId="2147481895"/>
            <ac:grpSpMk id="16" creationId="{9A690DFF-F5A3-BA45-3611-03F7B2D90D7E}"/>
          </ac:grpSpMkLst>
        </pc:grpChg>
      </pc:sldChg>
      <pc:sldChg chg="addSp delSp modSp mod ord">
        <pc:chgData name="Sindija Kirsteine (LV)" userId="5f25501a-2215-4bb3-9d9c-8d1484ffa7c1" providerId="ADAL" clId="{AD634740-2A4A-4DBA-91EE-B286EB63FCB7}" dt="2024-06-07T14:59:17.591" v="2338"/>
        <pc:sldMkLst>
          <pc:docMk/>
          <pc:sldMk cId="3817097256" sldId="2147481898"/>
        </pc:sldMkLst>
        <pc:spChg chg="mod">
          <ac:chgData name="Sindija Kirsteine (LV)" userId="5f25501a-2215-4bb3-9d9c-8d1484ffa7c1" providerId="ADAL" clId="{AD634740-2A4A-4DBA-91EE-B286EB63FCB7}" dt="2024-06-05T08:24:37.876" v="507"/>
          <ac:spMkLst>
            <pc:docMk/>
            <pc:sldMk cId="3817097256" sldId="2147481898"/>
            <ac:spMk id="4" creationId="{EBA7BF60-0AE3-D651-C97F-6030A71AE8DD}"/>
          </ac:spMkLst>
        </pc:spChg>
        <pc:spChg chg="mod">
          <ac:chgData name="Sindija Kirsteine (LV)" userId="5f25501a-2215-4bb3-9d9c-8d1484ffa7c1" providerId="ADAL" clId="{AD634740-2A4A-4DBA-91EE-B286EB63FCB7}" dt="2024-06-05T08:31:58.197" v="739" actId="20577"/>
          <ac:spMkLst>
            <pc:docMk/>
            <pc:sldMk cId="3817097256" sldId="2147481898"/>
            <ac:spMk id="26" creationId="{3E10A8E4-6F82-C1E3-7C1B-10F33167F2C6}"/>
          </ac:spMkLst>
        </pc:spChg>
        <pc:spChg chg="mod">
          <ac:chgData name="Sindija Kirsteine (LV)" userId="5f25501a-2215-4bb3-9d9c-8d1484ffa7c1" providerId="ADAL" clId="{AD634740-2A4A-4DBA-91EE-B286EB63FCB7}" dt="2024-06-05T08:32:00.558" v="741" actId="20577"/>
          <ac:spMkLst>
            <pc:docMk/>
            <pc:sldMk cId="3817097256" sldId="2147481898"/>
            <ac:spMk id="27" creationId="{9AD1FBED-27B3-220A-DB91-049FAE531D86}"/>
          </ac:spMkLst>
        </pc:spChg>
        <pc:spChg chg="mod">
          <ac:chgData name="Sindija Kirsteine (LV)" userId="5f25501a-2215-4bb3-9d9c-8d1484ffa7c1" providerId="ADAL" clId="{AD634740-2A4A-4DBA-91EE-B286EB63FCB7}" dt="2024-06-05T08:32:02.749" v="743" actId="20577"/>
          <ac:spMkLst>
            <pc:docMk/>
            <pc:sldMk cId="3817097256" sldId="2147481898"/>
            <ac:spMk id="28" creationId="{252405C5-D58E-8F7C-185D-F573DE157FD4}"/>
          </ac:spMkLst>
        </pc:spChg>
        <pc:spChg chg="mod">
          <ac:chgData name="Sindija Kirsteine (LV)" userId="5f25501a-2215-4bb3-9d9c-8d1484ffa7c1" providerId="ADAL" clId="{AD634740-2A4A-4DBA-91EE-B286EB63FCB7}" dt="2024-06-05T08:31:29.534" v="723"/>
          <ac:spMkLst>
            <pc:docMk/>
            <pc:sldMk cId="3817097256" sldId="2147481898"/>
            <ac:spMk id="29" creationId="{2D15EBC4-B127-E708-B578-3FEF3CD12ACA}"/>
          </ac:spMkLst>
        </pc:spChg>
        <pc:spChg chg="mod">
          <ac:chgData name="Sindija Kirsteine (LV)" userId="5f25501a-2215-4bb3-9d9c-8d1484ffa7c1" providerId="ADAL" clId="{AD634740-2A4A-4DBA-91EE-B286EB63FCB7}" dt="2024-06-05T08:32:04.532" v="745" actId="20577"/>
          <ac:spMkLst>
            <pc:docMk/>
            <pc:sldMk cId="3817097256" sldId="2147481898"/>
            <ac:spMk id="30" creationId="{55B7CA2E-2D87-CFC4-36AE-5CF38C879E3D}"/>
          </ac:spMkLst>
        </pc:spChg>
        <pc:spChg chg="mod">
          <ac:chgData name="Sindija Kirsteine (LV)" userId="5f25501a-2215-4bb3-9d9c-8d1484ffa7c1" providerId="ADAL" clId="{AD634740-2A4A-4DBA-91EE-B286EB63FCB7}" dt="2024-06-05T08:32:06.419" v="747" actId="20577"/>
          <ac:spMkLst>
            <pc:docMk/>
            <pc:sldMk cId="3817097256" sldId="2147481898"/>
            <ac:spMk id="31" creationId="{0E2721CC-BE44-731B-3359-AC9C18BCA675}"/>
          </ac:spMkLst>
        </pc:spChg>
        <pc:spChg chg="mod">
          <ac:chgData name="Sindija Kirsteine (LV)" userId="5f25501a-2215-4bb3-9d9c-8d1484ffa7c1" providerId="ADAL" clId="{AD634740-2A4A-4DBA-91EE-B286EB63FCB7}" dt="2024-06-05T08:32:08.590" v="749" actId="20577"/>
          <ac:spMkLst>
            <pc:docMk/>
            <pc:sldMk cId="3817097256" sldId="2147481898"/>
            <ac:spMk id="32" creationId="{899CD54B-9C28-FC8E-BFDC-6CA961FBCDD3}"/>
          </ac:spMkLst>
        </pc:spChg>
        <pc:spChg chg="mod">
          <ac:chgData name="Sindija Kirsteine (LV)" userId="5f25501a-2215-4bb3-9d9c-8d1484ffa7c1" providerId="ADAL" clId="{AD634740-2A4A-4DBA-91EE-B286EB63FCB7}" dt="2024-06-05T08:34:35.278" v="831"/>
          <ac:spMkLst>
            <pc:docMk/>
            <pc:sldMk cId="3817097256" sldId="2147481898"/>
            <ac:spMk id="33" creationId="{61FB8EE6-6412-90C2-5B90-A613C6CA7497}"/>
          </ac:spMkLst>
        </pc:spChg>
        <pc:spChg chg="mod">
          <ac:chgData name="Sindija Kirsteine (LV)" userId="5f25501a-2215-4bb3-9d9c-8d1484ffa7c1" providerId="ADAL" clId="{AD634740-2A4A-4DBA-91EE-B286EB63FCB7}" dt="2024-06-05T08:34:35.278" v="831"/>
          <ac:spMkLst>
            <pc:docMk/>
            <pc:sldMk cId="3817097256" sldId="2147481898"/>
            <ac:spMk id="34" creationId="{52D6C5BD-A4B4-233B-8D15-E46CE9DB3B78}"/>
          </ac:spMkLst>
        </pc:spChg>
        <pc:spChg chg="mod">
          <ac:chgData name="Sindija Kirsteine (LV)" userId="5f25501a-2215-4bb3-9d9c-8d1484ffa7c1" providerId="ADAL" clId="{AD634740-2A4A-4DBA-91EE-B286EB63FCB7}" dt="2024-06-05T08:34:35.278" v="831"/>
          <ac:spMkLst>
            <pc:docMk/>
            <pc:sldMk cId="3817097256" sldId="2147481898"/>
            <ac:spMk id="35" creationId="{B69D5CB5-2997-A74C-04ED-4F6223F17C8C}"/>
          </ac:spMkLst>
        </pc:spChg>
        <pc:spChg chg="mod">
          <ac:chgData name="Sindija Kirsteine (LV)" userId="5f25501a-2215-4bb3-9d9c-8d1484ffa7c1" providerId="ADAL" clId="{AD634740-2A4A-4DBA-91EE-B286EB63FCB7}" dt="2024-06-05T08:34:35.278" v="831"/>
          <ac:spMkLst>
            <pc:docMk/>
            <pc:sldMk cId="3817097256" sldId="2147481898"/>
            <ac:spMk id="36" creationId="{85942D98-0964-10CC-FC1F-2A996A669A75}"/>
          </ac:spMkLst>
        </pc:spChg>
        <pc:spChg chg="mod">
          <ac:chgData name="Sindija Kirsteine (LV)" userId="5f25501a-2215-4bb3-9d9c-8d1484ffa7c1" providerId="ADAL" clId="{AD634740-2A4A-4DBA-91EE-B286EB63FCB7}" dt="2024-06-05T08:34:35.278" v="831"/>
          <ac:spMkLst>
            <pc:docMk/>
            <pc:sldMk cId="3817097256" sldId="2147481898"/>
            <ac:spMk id="37" creationId="{083081EA-E2BB-F879-BF3A-0A2B0161DE89}"/>
          </ac:spMkLst>
        </pc:spChg>
        <pc:spChg chg="mod">
          <ac:chgData name="Sindija Kirsteine (LV)" userId="5f25501a-2215-4bb3-9d9c-8d1484ffa7c1" providerId="ADAL" clId="{AD634740-2A4A-4DBA-91EE-B286EB63FCB7}" dt="2024-06-05T08:34:35.278" v="831"/>
          <ac:spMkLst>
            <pc:docMk/>
            <pc:sldMk cId="3817097256" sldId="2147481898"/>
            <ac:spMk id="38" creationId="{A3ED027A-6595-1CEB-7503-6C875FFBF270}"/>
          </ac:spMkLst>
        </pc:spChg>
        <pc:spChg chg="mod">
          <ac:chgData name="Sindija Kirsteine (LV)" userId="5f25501a-2215-4bb3-9d9c-8d1484ffa7c1" providerId="ADAL" clId="{AD634740-2A4A-4DBA-91EE-B286EB63FCB7}" dt="2024-06-05T08:34:35.278" v="831"/>
          <ac:spMkLst>
            <pc:docMk/>
            <pc:sldMk cId="3817097256" sldId="2147481898"/>
            <ac:spMk id="39" creationId="{4AB1B0C6-E4F7-D03A-2E7F-6AA17FEBC06D}"/>
          </ac:spMkLst>
        </pc:spChg>
        <pc:grpChg chg="add mod">
          <ac:chgData name="Sindija Kirsteine (LV)" userId="5f25501a-2215-4bb3-9d9c-8d1484ffa7c1" providerId="ADAL" clId="{AD634740-2A4A-4DBA-91EE-B286EB63FCB7}" dt="2024-06-05T08:34:35.278" v="831"/>
          <ac:grpSpMkLst>
            <pc:docMk/>
            <pc:sldMk cId="3817097256" sldId="2147481898"/>
            <ac:grpSpMk id="6" creationId="{E4E12CDE-063B-643C-0E17-DA8F84BAEE7F}"/>
          </ac:grpSpMkLst>
        </pc:grpChg>
        <pc:grpChg chg="del mod">
          <ac:chgData name="Sindija Kirsteine (LV)" userId="5f25501a-2215-4bb3-9d9c-8d1484ffa7c1" providerId="ADAL" clId="{AD634740-2A4A-4DBA-91EE-B286EB63FCB7}" dt="2024-06-05T08:34:34.866" v="830" actId="478"/>
          <ac:grpSpMkLst>
            <pc:docMk/>
            <pc:sldMk cId="3817097256" sldId="2147481898"/>
            <ac:grpSpMk id="25" creationId="{DD83B19A-5EDD-BBBA-47BB-575643719E6C}"/>
          </ac:grpSpMkLst>
        </pc:grpChg>
      </pc:sldChg>
      <pc:sldChg chg="modSp mod">
        <pc:chgData name="Sindija Kirsteine (LV)" userId="5f25501a-2215-4bb3-9d9c-8d1484ffa7c1" providerId="ADAL" clId="{AD634740-2A4A-4DBA-91EE-B286EB63FCB7}" dt="2024-06-05T08:28:16.451" v="622" actId="20577"/>
        <pc:sldMkLst>
          <pc:docMk/>
          <pc:sldMk cId="365397333" sldId="2147481900"/>
        </pc:sldMkLst>
        <pc:spChg chg="mod">
          <ac:chgData name="Sindija Kirsteine (LV)" userId="5f25501a-2215-4bb3-9d9c-8d1484ffa7c1" providerId="ADAL" clId="{AD634740-2A4A-4DBA-91EE-B286EB63FCB7}" dt="2024-06-05T08:23:11.172" v="450"/>
          <ac:spMkLst>
            <pc:docMk/>
            <pc:sldMk cId="365397333" sldId="2147481900"/>
            <ac:spMk id="3" creationId="{AF59673E-73CB-6DB6-BB7C-CE1C0484AA98}"/>
          </ac:spMkLst>
        </pc:spChg>
        <pc:spChg chg="mod">
          <ac:chgData name="Sindija Kirsteine (LV)" userId="5f25501a-2215-4bb3-9d9c-8d1484ffa7c1" providerId="ADAL" clId="{AD634740-2A4A-4DBA-91EE-B286EB63FCB7}" dt="2024-06-05T08:28:06.311" v="612" actId="20577"/>
          <ac:spMkLst>
            <pc:docMk/>
            <pc:sldMk cId="365397333" sldId="2147481900"/>
            <ac:spMk id="31" creationId="{35F5B76D-15DC-9A2C-122C-889706E3303D}"/>
          </ac:spMkLst>
        </pc:spChg>
        <pc:spChg chg="mod">
          <ac:chgData name="Sindija Kirsteine (LV)" userId="5f25501a-2215-4bb3-9d9c-8d1484ffa7c1" providerId="ADAL" clId="{AD634740-2A4A-4DBA-91EE-B286EB63FCB7}" dt="2024-06-05T08:28:08.269" v="614" actId="20577"/>
          <ac:spMkLst>
            <pc:docMk/>
            <pc:sldMk cId="365397333" sldId="2147481900"/>
            <ac:spMk id="32" creationId="{F727B374-8CBD-55B6-E969-2291AEB8BFFC}"/>
          </ac:spMkLst>
        </pc:spChg>
        <pc:spChg chg="mod">
          <ac:chgData name="Sindija Kirsteine (LV)" userId="5f25501a-2215-4bb3-9d9c-8d1484ffa7c1" providerId="ADAL" clId="{AD634740-2A4A-4DBA-91EE-B286EB63FCB7}" dt="2024-06-05T08:28:10.498" v="616" actId="20577"/>
          <ac:spMkLst>
            <pc:docMk/>
            <pc:sldMk cId="365397333" sldId="2147481900"/>
            <ac:spMk id="34" creationId="{D4E299DF-E7D7-5B28-EC60-1C0041774448}"/>
          </ac:spMkLst>
        </pc:spChg>
        <pc:spChg chg="mod">
          <ac:chgData name="Sindija Kirsteine (LV)" userId="5f25501a-2215-4bb3-9d9c-8d1484ffa7c1" providerId="ADAL" clId="{AD634740-2A4A-4DBA-91EE-B286EB63FCB7}" dt="2024-06-05T08:28:12.336" v="618" actId="20577"/>
          <ac:spMkLst>
            <pc:docMk/>
            <pc:sldMk cId="365397333" sldId="2147481900"/>
            <ac:spMk id="35" creationId="{AA9C4B85-8AB7-221B-ABAB-3FE9FA04547D}"/>
          </ac:spMkLst>
        </pc:spChg>
        <pc:spChg chg="mod">
          <ac:chgData name="Sindija Kirsteine (LV)" userId="5f25501a-2215-4bb3-9d9c-8d1484ffa7c1" providerId="ADAL" clId="{AD634740-2A4A-4DBA-91EE-B286EB63FCB7}" dt="2024-06-05T08:28:14.022" v="620" actId="20577"/>
          <ac:spMkLst>
            <pc:docMk/>
            <pc:sldMk cId="365397333" sldId="2147481900"/>
            <ac:spMk id="36" creationId="{42CBA6AA-A424-57BE-23DF-55E86EE826AD}"/>
          </ac:spMkLst>
        </pc:spChg>
        <pc:spChg chg="mod">
          <ac:chgData name="Sindija Kirsteine (LV)" userId="5f25501a-2215-4bb3-9d9c-8d1484ffa7c1" providerId="ADAL" clId="{AD634740-2A4A-4DBA-91EE-B286EB63FCB7}" dt="2024-06-05T08:28:16.451" v="622" actId="20577"/>
          <ac:spMkLst>
            <pc:docMk/>
            <pc:sldMk cId="365397333" sldId="2147481900"/>
            <ac:spMk id="37" creationId="{1B3CD7A4-3795-5958-49C2-D6A8CCA5C862}"/>
          </ac:spMkLst>
        </pc:spChg>
      </pc:sldChg>
      <pc:sldChg chg="addSp delSp modSp mod">
        <pc:chgData name="Sindija Kirsteine (LV)" userId="5f25501a-2215-4bb3-9d9c-8d1484ffa7c1" providerId="ADAL" clId="{AD634740-2A4A-4DBA-91EE-B286EB63FCB7}" dt="2024-06-05T08:28:44.888" v="641"/>
        <pc:sldMkLst>
          <pc:docMk/>
          <pc:sldMk cId="4156649328" sldId="2147481901"/>
        </pc:sldMkLst>
        <pc:spChg chg="mod">
          <ac:chgData name="Sindija Kirsteine (LV)" userId="5f25501a-2215-4bb3-9d9c-8d1484ffa7c1" providerId="ADAL" clId="{AD634740-2A4A-4DBA-91EE-B286EB63FCB7}" dt="2024-06-05T08:23:24.309" v="460"/>
          <ac:spMkLst>
            <pc:docMk/>
            <pc:sldMk cId="4156649328" sldId="2147481901"/>
            <ac:spMk id="2" creationId="{85D1ABD7-EBF5-D374-FC0A-8987AE583B60}"/>
          </ac:spMkLst>
        </pc:spChg>
        <pc:spChg chg="mod">
          <ac:chgData name="Sindija Kirsteine (LV)" userId="5f25501a-2215-4bb3-9d9c-8d1484ffa7c1" providerId="ADAL" clId="{AD634740-2A4A-4DBA-91EE-B286EB63FCB7}" dt="2024-06-05T08:28:44.888" v="641"/>
          <ac:spMkLst>
            <pc:docMk/>
            <pc:sldMk cId="4156649328" sldId="2147481901"/>
            <ac:spMk id="5" creationId="{24326DA3-645B-E7E6-8772-6D3004B17B56}"/>
          </ac:spMkLst>
        </pc:spChg>
        <pc:spChg chg="mod">
          <ac:chgData name="Sindija Kirsteine (LV)" userId="5f25501a-2215-4bb3-9d9c-8d1484ffa7c1" providerId="ADAL" clId="{AD634740-2A4A-4DBA-91EE-B286EB63FCB7}" dt="2024-06-05T08:28:44.888" v="641"/>
          <ac:spMkLst>
            <pc:docMk/>
            <pc:sldMk cId="4156649328" sldId="2147481901"/>
            <ac:spMk id="8" creationId="{5BBEDFFA-071E-CF83-537D-44FC9669AAFE}"/>
          </ac:spMkLst>
        </pc:spChg>
        <pc:spChg chg="mod">
          <ac:chgData name="Sindija Kirsteine (LV)" userId="5f25501a-2215-4bb3-9d9c-8d1484ffa7c1" providerId="ADAL" clId="{AD634740-2A4A-4DBA-91EE-B286EB63FCB7}" dt="2024-06-05T08:28:44.888" v="641"/>
          <ac:spMkLst>
            <pc:docMk/>
            <pc:sldMk cId="4156649328" sldId="2147481901"/>
            <ac:spMk id="10" creationId="{CF15DAFC-C89A-F337-24E3-F756AE029C2A}"/>
          </ac:spMkLst>
        </pc:spChg>
        <pc:spChg chg="mod">
          <ac:chgData name="Sindija Kirsteine (LV)" userId="5f25501a-2215-4bb3-9d9c-8d1484ffa7c1" providerId="ADAL" clId="{AD634740-2A4A-4DBA-91EE-B286EB63FCB7}" dt="2024-06-05T08:28:44.888" v="641"/>
          <ac:spMkLst>
            <pc:docMk/>
            <pc:sldMk cId="4156649328" sldId="2147481901"/>
            <ac:spMk id="11" creationId="{06CFE582-4BD6-6486-88BC-C5E01CC04E50}"/>
          </ac:spMkLst>
        </pc:spChg>
        <pc:spChg chg="mod">
          <ac:chgData name="Sindija Kirsteine (LV)" userId="5f25501a-2215-4bb3-9d9c-8d1484ffa7c1" providerId="ADAL" clId="{AD634740-2A4A-4DBA-91EE-B286EB63FCB7}" dt="2024-06-05T08:28:44.888" v="641"/>
          <ac:spMkLst>
            <pc:docMk/>
            <pc:sldMk cId="4156649328" sldId="2147481901"/>
            <ac:spMk id="13" creationId="{C74320A0-F59E-965A-AB7D-CE0F85DEE6EA}"/>
          </ac:spMkLst>
        </pc:spChg>
        <pc:spChg chg="mod">
          <ac:chgData name="Sindija Kirsteine (LV)" userId="5f25501a-2215-4bb3-9d9c-8d1484ffa7c1" providerId="ADAL" clId="{AD634740-2A4A-4DBA-91EE-B286EB63FCB7}" dt="2024-06-05T08:28:44.888" v="641"/>
          <ac:spMkLst>
            <pc:docMk/>
            <pc:sldMk cId="4156649328" sldId="2147481901"/>
            <ac:spMk id="14" creationId="{0FD2DFCC-F6A7-16E4-9150-6CADACB44C50}"/>
          </ac:spMkLst>
        </pc:spChg>
        <pc:spChg chg="mod">
          <ac:chgData name="Sindija Kirsteine (LV)" userId="5f25501a-2215-4bb3-9d9c-8d1484ffa7c1" providerId="ADAL" clId="{AD634740-2A4A-4DBA-91EE-B286EB63FCB7}" dt="2024-06-05T08:28:44.888" v="641"/>
          <ac:spMkLst>
            <pc:docMk/>
            <pc:sldMk cId="4156649328" sldId="2147481901"/>
            <ac:spMk id="15" creationId="{F3C79A4E-B948-D41D-D1CA-0D2C7063E432}"/>
          </ac:spMkLst>
        </pc:spChg>
        <pc:grpChg chg="add mod">
          <ac:chgData name="Sindija Kirsteine (LV)" userId="5f25501a-2215-4bb3-9d9c-8d1484ffa7c1" providerId="ADAL" clId="{AD634740-2A4A-4DBA-91EE-B286EB63FCB7}" dt="2024-06-05T08:28:44.888" v="641"/>
          <ac:grpSpMkLst>
            <pc:docMk/>
            <pc:sldMk cId="4156649328" sldId="2147481901"/>
            <ac:grpSpMk id="3" creationId="{F3021B20-6656-AA5E-BB75-C941DBCF5429}"/>
          </ac:grpSpMkLst>
        </pc:grpChg>
        <pc:grpChg chg="del">
          <ac:chgData name="Sindija Kirsteine (LV)" userId="5f25501a-2215-4bb3-9d9c-8d1484ffa7c1" providerId="ADAL" clId="{AD634740-2A4A-4DBA-91EE-B286EB63FCB7}" dt="2024-06-05T08:28:44.619" v="640" actId="478"/>
          <ac:grpSpMkLst>
            <pc:docMk/>
            <pc:sldMk cId="4156649328" sldId="2147481901"/>
            <ac:grpSpMk id="35" creationId="{1B03DE5E-F288-FA39-7196-68EFA017885E}"/>
          </ac:grpSpMkLst>
        </pc:grpChg>
      </pc:sldChg>
      <pc:sldChg chg="modSp mod addCm delCm">
        <pc:chgData name="Sindija Kirsteine (LV)" userId="5f25501a-2215-4bb3-9d9c-8d1484ffa7c1" providerId="ADAL" clId="{AD634740-2A4A-4DBA-91EE-B286EB63FCB7}" dt="2024-06-07T15:01:35.568" v="2422"/>
        <pc:sldMkLst>
          <pc:docMk/>
          <pc:sldMk cId="310194463" sldId="2147481903"/>
        </pc:sldMkLst>
        <pc:spChg chg="mod">
          <ac:chgData name="Sindija Kirsteine (LV)" userId="5f25501a-2215-4bb3-9d9c-8d1484ffa7c1" providerId="ADAL" clId="{AD634740-2A4A-4DBA-91EE-B286EB63FCB7}" dt="2024-06-05T07:44:53.279" v="397"/>
          <ac:spMkLst>
            <pc:docMk/>
            <pc:sldMk cId="310194463" sldId="2147481903"/>
            <ac:spMk id="9" creationId="{BD7EB4A5-E45C-47EC-09CF-8C999B13144C}"/>
          </ac:spMkLst>
        </pc:spChg>
        <pc:spChg chg="mod">
          <ac:chgData name="Sindija Kirsteine (LV)" userId="5f25501a-2215-4bb3-9d9c-8d1484ffa7c1" providerId="ADAL" clId="{AD634740-2A4A-4DBA-91EE-B286EB63FCB7}" dt="2024-06-05T07:44:55.783" v="398" actId="20577"/>
          <ac:spMkLst>
            <pc:docMk/>
            <pc:sldMk cId="310194463" sldId="2147481903"/>
            <ac:spMk id="12" creationId="{03235C0C-4E25-DCDB-7AAF-D34D32C9063E}"/>
          </ac:spMkLst>
        </pc:spChg>
        <pc:extLst>
          <p:ext xmlns:p="http://schemas.openxmlformats.org/presentationml/2006/main" uri="{D6D511B9-2390-475A-947B-AFAB55BFBCF1}">
            <pc226:cmChg xmlns:pc226="http://schemas.microsoft.com/office/powerpoint/2022/06/main/command" chg="add del">
              <pc226:chgData name="Sindija Kirsteine (LV)" userId="5f25501a-2215-4bb3-9d9c-8d1484ffa7c1" providerId="ADAL" clId="{AD634740-2A4A-4DBA-91EE-B286EB63FCB7}" dt="2024-06-07T15:01:35.568" v="2422"/>
              <pc2:cmMkLst xmlns:pc2="http://schemas.microsoft.com/office/powerpoint/2019/9/main/command">
                <pc:docMk/>
                <pc:sldMk cId="310194463" sldId="2147481903"/>
                <pc2:cmMk id="{6502A2C1-7464-4727-BDD5-C3342AA60AC8}"/>
              </pc2:cmMkLst>
            </pc226:cmChg>
          </p:ext>
        </pc:extLst>
      </pc:sldChg>
      <pc:sldChg chg="addSp delSp modSp mod">
        <pc:chgData name="Sindija Kirsteine (LV)" userId="5f25501a-2215-4bb3-9d9c-8d1484ffa7c1" providerId="ADAL" clId="{AD634740-2A4A-4DBA-91EE-B286EB63FCB7}" dt="2024-06-05T08:28:34.445" v="632"/>
        <pc:sldMkLst>
          <pc:docMk/>
          <pc:sldMk cId="2785126703" sldId="2147481904"/>
        </pc:sldMkLst>
        <pc:spChg chg="mod">
          <ac:chgData name="Sindija Kirsteine (LV)" userId="5f25501a-2215-4bb3-9d9c-8d1484ffa7c1" providerId="ADAL" clId="{AD634740-2A4A-4DBA-91EE-B286EB63FCB7}" dt="2024-06-05T08:23:15.374" v="454"/>
          <ac:spMkLst>
            <pc:docMk/>
            <pc:sldMk cId="2785126703" sldId="2147481904"/>
            <ac:spMk id="6" creationId="{BB5AE894-C7E9-7EC5-6F97-2F99D72E73F5}"/>
          </ac:spMkLst>
        </pc:spChg>
        <pc:spChg chg="mod">
          <ac:chgData name="Sindija Kirsteine (LV)" userId="5f25501a-2215-4bb3-9d9c-8d1484ffa7c1" providerId="ADAL" clId="{AD634740-2A4A-4DBA-91EE-B286EB63FCB7}" dt="2024-06-05T08:28:34.445" v="632"/>
          <ac:spMkLst>
            <pc:docMk/>
            <pc:sldMk cId="2785126703" sldId="2147481904"/>
            <ac:spMk id="8" creationId="{956F4393-251E-B07A-1A42-0ECEBA2117CB}"/>
          </ac:spMkLst>
        </pc:spChg>
        <pc:spChg chg="mod">
          <ac:chgData name="Sindija Kirsteine (LV)" userId="5f25501a-2215-4bb3-9d9c-8d1484ffa7c1" providerId="ADAL" clId="{AD634740-2A4A-4DBA-91EE-B286EB63FCB7}" dt="2024-06-05T08:28:34.445" v="632"/>
          <ac:spMkLst>
            <pc:docMk/>
            <pc:sldMk cId="2785126703" sldId="2147481904"/>
            <ac:spMk id="9" creationId="{17E95B63-BE5A-7B81-1B0C-696CF5027E5A}"/>
          </ac:spMkLst>
        </pc:spChg>
        <pc:spChg chg="mod">
          <ac:chgData name="Sindija Kirsteine (LV)" userId="5f25501a-2215-4bb3-9d9c-8d1484ffa7c1" providerId="ADAL" clId="{AD634740-2A4A-4DBA-91EE-B286EB63FCB7}" dt="2024-06-05T08:28:34.445" v="632"/>
          <ac:spMkLst>
            <pc:docMk/>
            <pc:sldMk cId="2785126703" sldId="2147481904"/>
            <ac:spMk id="10" creationId="{2CBFB29C-AA09-F2D4-775E-D339AA9ECFE7}"/>
          </ac:spMkLst>
        </pc:spChg>
        <pc:spChg chg="mod">
          <ac:chgData name="Sindija Kirsteine (LV)" userId="5f25501a-2215-4bb3-9d9c-8d1484ffa7c1" providerId="ADAL" clId="{AD634740-2A4A-4DBA-91EE-B286EB63FCB7}" dt="2024-06-05T08:28:34.445" v="632"/>
          <ac:spMkLst>
            <pc:docMk/>
            <pc:sldMk cId="2785126703" sldId="2147481904"/>
            <ac:spMk id="16" creationId="{7CC162E5-78BF-2E9E-5A0A-1AD1B71B5C6F}"/>
          </ac:spMkLst>
        </pc:spChg>
        <pc:spChg chg="mod">
          <ac:chgData name="Sindija Kirsteine (LV)" userId="5f25501a-2215-4bb3-9d9c-8d1484ffa7c1" providerId="ADAL" clId="{AD634740-2A4A-4DBA-91EE-B286EB63FCB7}" dt="2024-06-05T08:28:34.445" v="632"/>
          <ac:spMkLst>
            <pc:docMk/>
            <pc:sldMk cId="2785126703" sldId="2147481904"/>
            <ac:spMk id="22" creationId="{842CCC65-0BD9-B267-4F52-763804492465}"/>
          </ac:spMkLst>
        </pc:spChg>
        <pc:spChg chg="mod">
          <ac:chgData name="Sindija Kirsteine (LV)" userId="5f25501a-2215-4bb3-9d9c-8d1484ffa7c1" providerId="ADAL" clId="{AD634740-2A4A-4DBA-91EE-B286EB63FCB7}" dt="2024-06-05T08:28:34.445" v="632"/>
          <ac:spMkLst>
            <pc:docMk/>
            <pc:sldMk cId="2785126703" sldId="2147481904"/>
            <ac:spMk id="29" creationId="{A9183982-9AA5-3064-E041-E25A50B341F8}"/>
          </ac:spMkLst>
        </pc:spChg>
        <pc:spChg chg="mod">
          <ac:chgData name="Sindija Kirsteine (LV)" userId="5f25501a-2215-4bb3-9d9c-8d1484ffa7c1" providerId="ADAL" clId="{AD634740-2A4A-4DBA-91EE-B286EB63FCB7}" dt="2024-06-05T08:28:34.445" v="632"/>
          <ac:spMkLst>
            <pc:docMk/>
            <pc:sldMk cId="2785126703" sldId="2147481904"/>
            <ac:spMk id="30" creationId="{51066D8C-EAF4-7B11-7C49-795BB66807E1}"/>
          </ac:spMkLst>
        </pc:spChg>
        <pc:grpChg chg="add mod">
          <ac:chgData name="Sindija Kirsteine (LV)" userId="5f25501a-2215-4bb3-9d9c-8d1484ffa7c1" providerId="ADAL" clId="{AD634740-2A4A-4DBA-91EE-B286EB63FCB7}" dt="2024-06-05T08:28:34.445" v="632"/>
          <ac:grpSpMkLst>
            <pc:docMk/>
            <pc:sldMk cId="2785126703" sldId="2147481904"/>
            <ac:grpSpMk id="7" creationId="{8E5DDB61-3D3D-28DB-CF8C-F76D813D18E3}"/>
          </ac:grpSpMkLst>
        </pc:grpChg>
        <pc:grpChg chg="del">
          <ac:chgData name="Sindija Kirsteine (LV)" userId="5f25501a-2215-4bb3-9d9c-8d1484ffa7c1" providerId="ADAL" clId="{AD634740-2A4A-4DBA-91EE-B286EB63FCB7}" dt="2024-06-05T08:28:34.145" v="631" actId="478"/>
          <ac:grpSpMkLst>
            <pc:docMk/>
            <pc:sldMk cId="2785126703" sldId="2147481904"/>
            <ac:grpSpMk id="43" creationId="{D48C5550-88FE-CDE7-0DDA-5330E34DFE89}"/>
          </ac:grpSpMkLst>
        </pc:grpChg>
      </pc:sldChg>
      <pc:sldChg chg="addSp delSp modSp mod">
        <pc:chgData name="Sindija Kirsteine (LV)" userId="5f25501a-2215-4bb3-9d9c-8d1484ffa7c1" providerId="ADAL" clId="{AD634740-2A4A-4DBA-91EE-B286EB63FCB7}" dt="2024-06-05T08:28:37.287" v="635"/>
        <pc:sldMkLst>
          <pc:docMk/>
          <pc:sldMk cId="4233423074" sldId="2147481905"/>
        </pc:sldMkLst>
        <pc:spChg chg="mod">
          <ac:chgData name="Sindija Kirsteine (LV)" userId="5f25501a-2215-4bb3-9d9c-8d1484ffa7c1" providerId="ADAL" clId="{AD634740-2A4A-4DBA-91EE-B286EB63FCB7}" dt="2024-06-05T08:23:17.477" v="456"/>
          <ac:spMkLst>
            <pc:docMk/>
            <pc:sldMk cId="4233423074" sldId="2147481905"/>
            <ac:spMk id="5" creationId="{2CEB3D9C-E816-F65C-9AF8-BCBDCD9B5290}"/>
          </ac:spMkLst>
        </pc:spChg>
        <pc:spChg chg="mod">
          <ac:chgData name="Sindija Kirsteine (LV)" userId="5f25501a-2215-4bb3-9d9c-8d1484ffa7c1" providerId="ADAL" clId="{AD634740-2A4A-4DBA-91EE-B286EB63FCB7}" dt="2024-06-05T08:28:37.287" v="635"/>
          <ac:spMkLst>
            <pc:docMk/>
            <pc:sldMk cId="4233423074" sldId="2147481905"/>
            <ac:spMk id="7" creationId="{F60C031E-0CA5-19CE-02E2-D78168C0C432}"/>
          </ac:spMkLst>
        </pc:spChg>
        <pc:spChg chg="mod">
          <ac:chgData name="Sindija Kirsteine (LV)" userId="5f25501a-2215-4bb3-9d9c-8d1484ffa7c1" providerId="ADAL" clId="{AD634740-2A4A-4DBA-91EE-B286EB63FCB7}" dt="2024-06-05T08:28:37.287" v="635"/>
          <ac:spMkLst>
            <pc:docMk/>
            <pc:sldMk cId="4233423074" sldId="2147481905"/>
            <ac:spMk id="9" creationId="{73F1981D-C806-70CF-1837-6A46FF385161}"/>
          </ac:spMkLst>
        </pc:spChg>
        <pc:spChg chg="mod">
          <ac:chgData name="Sindija Kirsteine (LV)" userId="5f25501a-2215-4bb3-9d9c-8d1484ffa7c1" providerId="ADAL" clId="{AD634740-2A4A-4DBA-91EE-B286EB63FCB7}" dt="2024-06-05T08:28:37.287" v="635"/>
          <ac:spMkLst>
            <pc:docMk/>
            <pc:sldMk cId="4233423074" sldId="2147481905"/>
            <ac:spMk id="10" creationId="{F31086A3-BA99-B2BD-D303-5F15E4A1FA7E}"/>
          </ac:spMkLst>
        </pc:spChg>
        <pc:spChg chg="mod">
          <ac:chgData name="Sindija Kirsteine (LV)" userId="5f25501a-2215-4bb3-9d9c-8d1484ffa7c1" providerId="ADAL" clId="{AD634740-2A4A-4DBA-91EE-B286EB63FCB7}" dt="2024-06-05T08:28:37.287" v="635"/>
          <ac:spMkLst>
            <pc:docMk/>
            <pc:sldMk cId="4233423074" sldId="2147481905"/>
            <ac:spMk id="16" creationId="{BCFEAAEB-70A1-2A5C-1AAF-7741BA072FBF}"/>
          </ac:spMkLst>
        </pc:spChg>
        <pc:spChg chg="mod">
          <ac:chgData name="Sindija Kirsteine (LV)" userId="5f25501a-2215-4bb3-9d9c-8d1484ffa7c1" providerId="ADAL" clId="{AD634740-2A4A-4DBA-91EE-B286EB63FCB7}" dt="2024-06-05T08:28:37.287" v="635"/>
          <ac:spMkLst>
            <pc:docMk/>
            <pc:sldMk cId="4233423074" sldId="2147481905"/>
            <ac:spMk id="22" creationId="{DBF61592-5C12-633B-76FD-E1B8A80C2707}"/>
          </ac:spMkLst>
        </pc:spChg>
        <pc:spChg chg="mod">
          <ac:chgData name="Sindija Kirsteine (LV)" userId="5f25501a-2215-4bb3-9d9c-8d1484ffa7c1" providerId="ADAL" clId="{AD634740-2A4A-4DBA-91EE-B286EB63FCB7}" dt="2024-06-05T08:28:37.287" v="635"/>
          <ac:spMkLst>
            <pc:docMk/>
            <pc:sldMk cId="4233423074" sldId="2147481905"/>
            <ac:spMk id="29" creationId="{A3749CF4-265C-2736-C610-7B5D7F96F034}"/>
          </ac:spMkLst>
        </pc:spChg>
        <pc:spChg chg="mod">
          <ac:chgData name="Sindija Kirsteine (LV)" userId="5f25501a-2215-4bb3-9d9c-8d1484ffa7c1" providerId="ADAL" clId="{AD634740-2A4A-4DBA-91EE-B286EB63FCB7}" dt="2024-06-05T08:28:37.287" v="635"/>
          <ac:spMkLst>
            <pc:docMk/>
            <pc:sldMk cId="4233423074" sldId="2147481905"/>
            <ac:spMk id="30" creationId="{72C727B7-2778-6335-FF0B-24BD8596D0EE}"/>
          </ac:spMkLst>
        </pc:spChg>
        <pc:grpChg chg="add mod">
          <ac:chgData name="Sindija Kirsteine (LV)" userId="5f25501a-2215-4bb3-9d9c-8d1484ffa7c1" providerId="ADAL" clId="{AD634740-2A4A-4DBA-91EE-B286EB63FCB7}" dt="2024-06-05T08:28:37.287" v="635"/>
          <ac:grpSpMkLst>
            <pc:docMk/>
            <pc:sldMk cId="4233423074" sldId="2147481905"/>
            <ac:grpSpMk id="6" creationId="{19779CEC-DA6C-1745-0562-31AE99ED8737}"/>
          </ac:grpSpMkLst>
        </pc:grpChg>
        <pc:grpChg chg="del">
          <ac:chgData name="Sindija Kirsteine (LV)" userId="5f25501a-2215-4bb3-9d9c-8d1484ffa7c1" providerId="ADAL" clId="{AD634740-2A4A-4DBA-91EE-B286EB63FCB7}" dt="2024-06-05T08:28:37.033" v="634" actId="478"/>
          <ac:grpSpMkLst>
            <pc:docMk/>
            <pc:sldMk cId="4233423074" sldId="2147481905"/>
            <ac:grpSpMk id="45" creationId="{C98B3666-F63F-061A-9E10-30A5B54BE992}"/>
          </ac:grpSpMkLst>
        </pc:grpChg>
      </pc:sldChg>
      <pc:sldChg chg="addSp delSp modSp mod modShow delCm">
        <pc:chgData name="Sindija Kirsteine (LV)" userId="5f25501a-2215-4bb3-9d9c-8d1484ffa7c1" providerId="ADAL" clId="{AD634740-2A4A-4DBA-91EE-B286EB63FCB7}" dt="2024-06-05T08:27:51.829" v="605"/>
        <pc:sldMkLst>
          <pc:docMk/>
          <pc:sldMk cId="2829430444" sldId="2147481906"/>
        </pc:sldMkLst>
        <pc:spChg chg="mod">
          <ac:chgData name="Sindija Kirsteine (LV)" userId="5f25501a-2215-4bb3-9d9c-8d1484ffa7c1" providerId="ADAL" clId="{AD634740-2A4A-4DBA-91EE-B286EB63FCB7}" dt="2024-06-05T08:22:53.290" v="437"/>
          <ac:spMkLst>
            <pc:docMk/>
            <pc:sldMk cId="2829430444" sldId="2147481906"/>
            <ac:spMk id="6" creationId="{B406E0CD-6107-E269-B513-42F75DF0F104}"/>
          </ac:spMkLst>
        </pc:spChg>
        <pc:spChg chg="mod">
          <ac:chgData name="Sindija Kirsteine (LV)" userId="5f25501a-2215-4bb3-9d9c-8d1484ffa7c1" providerId="ADAL" clId="{AD634740-2A4A-4DBA-91EE-B286EB63FCB7}" dt="2024-06-05T08:27:51.829" v="605"/>
          <ac:spMkLst>
            <pc:docMk/>
            <pc:sldMk cId="2829430444" sldId="2147481906"/>
            <ac:spMk id="8" creationId="{3DFFD00F-D0DF-7F84-FFD0-EF989C35F86B}"/>
          </ac:spMkLst>
        </pc:spChg>
        <pc:spChg chg="mod">
          <ac:chgData name="Sindija Kirsteine (LV)" userId="5f25501a-2215-4bb3-9d9c-8d1484ffa7c1" providerId="ADAL" clId="{AD634740-2A4A-4DBA-91EE-B286EB63FCB7}" dt="2024-06-05T08:27:51.829" v="605"/>
          <ac:spMkLst>
            <pc:docMk/>
            <pc:sldMk cId="2829430444" sldId="2147481906"/>
            <ac:spMk id="9" creationId="{02D61EFE-3B80-47F6-5A47-078F49031281}"/>
          </ac:spMkLst>
        </pc:spChg>
        <pc:spChg chg="mod">
          <ac:chgData name="Sindija Kirsteine (LV)" userId="5f25501a-2215-4bb3-9d9c-8d1484ffa7c1" providerId="ADAL" clId="{AD634740-2A4A-4DBA-91EE-B286EB63FCB7}" dt="2024-06-05T08:27:51.829" v="605"/>
          <ac:spMkLst>
            <pc:docMk/>
            <pc:sldMk cId="2829430444" sldId="2147481906"/>
            <ac:spMk id="10" creationId="{E7620417-CA25-4C85-685A-F9654D084E1A}"/>
          </ac:spMkLst>
        </pc:spChg>
        <pc:spChg chg="mod">
          <ac:chgData name="Sindija Kirsteine (LV)" userId="5f25501a-2215-4bb3-9d9c-8d1484ffa7c1" providerId="ADAL" clId="{AD634740-2A4A-4DBA-91EE-B286EB63FCB7}" dt="2024-06-05T08:27:51.829" v="605"/>
          <ac:spMkLst>
            <pc:docMk/>
            <pc:sldMk cId="2829430444" sldId="2147481906"/>
            <ac:spMk id="11" creationId="{416EA174-AF69-E288-DE3A-FC6ADA020D52}"/>
          </ac:spMkLst>
        </pc:spChg>
        <pc:spChg chg="mod">
          <ac:chgData name="Sindija Kirsteine (LV)" userId="5f25501a-2215-4bb3-9d9c-8d1484ffa7c1" providerId="ADAL" clId="{AD634740-2A4A-4DBA-91EE-B286EB63FCB7}" dt="2024-06-05T08:27:51.829" v="605"/>
          <ac:spMkLst>
            <pc:docMk/>
            <pc:sldMk cId="2829430444" sldId="2147481906"/>
            <ac:spMk id="12" creationId="{D704CE20-9536-92A4-D490-043CA68244AE}"/>
          </ac:spMkLst>
        </pc:spChg>
        <pc:spChg chg="mod">
          <ac:chgData name="Sindija Kirsteine (LV)" userId="5f25501a-2215-4bb3-9d9c-8d1484ffa7c1" providerId="ADAL" clId="{AD634740-2A4A-4DBA-91EE-B286EB63FCB7}" dt="2024-06-05T08:27:51.829" v="605"/>
          <ac:spMkLst>
            <pc:docMk/>
            <pc:sldMk cId="2829430444" sldId="2147481906"/>
            <ac:spMk id="13" creationId="{04A46851-83AA-438A-B9EC-DD1194BC5271}"/>
          </ac:spMkLst>
        </pc:spChg>
        <pc:spChg chg="mod">
          <ac:chgData name="Sindija Kirsteine (LV)" userId="5f25501a-2215-4bb3-9d9c-8d1484ffa7c1" providerId="ADAL" clId="{AD634740-2A4A-4DBA-91EE-B286EB63FCB7}" dt="2024-06-05T08:27:51.829" v="605"/>
          <ac:spMkLst>
            <pc:docMk/>
            <pc:sldMk cId="2829430444" sldId="2147481906"/>
            <ac:spMk id="14" creationId="{0CBE937F-3213-6795-4DF8-1626D9DA7EFC}"/>
          </ac:spMkLst>
        </pc:spChg>
        <pc:grpChg chg="add mod">
          <ac:chgData name="Sindija Kirsteine (LV)" userId="5f25501a-2215-4bb3-9d9c-8d1484ffa7c1" providerId="ADAL" clId="{AD634740-2A4A-4DBA-91EE-B286EB63FCB7}" dt="2024-06-05T08:27:51.829" v="605"/>
          <ac:grpSpMkLst>
            <pc:docMk/>
            <pc:sldMk cId="2829430444" sldId="2147481906"/>
            <ac:grpSpMk id="7" creationId="{BCD0AA48-9F08-F075-1407-FAA6F01E4B45}"/>
          </ac:grpSpMkLst>
        </pc:grpChg>
        <pc:grpChg chg="del">
          <ac:chgData name="Sindija Kirsteine (LV)" userId="5f25501a-2215-4bb3-9d9c-8d1484ffa7c1" providerId="ADAL" clId="{AD634740-2A4A-4DBA-91EE-B286EB63FCB7}" dt="2024-06-05T08:27:51.591" v="604" actId="478"/>
          <ac:grpSpMkLst>
            <pc:docMk/>
            <pc:sldMk cId="2829430444" sldId="2147481906"/>
            <ac:grpSpMk id="17" creationId="{320EC272-4CB1-116E-B0A7-9A31405D4604}"/>
          </ac:grpSpMkLst>
        </pc:grpChg>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AD634740-2A4A-4DBA-91EE-B286EB63FCB7}" dt="2024-06-05T08:22:55.828" v="438"/>
              <pc2:cmMkLst xmlns:pc2="http://schemas.microsoft.com/office/powerpoint/2019/9/main/command">
                <pc:docMk/>
                <pc:sldMk cId="2829430444" sldId="2147481906"/>
                <pc2:cmMk id="{1DB3209B-44DF-4971-85FB-B9884D31D252}"/>
              </pc2:cmMkLst>
            </pc226:cmChg>
          </p:ext>
        </pc:extLst>
      </pc:sldChg>
      <pc:sldChg chg="modSp mod ord">
        <pc:chgData name="Sindija Kirsteine (LV)" userId="5f25501a-2215-4bb3-9d9c-8d1484ffa7c1" providerId="ADAL" clId="{AD634740-2A4A-4DBA-91EE-B286EB63FCB7}" dt="2024-06-07T14:59:17.591" v="2338"/>
        <pc:sldMkLst>
          <pc:docMk/>
          <pc:sldMk cId="3128847407" sldId="2147481907"/>
        </pc:sldMkLst>
        <pc:spChg chg="mod">
          <ac:chgData name="Sindija Kirsteine (LV)" userId="5f25501a-2215-4bb3-9d9c-8d1484ffa7c1" providerId="ADAL" clId="{AD634740-2A4A-4DBA-91EE-B286EB63FCB7}" dt="2024-06-05T08:24:42.691" v="509"/>
          <ac:spMkLst>
            <pc:docMk/>
            <pc:sldMk cId="3128847407" sldId="2147481907"/>
            <ac:spMk id="3" creationId="{F1A5A26E-574D-2AC5-4F80-E48A4066AE2F}"/>
          </ac:spMkLst>
        </pc:spChg>
        <pc:spChg chg="mod">
          <ac:chgData name="Sindija Kirsteine (LV)" userId="5f25501a-2215-4bb3-9d9c-8d1484ffa7c1" providerId="ADAL" clId="{AD634740-2A4A-4DBA-91EE-B286EB63FCB7}" dt="2024-06-05T08:33:47.391" v="803" actId="20577"/>
          <ac:spMkLst>
            <pc:docMk/>
            <pc:sldMk cId="3128847407" sldId="2147481907"/>
            <ac:spMk id="6" creationId="{DAB81C20-D32E-24EE-E4FA-AA197902A155}"/>
          </ac:spMkLst>
        </pc:spChg>
        <pc:spChg chg="mod">
          <ac:chgData name="Sindija Kirsteine (LV)" userId="5f25501a-2215-4bb3-9d9c-8d1484ffa7c1" providerId="ADAL" clId="{AD634740-2A4A-4DBA-91EE-B286EB63FCB7}" dt="2024-06-05T08:33:49.312" v="805" actId="20577"/>
          <ac:spMkLst>
            <pc:docMk/>
            <pc:sldMk cId="3128847407" sldId="2147481907"/>
            <ac:spMk id="7" creationId="{E0A4259A-F997-04E0-0705-AE2AF7451869}"/>
          </ac:spMkLst>
        </pc:spChg>
        <pc:spChg chg="mod">
          <ac:chgData name="Sindija Kirsteine (LV)" userId="5f25501a-2215-4bb3-9d9c-8d1484ffa7c1" providerId="ADAL" clId="{AD634740-2A4A-4DBA-91EE-B286EB63FCB7}" dt="2024-06-05T08:33:51.229" v="807" actId="20577"/>
          <ac:spMkLst>
            <pc:docMk/>
            <pc:sldMk cId="3128847407" sldId="2147481907"/>
            <ac:spMk id="8" creationId="{AB86B0D4-FDB5-F93D-A67F-E0653FE221F5}"/>
          </ac:spMkLst>
        </pc:spChg>
        <pc:spChg chg="mod">
          <ac:chgData name="Sindija Kirsteine (LV)" userId="5f25501a-2215-4bb3-9d9c-8d1484ffa7c1" providerId="ADAL" clId="{AD634740-2A4A-4DBA-91EE-B286EB63FCB7}" dt="2024-06-05T08:33:30.827" v="780" actId="14100"/>
          <ac:spMkLst>
            <pc:docMk/>
            <pc:sldMk cId="3128847407" sldId="2147481907"/>
            <ac:spMk id="9" creationId="{30EBF770-DC27-18E6-B867-2A343C0790C9}"/>
          </ac:spMkLst>
        </pc:spChg>
        <pc:spChg chg="mod">
          <ac:chgData name="Sindija Kirsteine (LV)" userId="5f25501a-2215-4bb3-9d9c-8d1484ffa7c1" providerId="ADAL" clId="{AD634740-2A4A-4DBA-91EE-B286EB63FCB7}" dt="2024-06-05T08:33:53.243" v="809" actId="20577"/>
          <ac:spMkLst>
            <pc:docMk/>
            <pc:sldMk cId="3128847407" sldId="2147481907"/>
            <ac:spMk id="10" creationId="{F899C34E-16F7-5514-9C32-B28880061B27}"/>
          </ac:spMkLst>
        </pc:spChg>
        <pc:spChg chg="mod">
          <ac:chgData name="Sindija Kirsteine (LV)" userId="5f25501a-2215-4bb3-9d9c-8d1484ffa7c1" providerId="ADAL" clId="{AD634740-2A4A-4DBA-91EE-B286EB63FCB7}" dt="2024-06-05T08:33:56.499" v="811" actId="20577"/>
          <ac:spMkLst>
            <pc:docMk/>
            <pc:sldMk cId="3128847407" sldId="2147481907"/>
            <ac:spMk id="11" creationId="{70C3C215-AC80-0A48-33C4-B740E3FD62BA}"/>
          </ac:spMkLst>
        </pc:spChg>
        <pc:spChg chg="mod">
          <ac:chgData name="Sindija Kirsteine (LV)" userId="5f25501a-2215-4bb3-9d9c-8d1484ffa7c1" providerId="ADAL" clId="{AD634740-2A4A-4DBA-91EE-B286EB63FCB7}" dt="2024-06-05T08:33:58.603" v="813" actId="20577"/>
          <ac:spMkLst>
            <pc:docMk/>
            <pc:sldMk cId="3128847407" sldId="2147481907"/>
            <ac:spMk id="12" creationId="{E42CD32F-A2CD-EE3A-F712-005B97754DA8}"/>
          </ac:spMkLst>
        </pc:spChg>
        <pc:grpChg chg="mod">
          <ac:chgData name="Sindija Kirsteine (LV)" userId="5f25501a-2215-4bb3-9d9c-8d1484ffa7c1" providerId="ADAL" clId="{AD634740-2A4A-4DBA-91EE-B286EB63FCB7}" dt="2024-06-05T08:34:31.206" v="828" actId="1076"/>
          <ac:grpSpMkLst>
            <pc:docMk/>
            <pc:sldMk cId="3128847407" sldId="2147481907"/>
            <ac:grpSpMk id="5" creationId="{AE591392-AD16-8406-4F83-751B2E4413AF}"/>
          </ac:grpSpMkLst>
        </pc:grpChg>
      </pc:sldChg>
      <pc:sldChg chg="addSp delSp modSp mod">
        <pc:chgData name="Sindija Kirsteine (LV)" userId="5f25501a-2215-4bb3-9d9c-8d1484ffa7c1" providerId="ADAL" clId="{AD634740-2A4A-4DBA-91EE-B286EB63FCB7}" dt="2024-06-05T08:36:11.552" v="881"/>
        <pc:sldMkLst>
          <pc:docMk/>
          <pc:sldMk cId="372668532" sldId="2147481911"/>
        </pc:sldMkLst>
        <pc:spChg chg="mod">
          <ac:chgData name="Sindija Kirsteine (LV)" userId="5f25501a-2215-4bb3-9d9c-8d1484ffa7c1" providerId="ADAL" clId="{AD634740-2A4A-4DBA-91EE-B286EB63FCB7}" dt="2024-06-05T08:25:45.572" v="541"/>
          <ac:spMkLst>
            <pc:docMk/>
            <pc:sldMk cId="372668532" sldId="2147481911"/>
            <ac:spMk id="2" creationId="{53B30FED-9B53-D0C4-3815-3E91A10C1E57}"/>
          </ac:spMkLst>
        </pc:spChg>
        <pc:spChg chg="mod">
          <ac:chgData name="Sindija Kirsteine (LV)" userId="5f25501a-2215-4bb3-9d9c-8d1484ffa7c1" providerId="ADAL" clId="{AD634740-2A4A-4DBA-91EE-B286EB63FCB7}" dt="2024-06-05T08:36:11.552" v="881"/>
          <ac:spMkLst>
            <pc:docMk/>
            <pc:sldMk cId="372668532" sldId="2147481911"/>
            <ac:spMk id="20" creationId="{0FB1938E-68EF-4A94-187E-3602A1A716E6}"/>
          </ac:spMkLst>
        </pc:spChg>
        <pc:spChg chg="mod">
          <ac:chgData name="Sindija Kirsteine (LV)" userId="5f25501a-2215-4bb3-9d9c-8d1484ffa7c1" providerId="ADAL" clId="{AD634740-2A4A-4DBA-91EE-B286EB63FCB7}" dt="2024-06-05T08:36:11.552" v="881"/>
          <ac:spMkLst>
            <pc:docMk/>
            <pc:sldMk cId="372668532" sldId="2147481911"/>
            <ac:spMk id="21" creationId="{F486D58A-47AF-0DB2-B8F8-5553DEA13D36}"/>
          </ac:spMkLst>
        </pc:spChg>
        <pc:spChg chg="mod">
          <ac:chgData name="Sindija Kirsteine (LV)" userId="5f25501a-2215-4bb3-9d9c-8d1484ffa7c1" providerId="ADAL" clId="{AD634740-2A4A-4DBA-91EE-B286EB63FCB7}" dt="2024-06-05T08:36:11.552" v="881"/>
          <ac:spMkLst>
            <pc:docMk/>
            <pc:sldMk cId="372668532" sldId="2147481911"/>
            <ac:spMk id="24" creationId="{BA0022F6-CFD8-F4EA-1FCF-6ACD960761B1}"/>
          </ac:spMkLst>
        </pc:spChg>
        <pc:spChg chg="mod">
          <ac:chgData name="Sindija Kirsteine (LV)" userId="5f25501a-2215-4bb3-9d9c-8d1484ffa7c1" providerId="ADAL" clId="{AD634740-2A4A-4DBA-91EE-B286EB63FCB7}" dt="2024-06-05T08:36:11.552" v="881"/>
          <ac:spMkLst>
            <pc:docMk/>
            <pc:sldMk cId="372668532" sldId="2147481911"/>
            <ac:spMk id="29" creationId="{34635AC7-76A8-C347-A90C-4544F7E040F4}"/>
          </ac:spMkLst>
        </pc:spChg>
        <pc:spChg chg="mod">
          <ac:chgData name="Sindija Kirsteine (LV)" userId="5f25501a-2215-4bb3-9d9c-8d1484ffa7c1" providerId="ADAL" clId="{AD634740-2A4A-4DBA-91EE-B286EB63FCB7}" dt="2024-06-05T08:36:11.552" v="881"/>
          <ac:spMkLst>
            <pc:docMk/>
            <pc:sldMk cId="372668532" sldId="2147481911"/>
            <ac:spMk id="30" creationId="{57303D6F-62FD-2145-A87C-411BA9CB709B}"/>
          </ac:spMkLst>
        </pc:spChg>
        <pc:spChg chg="mod">
          <ac:chgData name="Sindija Kirsteine (LV)" userId="5f25501a-2215-4bb3-9d9c-8d1484ffa7c1" providerId="ADAL" clId="{AD634740-2A4A-4DBA-91EE-B286EB63FCB7}" dt="2024-06-05T08:36:11.552" v="881"/>
          <ac:spMkLst>
            <pc:docMk/>
            <pc:sldMk cId="372668532" sldId="2147481911"/>
            <ac:spMk id="32" creationId="{838C6ED8-DD8E-7ED6-7B96-325EEEB9CF15}"/>
          </ac:spMkLst>
        </pc:spChg>
        <pc:spChg chg="mod">
          <ac:chgData name="Sindija Kirsteine (LV)" userId="5f25501a-2215-4bb3-9d9c-8d1484ffa7c1" providerId="ADAL" clId="{AD634740-2A4A-4DBA-91EE-B286EB63FCB7}" dt="2024-06-05T08:36:11.552" v="881"/>
          <ac:spMkLst>
            <pc:docMk/>
            <pc:sldMk cId="372668532" sldId="2147481911"/>
            <ac:spMk id="33" creationId="{8C5C4C89-9F7A-964D-FE46-7CAE879772DB}"/>
          </ac:spMkLst>
        </pc:spChg>
        <pc:grpChg chg="del">
          <ac:chgData name="Sindija Kirsteine (LV)" userId="5f25501a-2215-4bb3-9d9c-8d1484ffa7c1" providerId="ADAL" clId="{AD634740-2A4A-4DBA-91EE-B286EB63FCB7}" dt="2024-06-05T08:36:11.347" v="880" actId="478"/>
          <ac:grpSpMkLst>
            <pc:docMk/>
            <pc:sldMk cId="372668532" sldId="2147481911"/>
            <ac:grpSpMk id="9" creationId="{F4AB2EF3-E637-36CE-8629-537CA9883D59}"/>
          </ac:grpSpMkLst>
        </pc:grpChg>
        <pc:grpChg chg="add mod">
          <ac:chgData name="Sindija Kirsteine (LV)" userId="5f25501a-2215-4bb3-9d9c-8d1484ffa7c1" providerId="ADAL" clId="{AD634740-2A4A-4DBA-91EE-B286EB63FCB7}" dt="2024-06-05T08:36:11.552" v="881"/>
          <ac:grpSpMkLst>
            <pc:docMk/>
            <pc:sldMk cId="372668532" sldId="2147481911"/>
            <ac:grpSpMk id="19" creationId="{6ED6C4B5-7981-36D1-47E9-3BB8F308AD39}"/>
          </ac:grpSpMkLst>
        </pc:grpChg>
      </pc:sldChg>
      <pc:sldChg chg="addSp delSp modSp mod">
        <pc:chgData name="Sindija Kirsteine (LV)" userId="5f25501a-2215-4bb3-9d9c-8d1484ffa7c1" providerId="ADAL" clId="{AD634740-2A4A-4DBA-91EE-B286EB63FCB7}" dt="2024-06-05T08:28:22.804" v="625"/>
        <pc:sldMkLst>
          <pc:docMk/>
          <pc:sldMk cId="902380533" sldId="2147481912"/>
        </pc:sldMkLst>
        <pc:spChg chg="mod">
          <ac:chgData name="Sindija Kirsteine (LV)" userId="5f25501a-2215-4bb3-9d9c-8d1484ffa7c1" providerId="ADAL" clId="{AD634740-2A4A-4DBA-91EE-B286EB63FCB7}" dt="2024-06-05T08:23:13.345" v="452"/>
          <ac:spMkLst>
            <pc:docMk/>
            <pc:sldMk cId="902380533" sldId="2147481912"/>
            <ac:spMk id="2" creationId="{54AE6F26-EA3E-592F-41FC-B23FB4F07D34}"/>
          </ac:spMkLst>
        </pc:spChg>
        <pc:spChg chg="mod">
          <ac:chgData name="Sindija Kirsteine (LV)" userId="5f25501a-2215-4bb3-9d9c-8d1484ffa7c1" providerId="ADAL" clId="{AD634740-2A4A-4DBA-91EE-B286EB63FCB7}" dt="2024-06-05T08:28:22.804" v="625"/>
          <ac:spMkLst>
            <pc:docMk/>
            <pc:sldMk cId="902380533" sldId="2147481912"/>
            <ac:spMk id="6" creationId="{91E9FB8C-3EC3-1E57-2BD4-92F28B67C87E}"/>
          </ac:spMkLst>
        </pc:spChg>
        <pc:spChg chg="mod">
          <ac:chgData name="Sindija Kirsteine (LV)" userId="5f25501a-2215-4bb3-9d9c-8d1484ffa7c1" providerId="ADAL" clId="{AD634740-2A4A-4DBA-91EE-B286EB63FCB7}" dt="2024-06-05T08:28:22.804" v="625"/>
          <ac:spMkLst>
            <pc:docMk/>
            <pc:sldMk cId="902380533" sldId="2147481912"/>
            <ac:spMk id="7" creationId="{1740CACC-7AE3-12C7-C7AC-9DA693325286}"/>
          </ac:spMkLst>
        </pc:spChg>
        <pc:spChg chg="mod">
          <ac:chgData name="Sindija Kirsteine (LV)" userId="5f25501a-2215-4bb3-9d9c-8d1484ffa7c1" providerId="ADAL" clId="{AD634740-2A4A-4DBA-91EE-B286EB63FCB7}" dt="2024-06-05T08:28:22.804" v="625"/>
          <ac:spMkLst>
            <pc:docMk/>
            <pc:sldMk cId="902380533" sldId="2147481912"/>
            <ac:spMk id="9" creationId="{EBB7652D-EDC7-D630-4E56-569E327A097D}"/>
          </ac:spMkLst>
        </pc:spChg>
        <pc:spChg chg="mod">
          <ac:chgData name="Sindija Kirsteine (LV)" userId="5f25501a-2215-4bb3-9d9c-8d1484ffa7c1" providerId="ADAL" clId="{AD634740-2A4A-4DBA-91EE-B286EB63FCB7}" dt="2024-06-05T08:28:22.804" v="625"/>
          <ac:spMkLst>
            <pc:docMk/>
            <pc:sldMk cId="902380533" sldId="2147481912"/>
            <ac:spMk id="10" creationId="{4D2EA8DC-5CD7-C478-A788-32EA4B653FCD}"/>
          </ac:spMkLst>
        </pc:spChg>
        <pc:spChg chg="mod">
          <ac:chgData name="Sindija Kirsteine (LV)" userId="5f25501a-2215-4bb3-9d9c-8d1484ffa7c1" providerId="ADAL" clId="{AD634740-2A4A-4DBA-91EE-B286EB63FCB7}" dt="2024-06-05T08:28:22.804" v="625"/>
          <ac:spMkLst>
            <pc:docMk/>
            <pc:sldMk cId="902380533" sldId="2147481912"/>
            <ac:spMk id="16" creationId="{800DD161-BC20-385F-8050-FFEEAFAE9591}"/>
          </ac:spMkLst>
        </pc:spChg>
        <pc:spChg chg="mod">
          <ac:chgData name="Sindija Kirsteine (LV)" userId="5f25501a-2215-4bb3-9d9c-8d1484ffa7c1" providerId="ADAL" clId="{AD634740-2A4A-4DBA-91EE-B286EB63FCB7}" dt="2024-06-05T08:28:22.804" v="625"/>
          <ac:spMkLst>
            <pc:docMk/>
            <pc:sldMk cId="902380533" sldId="2147481912"/>
            <ac:spMk id="29" creationId="{76D467BB-43B7-1547-A204-C84DA9AEDF0B}"/>
          </ac:spMkLst>
        </pc:spChg>
        <pc:spChg chg="mod">
          <ac:chgData name="Sindija Kirsteine (LV)" userId="5f25501a-2215-4bb3-9d9c-8d1484ffa7c1" providerId="ADAL" clId="{AD634740-2A4A-4DBA-91EE-B286EB63FCB7}" dt="2024-06-05T08:28:22.804" v="625"/>
          <ac:spMkLst>
            <pc:docMk/>
            <pc:sldMk cId="902380533" sldId="2147481912"/>
            <ac:spMk id="30" creationId="{8E17D939-2A30-CF92-9BD9-32DFF88D0CAE}"/>
          </ac:spMkLst>
        </pc:spChg>
        <pc:grpChg chg="add mod">
          <ac:chgData name="Sindija Kirsteine (LV)" userId="5f25501a-2215-4bb3-9d9c-8d1484ffa7c1" providerId="ADAL" clId="{AD634740-2A4A-4DBA-91EE-B286EB63FCB7}" dt="2024-06-05T08:28:22.804" v="625"/>
          <ac:grpSpMkLst>
            <pc:docMk/>
            <pc:sldMk cId="902380533" sldId="2147481912"/>
            <ac:grpSpMk id="3" creationId="{5145ACA6-1185-1877-4478-138A78D01351}"/>
          </ac:grpSpMkLst>
        </pc:grpChg>
        <pc:grpChg chg="del">
          <ac:chgData name="Sindija Kirsteine (LV)" userId="5f25501a-2215-4bb3-9d9c-8d1484ffa7c1" providerId="ADAL" clId="{AD634740-2A4A-4DBA-91EE-B286EB63FCB7}" dt="2024-06-05T08:28:22.393" v="624" actId="478"/>
          <ac:grpSpMkLst>
            <pc:docMk/>
            <pc:sldMk cId="902380533" sldId="2147481912"/>
            <ac:grpSpMk id="45" creationId="{8E1DD621-CFE3-F8B8-12D3-D162BA7D3F94}"/>
          </ac:grpSpMkLst>
        </pc:grpChg>
      </pc:sldChg>
      <pc:sldChg chg="addSp delSp modSp mod">
        <pc:chgData name="Sindija Kirsteine (LV)" userId="5f25501a-2215-4bb3-9d9c-8d1484ffa7c1" providerId="ADAL" clId="{AD634740-2A4A-4DBA-91EE-B286EB63FCB7}" dt="2024-06-05T08:36:14.528" v="884"/>
        <pc:sldMkLst>
          <pc:docMk/>
          <pc:sldMk cId="2494049098" sldId="2147481919"/>
        </pc:sldMkLst>
        <pc:spChg chg="mod">
          <ac:chgData name="Sindija Kirsteine (LV)" userId="5f25501a-2215-4bb3-9d9c-8d1484ffa7c1" providerId="ADAL" clId="{AD634740-2A4A-4DBA-91EE-B286EB63FCB7}" dt="2024-06-05T08:25:47.744" v="543"/>
          <ac:spMkLst>
            <pc:docMk/>
            <pc:sldMk cId="2494049098" sldId="2147481919"/>
            <ac:spMk id="2" creationId="{BEC6511E-C33A-6752-120D-B54808D54898}"/>
          </ac:spMkLst>
        </pc:spChg>
        <pc:spChg chg="mod">
          <ac:chgData name="Sindija Kirsteine (LV)" userId="5f25501a-2215-4bb3-9d9c-8d1484ffa7c1" providerId="ADAL" clId="{AD634740-2A4A-4DBA-91EE-B286EB63FCB7}" dt="2024-06-05T08:36:14.528" v="884"/>
          <ac:spMkLst>
            <pc:docMk/>
            <pc:sldMk cId="2494049098" sldId="2147481919"/>
            <ac:spMk id="4" creationId="{99903E4D-348F-A4A4-52F8-EE16DBEB2F44}"/>
          </ac:spMkLst>
        </pc:spChg>
        <pc:spChg chg="mod">
          <ac:chgData name="Sindija Kirsteine (LV)" userId="5f25501a-2215-4bb3-9d9c-8d1484ffa7c1" providerId="ADAL" clId="{AD634740-2A4A-4DBA-91EE-B286EB63FCB7}" dt="2024-06-05T08:36:14.528" v="884"/>
          <ac:spMkLst>
            <pc:docMk/>
            <pc:sldMk cId="2494049098" sldId="2147481919"/>
            <ac:spMk id="6" creationId="{28E2F74F-C27A-D2FF-7ADE-6092304315BD}"/>
          </ac:spMkLst>
        </pc:spChg>
        <pc:spChg chg="mod">
          <ac:chgData name="Sindija Kirsteine (LV)" userId="5f25501a-2215-4bb3-9d9c-8d1484ffa7c1" providerId="ADAL" clId="{AD634740-2A4A-4DBA-91EE-B286EB63FCB7}" dt="2024-06-05T08:36:14.528" v="884"/>
          <ac:spMkLst>
            <pc:docMk/>
            <pc:sldMk cId="2494049098" sldId="2147481919"/>
            <ac:spMk id="7" creationId="{9704876E-0D0F-6127-9368-1F575AAF0C08}"/>
          </ac:spMkLst>
        </pc:spChg>
        <pc:spChg chg="mod">
          <ac:chgData name="Sindija Kirsteine (LV)" userId="5f25501a-2215-4bb3-9d9c-8d1484ffa7c1" providerId="ADAL" clId="{AD634740-2A4A-4DBA-91EE-B286EB63FCB7}" dt="2024-06-05T08:36:14.528" v="884"/>
          <ac:spMkLst>
            <pc:docMk/>
            <pc:sldMk cId="2494049098" sldId="2147481919"/>
            <ac:spMk id="9" creationId="{19CA98CC-88EC-AE6A-4843-9FFF0FE21594}"/>
          </ac:spMkLst>
        </pc:spChg>
        <pc:spChg chg="mod">
          <ac:chgData name="Sindija Kirsteine (LV)" userId="5f25501a-2215-4bb3-9d9c-8d1484ffa7c1" providerId="ADAL" clId="{AD634740-2A4A-4DBA-91EE-B286EB63FCB7}" dt="2024-06-05T08:36:14.528" v="884"/>
          <ac:spMkLst>
            <pc:docMk/>
            <pc:sldMk cId="2494049098" sldId="2147481919"/>
            <ac:spMk id="10" creationId="{0F2B7547-F4CC-F6BD-F7F4-F28F259A4140}"/>
          </ac:spMkLst>
        </pc:spChg>
        <pc:spChg chg="mod">
          <ac:chgData name="Sindija Kirsteine (LV)" userId="5f25501a-2215-4bb3-9d9c-8d1484ffa7c1" providerId="ADAL" clId="{AD634740-2A4A-4DBA-91EE-B286EB63FCB7}" dt="2024-06-05T08:36:14.528" v="884"/>
          <ac:spMkLst>
            <pc:docMk/>
            <pc:sldMk cId="2494049098" sldId="2147481919"/>
            <ac:spMk id="11" creationId="{D5746F6C-E604-97D5-EDDA-96085A4A160F}"/>
          </ac:spMkLst>
        </pc:spChg>
        <pc:spChg chg="mod">
          <ac:chgData name="Sindija Kirsteine (LV)" userId="5f25501a-2215-4bb3-9d9c-8d1484ffa7c1" providerId="ADAL" clId="{AD634740-2A4A-4DBA-91EE-B286EB63FCB7}" dt="2024-06-05T08:36:14.528" v="884"/>
          <ac:spMkLst>
            <pc:docMk/>
            <pc:sldMk cId="2494049098" sldId="2147481919"/>
            <ac:spMk id="12" creationId="{64C59CB7-C0DA-62A7-6C49-8572B40B1C48}"/>
          </ac:spMkLst>
        </pc:spChg>
        <pc:grpChg chg="add mod">
          <ac:chgData name="Sindija Kirsteine (LV)" userId="5f25501a-2215-4bb3-9d9c-8d1484ffa7c1" providerId="ADAL" clId="{AD634740-2A4A-4DBA-91EE-B286EB63FCB7}" dt="2024-06-05T08:36:14.528" v="884"/>
          <ac:grpSpMkLst>
            <pc:docMk/>
            <pc:sldMk cId="2494049098" sldId="2147481919"/>
            <ac:grpSpMk id="3" creationId="{64004B52-3ECE-0BE9-5057-1B107BA185BE}"/>
          </ac:grpSpMkLst>
        </pc:grpChg>
        <pc:grpChg chg="del">
          <ac:chgData name="Sindija Kirsteine (LV)" userId="5f25501a-2215-4bb3-9d9c-8d1484ffa7c1" providerId="ADAL" clId="{AD634740-2A4A-4DBA-91EE-B286EB63FCB7}" dt="2024-06-05T08:36:14.307" v="883" actId="478"/>
          <ac:grpSpMkLst>
            <pc:docMk/>
            <pc:sldMk cId="2494049098" sldId="2147481919"/>
            <ac:grpSpMk id="8" creationId="{CB57E586-8A3B-28BC-F73A-7B44658502D6}"/>
          </ac:grpSpMkLst>
        </pc:grpChg>
      </pc:sldChg>
      <pc:sldChg chg="addSp delSp modSp mod">
        <pc:chgData name="Sindija Kirsteine (LV)" userId="5f25501a-2215-4bb3-9d9c-8d1484ffa7c1" providerId="ADAL" clId="{AD634740-2A4A-4DBA-91EE-B286EB63FCB7}" dt="2024-06-05T08:36:20.700" v="889"/>
        <pc:sldMkLst>
          <pc:docMk/>
          <pc:sldMk cId="1622579242" sldId="2147481920"/>
        </pc:sldMkLst>
        <pc:spChg chg="mod">
          <ac:chgData name="Sindija Kirsteine (LV)" userId="5f25501a-2215-4bb3-9d9c-8d1484ffa7c1" providerId="ADAL" clId="{AD634740-2A4A-4DBA-91EE-B286EB63FCB7}" dt="2024-06-05T08:25:52.372" v="545"/>
          <ac:spMkLst>
            <pc:docMk/>
            <pc:sldMk cId="1622579242" sldId="2147481920"/>
            <ac:spMk id="3" creationId="{A810622E-1DC6-3A6A-4471-12536EFD6CD5}"/>
          </ac:spMkLst>
        </pc:spChg>
        <pc:spChg chg="mod">
          <ac:chgData name="Sindija Kirsteine (LV)" userId="5f25501a-2215-4bb3-9d9c-8d1484ffa7c1" providerId="ADAL" clId="{AD634740-2A4A-4DBA-91EE-B286EB63FCB7}" dt="2024-06-05T08:36:20.700" v="889"/>
          <ac:spMkLst>
            <pc:docMk/>
            <pc:sldMk cId="1622579242" sldId="2147481920"/>
            <ac:spMk id="6" creationId="{F5A45D36-00B2-EF90-1CD2-900D184A23CB}"/>
          </ac:spMkLst>
        </pc:spChg>
        <pc:spChg chg="mod">
          <ac:chgData name="Sindija Kirsteine (LV)" userId="5f25501a-2215-4bb3-9d9c-8d1484ffa7c1" providerId="ADAL" clId="{AD634740-2A4A-4DBA-91EE-B286EB63FCB7}" dt="2024-06-05T08:36:20.700" v="889"/>
          <ac:spMkLst>
            <pc:docMk/>
            <pc:sldMk cId="1622579242" sldId="2147481920"/>
            <ac:spMk id="7" creationId="{6DA02C84-FFC7-60DD-8351-DE4B2E753467}"/>
          </ac:spMkLst>
        </pc:spChg>
        <pc:spChg chg="mod">
          <ac:chgData name="Sindija Kirsteine (LV)" userId="5f25501a-2215-4bb3-9d9c-8d1484ffa7c1" providerId="ADAL" clId="{AD634740-2A4A-4DBA-91EE-B286EB63FCB7}" dt="2024-06-05T08:36:20.700" v="889"/>
          <ac:spMkLst>
            <pc:docMk/>
            <pc:sldMk cId="1622579242" sldId="2147481920"/>
            <ac:spMk id="8" creationId="{77A40EED-D209-9B67-65E8-55579C86F95B}"/>
          </ac:spMkLst>
        </pc:spChg>
        <pc:spChg chg="mod">
          <ac:chgData name="Sindija Kirsteine (LV)" userId="5f25501a-2215-4bb3-9d9c-8d1484ffa7c1" providerId="ADAL" clId="{AD634740-2A4A-4DBA-91EE-B286EB63FCB7}" dt="2024-06-05T08:36:20.700" v="889"/>
          <ac:spMkLst>
            <pc:docMk/>
            <pc:sldMk cId="1622579242" sldId="2147481920"/>
            <ac:spMk id="9" creationId="{0A51F0B7-7E62-3E32-DEE1-4DF14F0CCD70}"/>
          </ac:spMkLst>
        </pc:spChg>
        <pc:spChg chg="mod">
          <ac:chgData name="Sindija Kirsteine (LV)" userId="5f25501a-2215-4bb3-9d9c-8d1484ffa7c1" providerId="ADAL" clId="{AD634740-2A4A-4DBA-91EE-B286EB63FCB7}" dt="2024-06-05T08:36:20.700" v="889"/>
          <ac:spMkLst>
            <pc:docMk/>
            <pc:sldMk cId="1622579242" sldId="2147481920"/>
            <ac:spMk id="10" creationId="{4BC8B027-F22F-20CA-3F8A-9961600CBBF3}"/>
          </ac:spMkLst>
        </pc:spChg>
        <pc:spChg chg="mod">
          <ac:chgData name="Sindija Kirsteine (LV)" userId="5f25501a-2215-4bb3-9d9c-8d1484ffa7c1" providerId="ADAL" clId="{AD634740-2A4A-4DBA-91EE-B286EB63FCB7}" dt="2024-06-05T08:36:20.700" v="889"/>
          <ac:spMkLst>
            <pc:docMk/>
            <pc:sldMk cId="1622579242" sldId="2147481920"/>
            <ac:spMk id="11" creationId="{D66AFCD5-43EB-E581-290D-FEF4CC864457}"/>
          </ac:spMkLst>
        </pc:spChg>
        <pc:spChg chg="mod">
          <ac:chgData name="Sindija Kirsteine (LV)" userId="5f25501a-2215-4bb3-9d9c-8d1484ffa7c1" providerId="ADAL" clId="{AD634740-2A4A-4DBA-91EE-B286EB63FCB7}" dt="2024-06-05T08:36:20.700" v="889"/>
          <ac:spMkLst>
            <pc:docMk/>
            <pc:sldMk cId="1622579242" sldId="2147481920"/>
            <ac:spMk id="12" creationId="{24F1E417-6953-2F32-9535-40009650269D}"/>
          </ac:spMkLst>
        </pc:spChg>
        <pc:grpChg chg="add mod">
          <ac:chgData name="Sindija Kirsteine (LV)" userId="5f25501a-2215-4bb3-9d9c-8d1484ffa7c1" providerId="ADAL" clId="{AD634740-2A4A-4DBA-91EE-B286EB63FCB7}" dt="2024-06-05T08:36:20.700" v="889"/>
          <ac:grpSpMkLst>
            <pc:docMk/>
            <pc:sldMk cId="1622579242" sldId="2147481920"/>
            <ac:grpSpMk id="4" creationId="{A4AA8D42-70E2-E705-1230-A339B5C3F2E3}"/>
          </ac:grpSpMkLst>
        </pc:grpChg>
        <pc:grpChg chg="del">
          <ac:chgData name="Sindija Kirsteine (LV)" userId="5f25501a-2215-4bb3-9d9c-8d1484ffa7c1" providerId="ADAL" clId="{AD634740-2A4A-4DBA-91EE-B286EB63FCB7}" dt="2024-06-05T08:36:20.510" v="888" actId="478"/>
          <ac:grpSpMkLst>
            <pc:docMk/>
            <pc:sldMk cId="1622579242" sldId="2147481920"/>
            <ac:grpSpMk id="13" creationId="{1093E47C-4603-145F-9F1C-749EBA9A5823}"/>
          </ac:grpSpMkLst>
        </pc:grpChg>
      </pc:sldChg>
      <pc:sldChg chg="addSp delSp modSp mod modShow">
        <pc:chgData name="Sindija Kirsteine (LV)" userId="5f25501a-2215-4bb3-9d9c-8d1484ffa7c1" providerId="ADAL" clId="{AD634740-2A4A-4DBA-91EE-B286EB63FCB7}" dt="2024-06-05T08:27:54.928" v="608"/>
        <pc:sldMkLst>
          <pc:docMk/>
          <pc:sldMk cId="2443351344" sldId="2147481921"/>
        </pc:sldMkLst>
        <pc:spChg chg="mod">
          <ac:chgData name="Sindija Kirsteine (LV)" userId="5f25501a-2215-4bb3-9d9c-8d1484ffa7c1" providerId="ADAL" clId="{AD634740-2A4A-4DBA-91EE-B286EB63FCB7}" dt="2024-06-05T08:23:07.311" v="448"/>
          <ac:spMkLst>
            <pc:docMk/>
            <pc:sldMk cId="2443351344" sldId="2147481921"/>
            <ac:spMk id="2" creationId="{A6410706-71F2-E9A5-9548-3A401CAC4651}"/>
          </ac:spMkLst>
        </pc:spChg>
        <pc:spChg chg="mod">
          <ac:chgData name="Sindija Kirsteine (LV)" userId="5f25501a-2215-4bb3-9d9c-8d1484ffa7c1" providerId="ADAL" clId="{AD634740-2A4A-4DBA-91EE-B286EB63FCB7}" dt="2024-06-05T08:27:54.928" v="608"/>
          <ac:spMkLst>
            <pc:docMk/>
            <pc:sldMk cId="2443351344" sldId="2147481921"/>
            <ac:spMk id="5" creationId="{F2114FD5-6B97-86BE-BD84-6B41975C9D9F}"/>
          </ac:spMkLst>
        </pc:spChg>
        <pc:spChg chg="mod">
          <ac:chgData name="Sindija Kirsteine (LV)" userId="5f25501a-2215-4bb3-9d9c-8d1484ffa7c1" providerId="ADAL" clId="{AD634740-2A4A-4DBA-91EE-B286EB63FCB7}" dt="2024-06-05T08:27:54.928" v="608"/>
          <ac:spMkLst>
            <pc:docMk/>
            <pc:sldMk cId="2443351344" sldId="2147481921"/>
            <ac:spMk id="7" creationId="{EFB32E16-DAC8-570D-57B9-B73E32C1E1D3}"/>
          </ac:spMkLst>
        </pc:spChg>
        <pc:spChg chg="mod">
          <ac:chgData name="Sindija Kirsteine (LV)" userId="5f25501a-2215-4bb3-9d9c-8d1484ffa7c1" providerId="ADAL" clId="{AD634740-2A4A-4DBA-91EE-B286EB63FCB7}" dt="2024-06-05T08:27:54.928" v="608"/>
          <ac:spMkLst>
            <pc:docMk/>
            <pc:sldMk cId="2443351344" sldId="2147481921"/>
            <ac:spMk id="8" creationId="{52FCFC53-D85A-0C7B-EAB1-267903DD19FA}"/>
          </ac:spMkLst>
        </pc:spChg>
        <pc:spChg chg="mod">
          <ac:chgData name="Sindija Kirsteine (LV)" userId="5f25501a-2215-4bb3-9d9c-8d1484ffa7c1" providerId="ADAL" clId="{AD634740-2A4A-4DBA-91EE-B286EB63FCB7}" dt="2024-06-05T08:27:54.928" v="608"/>
          <ac:spMkLst>
            <pc:docMk/>
            <pc:sldMk cId="2443351344" sldId="2147481921"/>
            <ac:spMk id="10" creationId="{C5FD49A8-3FAC-84D2-3F96-40B32E10582B}"/>
          </ac:spMkLst>
        </pc:spChg>
        <pc:spChg chg="mod">
          <ac:chgData name="Sindija Kirsteine (LV)" userId="5f25501a-2215-4bb3-9d9c-8d1484ffa7c1" providerId="ADAL" clId="{AD634740-2A4A-4DBA-91EE-B286EB63FCB7}" dt="2024-06-05T08:27:54.928" v="608"/>
          <ac:spMkLst>
            <pc:docMk/>
            <pc:sldMk cId="2443351344" sldId="2147481921"/>
            <ac:spMk id="11" creationId="{BC8518BB-71D1-581B-F137-7B13B8F9267F}"/>
          </ac:spMkLst>
        </pc:spChg>
        <pc:spChg chg="mod">
          <ac:chgData name="Sindija Kirsteine (LV)" userId="5f25501a-2215-4bb3-9d9c-8d1484ffa7c1" providerId="ADAL" clId="{AD634740-2A4A-4DBA-91EE-B286EB63FCB7}" dt="2024-06-05T08:27:54.928" v="608"/>
          <ac:spMkLst>
            <pc:docMk/>
            <pc:sldMk cId="2443351344" sldId="2147481921"/>
            <ac:spMk id="17" creationId="{ED2B18C3-594A-3B22-6F1D-9BF4C534D60A}"/>
          </ac:spMkLst>
        </pc:spChg>
        <pc:spChg chg="mod">
          <ac:chgData name="Sindija Kirsteine (LV)" userId="5f25501a-2215-4bb3-9d9c-8d1484ffa7c1" providerId="ADAL" clId="{AD634740-2A4A-4DBA-91EE-B286EB63FCB7}" dt="2024-06-05T08:27:54.928" v="608"/>
          <ac:spMkLst>
            <pc:docMk/>
            <pc:sldMk cId="2443351344" sldId="2147481921"/>
            <ac:spMk id="18" creationId="{6054B0AE-ECB8-16F6-E05B-0BFD4367DB02}"/>
          </ac:spMkLst>
        </pc:spChg>
        <pc:grpChg chg="add mod">
          <ac:chgData name="Sindija Kirsteine (LV)" userId="5f25501a-2215-4bb3-9d9c-8d1484ffa7c1" providerId="ADAL" clId="{AD634740-2A4A-4DBA-91EE-B286EB63FCB7}" dt="2024-06-05T08:27:54.928" v="608"/>
          <ac:grpSpMkLst>
            <pc:docMk/>
            <pc:sldMk cId="2443351344" sldId="2147481921"/>
            <ac:grpSpMk id="3" creationId="{ABDF73DE-EF5E-66E2-65BB-03EED01C0610}"/>
          </ac:grpSpMkLst>
        </pc:grpChg>
        <pc:grpChg chg="del">
          <ac:chgData name="Sindija Kirsteine (LV)" userId="5f25501a-2215-4bb3-9d9c-8d1484ffa7c1" providerId="ADAL" clId="{AD634740-2A4A-4DBA-91EE-B286EB63FCB7}" dt="2024-06-05T08:27:54.707" v="607" actId="478"/>
          <ac:grpSpMkLst>
            <pc:docMk/>
            <pc:sldMk cId="2443351344" sldId="2147481921"/>
            <ac:grpSpMk id="23" creationId="{97153DA9-3F02-EA97-2C75-F8565A2A7094}"/>
          </ac:grpSpMkLst>
        </pc:grpChg>
      </pc:sldChg>
      <pc:sldChg chg="modSp mod">
        <pc:chgData name="Sindija Kirsteine (LV)" userId="5f25501a-2215-4bb3-9d9c-8d1484ffa7c1" providerId="ADAL" clId="{AD634740-2A4A-4DBA-91EE-B286EB63FCB7}" dt="2024-06-10T09:34:46.421" v="3099" actId="20577"/>
        <pc:sldMkLst>
          <pc:docMk/>
          <pc:sldMk cId="796361483" sldId="2147481942"/>
        </pc:sldMkLst>
        <pc:spChg chg="mod">
          <ac:chgData name="Sindija Kirsteine (LV)" userId="5f25501a-2215-4bb3-9d9c-8d1484ffa7c1" providerId="ADAL" clId="{AD634740-2A4A-4DBA-91EE-B286EB63FCB7}" dt="2024-06-05T08:26:21.644" v="563"/>
          <ac:spMkLst>
            <pc:docMk/>
            <pc:sldMk cId="796361483" sldId="2147481942"/>
            <ac:spMk id="3" creationId="{7D84EAD6-3EE4-C052-2B5F-2FFA6C0D7A59}"/>
          </ac:spMkLst>
        </pc:spChg>
        <pc:spChg chg="mod">
          <ac:chgData name="Sindija Kirsteine (LV)" userId="5f25501a-2215-4bb3-9d9c-8d1484ffa7c1" providerId="ADAL" clId="{AD634740-2A4A-4DBA-91EE-B286EB63FCB7}" dt="2024-06-10T09:31:57.825" v="3025" actId="20577"/>
          <ac:spMkLst>
            <pc:docMk/>
            <pc:sldMk cId="796361483" sldId="2147481942"/>
            <ac:spMk id="7" creationId="{A168F800-7305-A09D-AF78-9EB408346FA0}"/>
          </ac:spMkLst>
        </pc:spChg>
        <pc:spChg chg="mod">
          <ac:chgData name="Sindija Kirsteine (LV)" userId="5f25501a-2215-4bb3-9d9c-8d1484ffa7c1" providerId="ADAL" clId="{AD634740-2A4A-4DBA-91EE-B286EB63FCB7}" dt="2024-06-10T09:34:46.421" v="3099" actId="20577"/>
          <ac:spMkLst>
            <pc:docMk/>
            <pc:sldMk cId="796361483" sldId="2147481942"/>
            <ac:spMk id="24" creationId="{20F6161A-E3E2-A765-A44D-92728895AC83}"/>
          </ac:spMkLst>
        </pc:spChg>
      </pc:sldChg>
      <pc:sldChg chg="modSp del mod modShow">
        <pc:chgData name="Sindija Kirsteine (LV)" userId="5f25501a-2215-4bb3-9d9c-8d1484ffa7c1" providerId="ADAL" clId="{AD634740-2A4A-4DBA-91EE-B286EB63FCB7}" dt="2024-06-10T09:35:33.308" v="3117" actId="47"/>
        <pc:sldMkLst>
          <pc:docMk/>
          <pc:sldMk cId="2437332194" sldId="2147481943"/>
        </pc:sldMkLst>
        <pc:spChg chg="mod">
          <ac:chgData name="Sindija Kirsteine (LV)" userId="5f25501a-2215-4bb3-9d9c-8d1484ffa7c1" providerId="ADAL" clId="{AD634740-2A4A-4DBA-91EE-B286EB63FCB7}" dt="2024-06-05T08:26:24.533" v="565"/>
          <ac:spMkLst>
            <pc:docMk/>
            <pc:sldMk cId="2437332194" sldId="2147481943"/>
            <ac:spMk id="3" creationId="{B3CF66A5-A271-6BFB-A814-DFE53833DD90}"/>
          </ac:spMkLst>
        </pc:spChg>
        <pc:spChg chg="mod">
          <ac:chgData name="Sindija Kirsteine (LV)" userId="5f25501a-2215-4bb3-9d9c-8d1484ffa7c1" providerId="ADAL" clId="{AD634740-2A4A-4DBA-91EE-B286EB63FCB7}" dt="2024-06-10T09:16:43.809" v="2794" actId="20577"/>
          <ac:spMkLst>
            <pc:docMk/>
            <pc:sldMk cId="2437332194" sldId="2147481943"/>
            <ac:spMk id="24" creationId="{20F6161A-E3E2-A765-A44D-92728895AC83}"/>
          </ac:spMkLst>
        </pc:spChg>
      </pc:sldChg>
      <pc:sldChg chg="modSp mod">
        <pc:chgData name="Sindija Kirsteine (LV)" userId="5f25501a-2215-4bb3-9d9c-8d1484ffa7c1" providerId="ADAL" clId="{AD634740-2A4A-4DBA-91EE-B286EB63FCB7}" dt="2024-06-05T08:30:15.753" v="684" actId="1076"/>
        <pc:sldMkLst>
          <pc:docMk/>
          <pc:sldMk cId="1254450771" sldId="2147481948"/>
        </pc:sldMkLst>
        <pc:spChg chg="mod">
          <ac:chgData name="Sindija Kirsteine (LV)" userId="5f25501a-2215-4bb3-9d9c-8d1484ffa7c1" providerId="ADAL" clId="{AD634740-2A4A-4DBA-91EE-B286EB63FCB7}" dt="2024-06-05T08:29:58.902" v="673" actId="20577"/>
          <ac:spMkLst>
            <pc:docMk/>
            <pc:sldMk cId="1254450771" sldId="2147481948"/>
            <ac:spMk id="3" creationId="{0CF63C79-C746-23CA-CA4B-A6828C00B764}"/>
          </ac:spMkLst>
        </pc:spChg>
        <pc:spChg chg="mod">
          <ac:chgData name="Sindija Kirsteine (LV)" userId="5f25501a-2215-4bb3-9d9c-8d1484ffa7c1" providerId="ADAL" clId="{AD634740-2A4A-4DBA-91EE-B286EB63FCB7}" dt="2024-06-05T08:23:31.578" v="463"/>
          <ac:spMkLst>
            <pc:docMk/>
            <pc:sldMk cId="1254450771" sldId="2147481948"/>
            <ac:spMk id="4" creationId="{BE4BEB43-22CF-6C36-91EB-ABA93BD4B451}"/>
          </ac:spMkLst>
        </pc:spChg>
        <pc:spChg chg="mod">
          <ac:chgData name="Sindija Kirsteine (LV)" userId="5f25501a-2215-4bb3-9d9c-8d1484ffa7c1" providerId="ADAL" clId="{AD634740-2A4A-4DBA-91EE-B286EB63FCB7}" dt="2024-06-05T08:30:00.898" v="675" actId="20577"/>
          <ac:spMkLst>
            <pc:docMk/>
            <pc:sldMk cId="1254450771" sldId="2147481948"/>
            <ac:spMk id="5" creationId="{5C94FC2B-DE22-3317-FD02-0E6B56428CE8}"/>
          </ac:spMkLst>
        </pc:spChg>
        <pc:spChg chg="mod">
          <ac:chgData name="Sindija Kirsteine (LV)" userId="5f25501a-2215-4bb3-9d9c-8d1484ffa7c1" providerId="ADAL" clId="{AD634740-2A4A-4DBA-91EE-B286EB63FCB7}" dt="2024-06-05T08:30:03.948" v="677" actId="20577"/>
          <ac:spMkLst>
            <pc:docMk/>
            <pc:sldMk cId="1254450771" sldId="2147481948"/>
            <ac:spMk id="6" creationId="{41ABC529-A700-D3A0-36E5-E00EE945AA29}"/>
          </ac:spMkLst>
        </pc:spChg>
        <pc:spChg chg="mod">
          <ac:chgData name="Sindija Kirsteine (LV)" userId="5f25501a-2215-4bb3-9d9c-8d1484ffa7c1" providerId="ADAL" clId="{AD634740-2A4A-4DBA-91EE-B286EB63FCB7}" dt="2024-06-05T08:29:35.474" v="666" actId="14100"/>
          <ac:spMkLst>
            <pc:docMk/>
            <pc:sldMk cId="1254450771" sldId="2147481948"/>
            <ac:spMk id="7" creationId="{BDE4A586-0796-0CBC-9475-960045C2CF32}"/>
          </ac:spMkLst>
        </pc:spChg>
        <pc:spChg chg="mod">
          <ac:chgData name="Sindija Kirsteine (LV)" userId="5f25501a-2215-4bb3-9d9c-8d1484ffa7c1" providerId="ADAL" clId="{AD634740-2A4A-4DBA-91EE-B286EB63FCB7}" dt="2024-06-05T08:30:05.904" v="679" actId="20577"/>
          <ac:spMkLst>
            <pc:docMk/>
            <pc:sldMk cId="1254450771" sldId="2147481948"/>
            <ac:spMk id="11" creationId="{D118A603-0C91-3F8C-109F-CDCCEE58730E}"/>
          </ac:spMkLst>
        </pc:spChg>
        <pc:spChg chg="mod">
          <ac:chgData name="Sindija Kirsteine (LV)" userId="5f25501a-2215-4bb3-9d9c-8d1484ffa7c1" providerId="ADAL" clId="{AD634740-2A4A-4DBA-91EE-B286EB63FCB7}" dt="2024-06-05T08:30:07.919" v="681" actId="20577"/>
          <ac:spMkLst>
            <pc:docMk/>
            <pc:sldMk cId="1254450771" sldId="2147481948"/>
            <ac:spMk id="12" creationId="{0969524F-0B7B-EC94-F190-10280E15C3E6}"/>
          </ac:spMkLst>
        </pc:spChg>
        <pc:spChg chg="mod">
          <ac:chgData name="Sindija Kirsteine (LV)" userId="5f25501a-2215-4bb3-9d9c-8d1484ffa7c1" providerId="ADAL" clId="{AD634740-2A4A-4DBA-91EE-B286EB63FCB7}" dt="2024-06-05T08:30:09.660" v="683" actId="20577"/>
          <ac:spMkLst>
            <pc:docMk/>
            <pc:sldMk cId="1254450771" sldId="2147481948"/>
            <ac:spMk id="17" creationId="{641ED9FC-4DB2-00C0-2F80-01E0278CA057}"/>
          </ac:spMkLst>
        </pc:spChg>
        <pc:grpChg chg="mod">
          <ac:chgData name="Sindija Kirsteine (LV)" userId="5f25501a-2215-4bb3-9d9c-8d1484ffa7c1" providerId="ADAL" clId="{AD634740-2A4A-4DBA-91EE-B286EB63FCB7}" dt="2024-06-05T08:30:15.753" v="684" actId="1076"/>
          <ac:grpSpMkLst>
            <pc:docMk/>
            <pc:sldMk cId="1254450771" sldId="2147481948"/>
            <ac:grpSpMk id="2" creationId="{F7AEBBD5-8C5E-1C6F-148A-C205C6150D3D}"/>
          </ac:grpSpMkLst>
        </pc:grpChg>
      </pc:sldChg>
      <pc:sldChg chg="addSp delSp modSp mod">
        <pc:chgData name="Sindija Kirsteine (LV)" userId="5f25501a-2215-4bb3-9d9c-8d1484ffa7c1" providerId="ADAL" clId="{AD634740-2A4A-4DBA-91EE-B286EB63FCB7}" dt="2024-06-05T08:30:28.354" v="689"/>
        <pc:sldMkLst>
          <pc:docMk/>
          <pc:sldMk cId="4049782693" sldId="2147481949"/>
        </pc:sldMkLst>
        <pc:spChg chg="add mod">
          <ac:chgData name="Sindija Kirsteine (LV)" userId="5f25501a-2215-4bb3-9d9c-8d1484ffa7c1" providerId="ADAL" clId="{AD634740-2A4A-4DBA-91EE-B286EB63FCB7}" dt="2024-06-05T08:23:40.258" v="468"/>
          <ac:spMkLst>
            <pc:docMk/>
            <pc:sldMk cId="4049782693" sldId="2147481949"/>
            <ac:spMk id="5" creationId="{086D1611-A8EB-5349-ECAA-820ED5B230C5}"/>
          </ac:spMkLst>
        </pc:spChg>
        <pc:spChg chg="add del mod">
          <ac:chgData name="Sindija Kirsteine (LV)" userId="5f25501a-2215-4bb3-9d9c-8d1484ffa7c1" providerId="ADAL" clId="{AD634740-2A4A-4DBA-91EE-B286EB63FCB7}" dt="2024-06-05T08:23:50.299" v="477" actId="478"/>
          <ac:spMkLst>
            <pc:docMk/>
            <pc:sldMk cId="4049782693" sldId="2147481949"/>
            <ac:spMk id="16" creationId="{9C90B435-2F60-CDED-3194-A30AA0E1330A}"/>
          </ac:spMkLst>
        </pc:spChg>
        <pc:spChg chg="mod">
          <ac:chgData name="Sindija Kirsteine (LV)" userId="5f25501a-2215-4bb3-9d9c-8d1484ffa7c1" providerId="ADAL" clId="{AD634740-2A4A-4DBA-91EE-B286EB63FCB7}" dt="2024-06-05T08:30:28.354" v="689"/>
          <ac:spMkLst>
            <pc:docMk/>
            <pc:sldMk cId="4049782693" sldId="2147481949"/>
            <ac:spMk id="25" creationId="{674F2D05-B6A3-CC6B-2409-C5C1D3E4F8CD}"/>
          </ac:spMkLst>
        </pc:spChg>
        <pc:spChg chg="mod">
          <ac:chgData name="Sindija Kirsteine (LV)" userId="5f25501a-2215-4bb3-9d9c-8d1484ffa7c1" providerId="ADAL" clId="{AD634740-2A4A-4DBA-91EE-B286EB63FCB7}" dt="2024-06-05T08:30:28.354" v="689"/>
          <ac:spMkLst>
            <pc:docMk/>
            <pc:sldMk cId="4049782693" sldId="2147481949"/>
            <ac:spMk id="26" creationId="{290EA11C-049D-F9FE-4F1F-145883813511}"/>
          </ac:spMkLst>
        </pc:spChg>
        <pc:spChg chg="mod">
          <ac:chgData name="Sindija Kirsteine (LV)" userId="5f25501a-2215-4bb3-9d9c-8d1484ffa7c1" providerId="ADAL" clId="{AD634740-2A4A-4DBA-91EE-B286EB63FCB7}" dt="2024-06-05T08:30:28.354" v="689"/>
          <ac:spMkLst>
            <pc:docMk/>
            <pc:sldMk cId="4049782693" sldId="2147481949"/>
            <ac:spMk id="27" creationId="{D9B3C0F6-1B30-61DE-9FE3-E455D48BA779}"/>
          </ac:spMkLst>
        </pc:spChg>
        <pc:spChg chg="del">
          <ac:chgData name="Sindija Kirsteine (LV)" userId="5f25501a-2215-4bb3-9d9c-8d1484ffa7c1" providerId="ADAL" clId="{AD634740-2A4A-4DBA-91EE-B286EB63FCB7}" dt="2024-06-05T08:23:35.829" v="465" actId="478"/>
          <ac:spMkLst>
            <pc:docMk/>
            <pc:sldMk cId="4049782693" sldId="2147481949"/>
            <ac:spMk id="30" creationId="{94F02BAD-C011-14FA-CB63-CD79B45B8FA1}"/>
          </ac:spMkLst>
        </pc:spChg>
        <pc:spChg chg="mod">
          <ac:chgData name="Sindija Kirsteine (LV)" userId="5f25501a-2215-4bb3-9d9c-8d1484ffa7c1" providerId="ADAL" clId="{AD634740-2A4A-4DBA-91EE-B286EB63FCB7}" dt="2024-06-05T08:30:28.354" v="689"/>
          <ac:spMkLst>
            <pc:docMk/>
            <pc:sldMk cId="4049782693" sldId="2147481949"/>
            <ac:spMk id="31" creationId="{1F923310-D545-8319-5288-1680450C02DE}"/>
          </ac:spMkLst>
        </pc:spChg>
        <pc:spChg chg="mod">
          <ac:chgData name="Sindija Kirsteine (LV)" userId="5f25501a-2215-4bb3-9d9c-8d1484ffa7c1" providerId="ADAL" clId="{AD634740-2A4A-4DBA-91EE-B286EB63FCB7}" dt="2024-06-05T08:30:28.354" v="689"/>
          <ac:spMkLst>
            <pc:docMk/>
            <pc:sldMk cId="4049782693" sldId="2147481949"/>
            <ac:spMk id="33" creationId="{B9FCA090-869A-47F5-59D5-AA20264B0C19}"/>
          </ac:spMkLst>
        </pc:spChg>
        <pc:spChg chg="mod">
          <ac:chgData name="Sindija Kirsteine (LV)" userId="5f25501a-2215-4bb3-9d9c-8d1484ffa7c1" providerId="ADAL" clId="{AD634740-2A4A-4DBA-91EE-B286EB63FCB7}" dt="2024-06-05T08:30:28.354" v="689"/>
          <ac:spMkLst>
            <pc:docMk/>
            <pc:sldMk cId="4049782693" sldId="2147481949"/>
            <ac:spMk id="35" creationId="{5B529734-B5BA-6E26-A804-12A9AC166493}"/>
          </ac:spMkLst>
        </pc:spChg>
        <pc:spChg chg="mod">
          <ac:chgData name="Sindija Kirsteine (LV)" userId="5f25501a-2215-4bb3-9d9c-8d1484ffa7c1" providerId="ADAL" clId="{AD634740-2A4A-4DBA-91EE-B286EB63FCB7}" dt="2024-06-05T08:30:28.354" v="689"/>
          <ac:spMkLst>
            <pc:docMk/>
            <pc:sldMk cId="4049782693" sldId="2147481949"/>
            <ac:spMk id="36" creationId="{46287023-D696-139E-C219-8B96FCC85674}"/>
          </ac:spMkLst>
        </pc:spChg>
        <pc:grpChg chg="del">
          <ac:chgData name="Sindija Kirsteine (LV)" userId="5f25501a-2215-4bb3-9d9c-8d1484ffa7c1" providerId="ADAL" clId="{AD634740-2A4A-4DBA-91EE-B286EB63FCB7}" dt="2024-06-05T08:30:28.020" v="688" actId="478"/>
          <ac:grpSpMkLst>
            <pc:docMk/>
            <pc:sldMk cId="4049782693" sldId="2147481949"/>
            <ac:grpSpMk id="3" creationId="{3CA58EFA-0951-16FA-5E95-F38DD5ECB8C7}"/>
          </ac:grpSpMkLst>
        </pc:grpChg>
        <pc:grpChg chg="add mod">
          <ac:chgData name="Sindija Kirsteine (LV)" userId="5f25501a-2215-4bb3-9d9c-8d1484ffa7c1" providerId="ADAL" clId="{AD634740-2A4A-4DBA-91EE-B286EB63FCB7}" dt="2024-06-05T08:30:28.354" v="689"/>
          <ac:grpSpMkLst>
            <pc:docMk/>
            <pc:sldMk cId="4049782693" sldId="2147481949"/>
            <ac:grpSpMk id="21" creationId="{E89CF5C6-105E-175F-BDEF-9177B2CAFA55}"/>
          </ac:grpSpMkLst>
        </pc:grpChg>
      </pc:sldChg>
      <pc:sldChg chg="addSp delSp modSp mod">
        <pc:chgData name="Sindija Kirsteine (LV)" userId="5f25501a-2215-4bb3-9d9c-8d1484ffa7c1" providerId="ADAL" clId="{AD634740-2A4A-4DBA-91EE-B286EB63FCB7}" dt="2024-06-05T08:30:37.264" v="695"/>
        <pc:sldMkLst>
          <pc:docMk/>
          <pc:sldMk cId="3702537864" sldId="2147481950"/>
        </pc:sldMkLst>
        <pc:spChg chg="mod">
          <ac:chgData name="Sindija Kirsteine (LV)" userId="5f25501a-2215-4bb3-9d9c-8d1484ffa7c1" providerId="ADAL" clId="{AD634740-2A4A-4DBA-91EE-B286EB63FCB7}" dt="2024-06-05T08:23:56.641" v="481"/>
          <ac:spMkLst>
            <pc:docMk/>
            <pc:sldMk cId="3702537864" sldId="2147481950"/>
            <ac:spMk id="2" creationId="{189AAD48-35FC-8847-29DA-E65F60AECE6B}"/>
          </ac:spMkLst>
        </pc:spChg>
        <pc:spChg chg="mod">
          <ac:chgData name="Sindija Kirsteine (LV)" userId="5f25501a-2215-4bb3-9d9c-8d1484ffa7c1" providerId="ADAL" clId="{AD634740-2A4A-4DBA-91EE-B286EB63FCB7}" dt="2024-06-05T08:30:37.264" v="695"/>
          <ac:spMkLst>
            <pc:docMk/>
            <pc:sldMk cId="3702537864" sldId="2147481950"/>
            <ac:spMk id="14" creationId="{04DCAB81-18CC-A0FC-C584-9A593A7C5C44}"/>
          </ac:spMkLst>
        </pc:spChg>
        <pc:spChg chg="mod">
          <ac:chgData name="Sindija Kirsteine (LV)" userId="5f25501a-2215-4bb3-9d9c-8d1484ffa7c1" providerId="ADAL" clId="{AD634740-2A4A-4DBA-91EE-B286EB63FCB7}" dt="2024-06-05T08:30:37.264" v="695"/>
          <ac:spMkLst>
            <pc:docMk/>
            <pc:sldMk cId="3702537864" sldId="2147481950"/>
            <ac:spMk id="38" creationId="{CC445A7E-5C8E-536F-41D1-17FA04C641BC}"/>
          </ac:spMkLst>
        </pc:spChg>
        <pc:spChg chg="mod">
          <ac:chgData name="Sindija Kirsteine (LV)" userId="5f25501a-2215-4bb3-9d9c-8d1484ffa7c1" providerId="ADAL" clId="{AD634740-2A4A-4DBA-91EE-B286EB63FCB7}" dt="2024-06-05T08:30:37.264" v="695"/>
          <ac:spMkLst>
            <pc:docMk/>
            <pc:sldMk cId="3702537864" sldId="2147481950"/>
            <ac:spMk id="39" creationId="{BC677AA1-4592-C783-C1C6-2D67D419CCF1}"/>
          </ac:spMkLst>
        </pc:spChg>
        <pc:spChg chg="mod">
          <ac:chgData name="Sindija Kirsteine (LV)" userId="5f25501a-2215-4bb3-9d9c-8d1484ffa7c1" providerId="ADAL" clId="{AD634740-2A4A-4DBA-91EE-B286EB63FCB7}" dt="2024-06-05T08:30:37.264" v="695"/>
          <ac:spMkLst>
            <pc:docMk/>
            <pc:sldMk cId="3702537864" sldId="2147481950"/>
            <ac:spMk id="40" creationId="{4A3CE580-A674-089C-C8E9-045EF61BD2E0}"/>
          </ac:spMkLst>
        </pc:spChg>
        <pc:spChg chg="mod">
          <ac:chgData name="Sindija Kirsteine (LV)" userId="5f25501a-2215-4bb3-9d9c-8d1484ffa7c1" providerId="ADAL" clId="{AD634740-2A4A-4DBA-91EE-B286EB63FCB7}" dt="2024-06-05T08:30:37.264" v="695"/>
          <ac:spMkLst>
            <pc:docMk/>
            <pc:sldMk cId="3702537864" sldId="2147481950"/>
            <ac:spMk id="41" creationId="{5EBC568A-B347-F613-8C17-FF8DB959786C}"/>
          </ac:spMkLst>
        </pc:spChg>
        <pc:spChg chg="mod">
          <ac:chgData name="Sindija Kirsteine (LV)" userId="5f25501a-2215-4bb3-9d9c-8d1484ffa7c1" providerId="ADAL" clId="{AD634740-2A4A-4DBA-91EE-B286EB63FCB7}" dt="2024-06-05T08:30:37.264" v="695"/>
          <ac:spMkLst>
            <pc:docMk/>
            <pc:sldMk cId="3702537864" sldId="2147481950"/>
            <ac:spMk id="42" creationId="{F8D1E487-CDFF-BFEB-C1C0-47DB2DCD0DA8}"/>
          </ac:spMkLst>
        </pc:spChg>
        <pc:spChg chg="mod">
          <ac:chgData name="Sindija Kirsteine (LV)" userId="5f25501a-2215-4bb3-9d9c-8d1484ffa7c1" providerId="ADAL" clId="{AD634740-2A4A-4DBA-91EE-B286EB63FCB7}" dt="2024-06-05T08:30:37.264" v="695"/>
          <ac:spMkLst>
            <pc:docMk/>
            <pc:sldMk cId="3702537864" sldId="2147481950"/>
            <ac:spMk id="43" creationId="{F1616DD2-695C-A6F5-54FF-4957C5B03215}"/>
          </ac:spMkLst>
        </pc:spChg>
        <pc:grpChg chg="del">
          <ac:chgData name="Sindija Kirsteine (LV)" userId="5f25501a-2215-4bb3-9d9c-8d1484ffa7c1" providerId="ADAL" clId="{AD634740-2A4A-4DBA-91EE-B286EB63FCB7}" dt="2024-06-05T08:30:36.785" v="694" actId="478"/>
          <ac:grpSpMkLst>
            <pc:docMk/>
            <pc:sldMk cId="3702537864" sldId="2147481950"/>
            <ac:grpSpMk id="3" creationId="{FF4FF9D5-1230-AE1A-3D50-D89ADD47BD04}"/>
          </ac:grpSpMkLst>
        </pc:grpChg>
        <pc:grpChg chg="add mod">
          <ac:chgData name="Sindija Kirsteine (LV)" userId="5f25501a-2215-4bb3-9d9c-8d1484ffa7c1" providerId="ADAL" clId="{AD634740-2A4A-4DBA-91EE-B286EB63FCB7}" dt="2024-06-05T08:30:37.264" v="695"/>
          <ac:grpSpMkLst>
            <pc:docMk/>
            <pc:sldMk cId="3702537864" sldId="2147481950"/>
            <ac:grpSpMk id="13" creationId="{DD6B9F2D-C80C-4589-88C5-CEB86E67838B}"/>
          </ac:grpSpMkLst>
        </pc:grpChg>
      </pc:sldChg>
      <pc:sldChg chg="addSp delSp modSp mod">
        <pc:chgData name="Sindija Kirsteine (LV)" userId="5f25501a-2215-4bb3-9d9c-8d1484ffa7c1" providerId="ADAL" clId="{AD634740-2A4A-4DBA-91EE-B286EB63FCB7}" dt="2024-06-07T08:43:48.812" v="1523" actId="207"/>
        <pc:sldMkLst>
          <pc:docMk/>
          <pc:sldMk cId="3939567711" sldId="2147481951"/>
        </pc:sldMkLst>
        <pc:spChg chg="mod">
          <ac:chgData name="Sindija Kirsteine (LV)" userId="5f25501a-2215-4bb3-9d9c-8d1484ffa7c1" providerId="ADAL" clId="{AD634740-2A4A-4DBA-91EE-B286EB63FCB7}" dt="2024-06-05T08:23:58.896" v="483"/>
          <ac:spMkLst>
            <pc:docMk/>
            <pc:sldMk cId="3939567711" sldId="2147481951"/>
            <ac:spMk id="3" creationId="{983E351E-2C66-EA47-8CE4-9A865EEAF3D4}"/>
          </ac:spMkLst>
        </pc:spChg>
        <pc:spChg chg="add mod">
          <ac:chgData name="Sindija Kirsteine (LV)" userId="5f25501a-2215-4bb3-9d9c-8d1484ffa7c1" providerId="ADAL" clId="{AD634740-2A4A-4DBA-91EE-B286EB63FCB7}" dt="2024-06-07T08:43:48.812" v="1523" actId="207"/>
          <ac:spMkLst>
            <pc:docMk/>
            <pc:sldMk cId="3939567711" sldId="2147481951"/>
            <ac:spMk id="5" creationId="{8F5E4F9B-4FD0-1DD2-57B2-599862CD76E9}"/>
          </ac:spMkLst>
        </pc:spChg>
        <pc:spChg chg="mod">
          <ac:chgData name="Sindija Kirsteine (LV)" userId="5f25501a-2215-4bb3-9d9c-8d1484ffa7c1" providerId="ADAL" clId="{AD634740-2A4A-4DBA-91EE-B286EB63FCB7}" dt="2024-06-05T08:30:40.549" v="698"/>
          <ac:spMkLst>
            <pc:docMk/>
            <pc:sldMk cId="3939567711" sldId="2147481951"/>
            <ac:spMk id="14" creationId="{C1DC01DA-6C14-5DDB-CD74-2CA751569FDD}"/>
          </ac:spMkLst>
        </pc:spChg>
        <pc:spChg chg="mod">
          <ac:chgData name="Sindija Kirsteine (LV)" userId="5f25501a-2215-4bb3-9d9c-8d1484ffa7c1" providerId="ADAL" clId="{AD634740-2A4A-4DBA-91EE-B286EB63FCB7}" dt="2024-06-05T08:30:40.549" v="698"/>
          <ac:spMkLst>
            <pc:docMk/>
            <pc:sldMk cId="3939567711" sldId="2147481951"/>
            <ac:spMk id="17" creationId="{7F9A24B5-A8AC-0701-316C-894094447731}"/>
          </ac:spMkLst>
        </pc:spChg>
        <pc:spChg chg="mod">
          <ac:chgData name="Sindija Kirsteine (LV)" userId="5f25501a-2215-4bb3-9d9c-8d1484ffa7c1" providerId="ADAL" clId="{AD634740-2A4A-4DBA-91EE-B286EB63FCB7}" dt="2024-06-05T08:30:40.549" v="698"/>
          <ac:spMkLst>
            <pc:docMk/>
            <pc:sldMk cId="3939567711" sldId="2147481951"/>
            <ac:spMk id="18" creationId="{C5C0E238-80CA-D6F9-EA4A-3B2DF82EA893}"/>
          </ac:spMkLst>
        </pc:spChg>
        <pc:spChg chg="mod">
          <ac:chgData name="Sindija Kirsteine (LV)" userId="5f25501a-2215-4bb3-9d9c-8d1484ffa7c1" providerId="ADAL" clId="{AD634740-2A4A-4DBA-91EE-B286EB63FCB7}" dt="2024-06-05T08:30:40.549" v="698"/>
          <ac:spMkLst>
            <pc:docMk/>
            <pc:sldMk cId="3939567711" sldId="2147481951"/>
            <ac:spMk id="19" creationId="{AFACE55E-A49F-978B-84A6-AC034F0126A0}"/>
          </ac:spMkLst>
        </pc:spChg>
        <pc:spChg chg="mod">
          <ac:chgData name="Sindija Kirsteine (LV)" userId="5f25501a-2215-4bb3-9d9c-8d1484ffa7c1" providerId="ADAL" clId="{AD634740-2A4A-4DBA-91EE-B286EB63FCB7}" dt="2024-06-05T08:30:40.549" v="698"/>
          <ac:spMkLst>
            <pc:docMk/>
            <pc:sldMk cId="3939567711" sldId="2147481951"/>
            <ac:spMk id="20" creationId="{E53225E4-7BF7-FBA2-F5DA-8131FCE70848}"/>
          </ac:spMkLst>
        </pc:spChg>
        <pc:spChg chg="mod">
          <ac:chgData name="Sindija Kirsteine (LV)" userId="5f25501a-2215-4bb3-9d9c-8d1484ffa7c1" providerId="ADAL" clId="{AD634740-2A4A-4DBA-91EE-B286EB63FCB7}" dt="2024-06-05T08:30:40.549" v="698"/>
          <ac:spMkLst>
            <pc:docMk/>
            <pc:sldMk cId="3939567711" sldId="2147481951"/>
            <ac:spMk id="21" creationId="{686F80B0-611C-E2ED-4CEE-A382939B0A11}"/>
          </ac:spMkLst>
        </pc:spChg>
        <pc:spChg chg="mod">
          <ac:chgData name="Sindija Kirsteine (LV)" userId="5f25501a-2215-4bb3-9d9c-8d1484ffa7c1" providerId="ADAL" clId="{AD634740-2A4A-4DBA-91EE-B286EB63FCB7}" dt="2024-06-05T08:30:40.549" v="698"/>
          <ac:spMkLst>
            <pc:docMk/>
            <pc:sldMk cId="3939567711" sldId="2147481951"/>
            <ac:spMk id="22" creationId="{45BC77F0-F155-13E9-EF1E-BA25B7FBE7BE}"/>
          </ac:spMkLst>
        </pc:spChg>
        <pc:spChg chg="mod">
          <ac:chgData name="Sindija Kirsteine (LV)" userId="5f25501a-2215-4bb3-9d9c-8d1484ffa7c1" providerId="ADAL" clId="{AD634740-2A4A-4DBA-91EE-B286EB63FCB7}" dt="2024-06-07T08:43:31.675" v="1502" actId="20577"/>
          <ac:spMkLst>
            <pc:docMk/>
            <pc:sldMk cId="3939567711" sldId="2147481951"/>
            <ac:spMk id="51" creationId="{2F6DC4B8-9940-E974-DFE7-A68FEC09CF64}"/>
          </ac:spMkLst>
        </pc:spChg>
        <pc:spChg chg="mod">
          <ac:chgData name="Sindija Kirsteine (LV)" userId="5f25501a-2215-4bb3-9d9c-8d1484ffa7c1" providerId="ADAL" clId="{AD634740-2A4A-4DBA-91EE-B286EB63FCB7}" dt="2024-06-07T08:42:36.068" v="1434" actId="20577"/>
          <ac:spMkLst>
            <pc:docMk/>
            <pc:sldMk cId="3939567711" sldId="2147481951"/>
            <ac:spMk id="52" creationId="{754EAF21-8364-40B5-103F-C971798338FA}"/>
          </ac:spMkLst>
        </pc:spChg>
        <pc:spChg chg="mod">
          <ac:chgData name="Sindija Kirsteine (LV)" userId="5f25501a-2215-4bb3-9d9c-8d1484ffa7c1" providerId="ADAL" clId="{AD634740-2A4A-4DBA-91EE-B286EB63FCB7}" dt="2024-06-07T08:41:57.254" v="1327" actId="20577"/>
          <ac:spMkLst>
            <pc:docMk/>
            <pc:sldMk cId="3939567711" sldId="2147481951"/>
            <ac:spMk id="53" creationId="{6E6AD103-92DC-77F5-2DD7-C9640CA704CA}"/>
          </ac:spMkLst>
        </pc:spChg>
        <pc:spChg chg="mod">
          <ac:chgData name="Sindija Kirsteine (LV)" userId="5f25501a-2215-4bb3-9d9c-8d1484ffa7c1" providerId="ADAL" clId="{AD634740-2A4A-4DBA-91EE-B286EB63FCB7}" dt="2024-06-07T08:41:31.916" v="1292" actId="20577"/>
          <ac:spMkLst>
            <pc:docMk/>
            <pc:sldMk cId="3939567711" sldId="2147481951"/>
            <ac:spMk id="54" creationId="{4CD0B799-859D-8D06-4ACC-37DFFC5D70E2}"/>
          </ac:spMkLst>
        </pc:spChg>
        <pc:spChg chg="mod">
          <ac:chgData name="Sindija Kirsteine (LV)" userId="5f25501a-2215-4bb3-9d9c-8d1484ffa7c1" providerId="ADAL" clId="{AD634740-2A4A-4DBA-91EE-B286EB63FCB7}" dt="2024-06-07T08:42:16.450" v="1389" actId="1035"/>
          <ac:spMkLst>
            <pc:docMk/>
            <pc:sldMk cId="3939567711" sldId="2147481951"/>
            <ac:spMk id="62" creationId="{5FAADB15-4E21-3C09-8DC6-C494DF454908}"/>
          </ac:spMkLst>
        </pc:spChg>
        <pc:grpChg chg="del">
          <ac:chgData name="Sindija Kirsteine (LV)" userId="5f25501a-2215-4bb3-9d9c-8d1484ffa7c1" providerId="ADAL" clId="{AD634740-2A4A-4DBA-91EE-B286EB63FCB7}" dt="2024-06-05T08:30:40.326" v="697" actId="478"/>
          <ac:grpSpMkLst>
            <pc:docMk/>
            <pc:sldMk cId="3939567711" sldId="2147481951"/>
            <ac:grpSpMk id="5" creationId="{7541A2C4-9A92-D2F4-E0F1-AF589F8D685F}"/>
          </ac:grpSpMkLst>
        </pc:grpChg>
        <pc:grpChg chg="add mod">
          <ac:chgData name="Sindija Kirsteine (LV)" userId="5f25501a-2215-4bb3-9d9c-8d1484ffa7c1" providerId="ADAL" clId="{AD634740-2A4A-4DBA-91EE-B286EB63FCB7}" dt="2024-06-05T08:30:40.549" v="698"/>
          <ac:grpSpMkLst>
            <pc:docMk/>
            <pc:sldMk cId="3939567711" sldId="2147481951"/>
            <ac:grpSpMk id="13" creationId="{0F421062-B37E-BE00-D345-8B9853B48463}"/>
          </ac:grpSpMkLst>
        </pc:grpChg>
      </pc:sldChg>
      <pc:sldChg chg="addSp delSp modSp mod delCm">
        <pc:chgData name="Sindija Kirsteine (LV)" userId="5f25501a-2215-4bb3-9d9c-8d1484ffa7c1" providerId="ADAL" clId="{AD634740-2A4A-4DBA-91EE-B286EB63FCB7}" dt="2024-06-07T15:05:34.884" v="2579" actId="14100"/>
        <pc:sldMkLst>
          <pc:docMk/>
          <pc:sldMk cId="8764514" sldId="2147481952"/>
        </pc:sldMkLst>
        <pc:spChg chg="del mod">
          <ac:chgData name="Sindija Kirsteine (LV)" userId="5f25501a-2215-4bb3-9d9c-8d1484ffa7c1" providerId="ADAL" clId="{AD634740-2A4A-4DBA-91EE-B286EB63FCB7}" dt="2024-06-07T08:46:13.850" v="1825" actId="478"/>
          <ac:spMkLst>
            <pc:docMk/>
            <pc:sldMk cId="8764514" sldId="2147481952"/>
            <ac:spMk id="4" creationId="{3468B703-BD03-9754-497D-AD6AB7B72F60}"/>
          </ac:spMkLst>
        </pc:spChg>
        <pc:spChg chg="add del mod">
          <ac:chgData name="Sindija Kirsteine (LV)" userId="5f25501a-2215-4bb3-9d9c-8d1484ffa7c1" providerId="ADAL" clId="{AD634740-2A4A-4DBA-91EE-B286EB63FCB7}" dt="2024-06-05T07:31:04.078" v="153" actId="21"/>
          <ac:spMkLst>
            <pc:docMk/>
            <pc:sldMk cId="8764514" sldId="2147481952"/>
            <ac:spMk id="4" creationId="{8DEF8C05-648B-CC66-75B0-FEF49018A8CD}"/>
          </ac:spMkLst>
        </pc:spChg>
        <pc:spChg chg="add mod">
          <ac:chgData name="Sindija Kirsteine (LV)" userId="5f25501a-2215-4bb3-9d9c-8d1484ffa7c1" providerId="ADAL" clId="{AD634740-2A4A-4DBA-91EE-B286EB63FCB7}" dt="2024-06-05T08:24:13.800" v="489"/>
          <ac:spMkLst>
            <pc:docMk/>
            <pc:sldMk cId="8764514" sldId="2147481952"/>
            <ac:spMk id="5" creationId="{1B10FEC7-6A45-474C-48BE-8DDF8ECED47A}"/>
          </ac:spMkLst>
        </pc:spChg>
        <pc:spChg chg="add mod">
          <ac:chgData name="Sindija Kirsteine (LV)" userId="5f25501a-2215-4bb3-9d9c-8d1484ffa7c1" providerId="ADAL" clId="{AD634740-2A4A-4DBA-91EE-B286EB63FCB7}" dt="2024-06-07T15:05:34.884" v="2579" actId="14100"/>
          <ac:spMkLst>
            <pc:docMk/>
            <pc:sldMk cId="8764514" sldId="2147481952"/>
            <ac:spMk id="6" creationId="{9E46D0B5-F361-0943-4454-3E5586C21CCA}"/>
          </ac:spMkLst>
        </pc:spChg>
        <pc:spChg chg="mod">
          <ac:chgData name="Sindija Kirsteine (LV)" userId="5f25501a-2215-4bb3-9d9c-8d1484ffa7c1" providerId="ADAL" clId="{AD634740-2A4A-4DBA-91EE-B286EB63FCB7}" dt="2024-06-05T08:24:21.221" v="496"/>
          <ac:spMkLst>
            <pc:docMk/>
            <pc:sldMk cId="8764514" sldId="2147481952"/>
            <ac:spMk id="7" creationId="{C7A7CF2B-5920-69CF-8519-50C064F1D247}"/>
          </ac:spMkLst>
        </pc:spChg>
        <pc:spChg chg="mod">
          <ac:chgData name="Sindija Kirsteine (LV)" userId="5f25501a-2215-4bb3-9d9c-8d1484ffa7c1" providerId="ADAL" clId="{AD634740-2A4A-4DBA-91EE-B286EB63FCB7}" dt="2024-06-05T08:24:21.221" v="496"/>
          <ac:spMkLst>
            <pc:docMk/>
            <pc:sldMk cId="8764514" sldId="2147481952"/>
            <ac:spMk id="8" creationId="{EAB1707F-35AD-D2BB-A92D-E1A381695F6D}"/>
          </ac:spMkLst>
        </pc:spChg>
        <pc:spChg chg="mod">
          <ac:chgData name="Sindija Kirsteine (LV)" userId="5f25501a-2215-4bb3-9d9c-8d1484ffa7c1" providerId="ADAL" clId="{AD634740-2A4A-4DBA-91EE-B286EB63FCB7}" dt="2024-06-07T08:44:27.569" v="1584" actId="20577"/>
          <ac:spMkLst>
            <pc:docMk/>
            <pc:sldMk cId="8764514" sldId="2147481952"/>
            <ac:spMk id="9" creationId="{E60771D5-36B1-5846-E0FD-EE10BA67E143}"/>
          </ac:spMkLst>
        </pc:spChg>
        <pc:spChg chg="mod">
          <ac:chgData name="Sindija Kirsteine (LV)" userId="5f25501a-2215-4bb3-9d9c-8d1484ffa7c1" providerId="ADAL" clId="{AD634740-2A4A-4DBA-91EE-B286EB63FCB7}" dt="2024-06-07T08:44:20.627" v="1555" actId="20577"/>
          <ac:spMkLst>
            <pc:docMk/>
            <pc:sldMk cId="8764514" sldId="2147481952"/>
            <ac:spMk id="10" creationId="{0E3AF958-70C4-357F-D986-53A75E5CF63B}"/>
          </ac:spMkLst>
        </pc:spChg>
        <pc:spChg chg="mod">
          <ac:chgData name="Sindija Kirsteine (LV)" userId="5f25501a-2215-4bb3-9d9c-8d1484ffa7c1" providerId="ADAL" clId="{AD634740-2A4A-4DBA-91EE-B286EB63FCB7}" dt="2024-06-05T08:24:21.221" v="496"/>
          <ac:spMkLst>
            <pc:docMk/>
            <pc:sldMk cId="8764514" sldId="2147481952"/>
            <ac:spMk id="13" creationId="{678F311D-28D0-4D4A-E504-270DE6C4602F}"/>
          </ac:spMkLst>
        </pc:spChg>
        <pc:spChg chg="mod">
          <ac:chgData name="Sindija Kirsteine (LV)" userId="5f25501a-2215-4bb3-9d9c-8d1484ffa7c1" providerId="ADAL" clId="{AD634740-2A4A-4DBA-91EE-B286EB63FCB7}" dt="2024-06-04T10:09:23.963" v="19" actId="20577"/>
          <ac:spMkLst>
            <pc:docMk/>
            <pc:sldMk cId="8764514" sldId="2147481952"/>
            <ac:spMk id="19" creationId="{3A07BD72-5576-53C1-BD24-E93959AEEC0C}"/>
          </ac:spMkLst>
        </pc:spChg>
        <pc:spChg chg="mod">
          <ac:chgData name="Sindija Kirsteine (LV)" userId="5f25501a-2215-4bb3-9d9c-8d1484ffa7c1" providerId="ADAL" clId="{AD634740-2A4A-4DBA-91EE-B286EB63FCB7}" dt="2024-06-05T08:24:21.221" v="496"/>
          <ac:spMkLst>
            <pc:docMk/>
            <pc:sldMk cId="8764514" sldId="2147481952"/>
            <ac:spMk id="21" creationId="{E63703D2-322B-E798-268D-C2C4614E529C}"/>
          </ac:spMkLst>
        </pc:spChg>
        <pc:spChg chg="mod">
          <ac:chgData name="Sindija Kirsteine (LV)" userId="5f25501a-2215-4bb3-9d9c-8d1484ffa7c1" providerId="ADAL" clId="{AD634740-2A4A-4DBA-91EE-B286EB63FCB7}" dt="2024-06-05T08:24:21.221" v="496"/>
          <ac:spMkLst>
            <pc:docMk/>
            <pc:sldMk cId="8764514" sldId="2147481952"/>
            <ac:spMk id="22" creationId="{F976C6C2-63F8-4508-16CA-EF411821EAB6}"/>
          </ac:spMkLst>
        </pc:spChg>
        <pc:spChg chg="mod">
          <ac:chgData name="Sindija Kirsteine (LV)" userId="5f25501a-2215-4bb3-9d9c-8d1484ffa7c1" providerId="ADAL" clId="{AD634740-2A4A-4DBA-91EE-B286EB63FCB7}" dt="2024-06-05T08:24:21.221" v="496"/>
          <ac:spMkLst>
            <pc:docMk/>
            <pc:sldMk cId="8764514" sldId="2147481952"/>
            <ac:spMk id="23" creationId="{218ADE53-3BDE-D2F3-07CB-515CADF54C28}"/>
          </ac:spMkLst>
        </pc:spChg>
        <pc:spChg chg="mod">
          <ac:chgData name="Sindija Kirsteine (LV)" userId="5f25501a-2215-4bb3-9d9c-8d1484ffa7c1" providerId="ADAL" clId="{AD634740-2A4A-4DBA-91EE-B286EB63FCB7}" dt="2024-06-05T08:24:21.221" v="496"/>
          <ac:spMkLst>
            <pc:docMk/>
            <pc:sldMk cId="8764514" sldId="2147481952"/>
            <ac:spMk id="24" creationId="{A3BDFCF8-898F-078D-E4F5-5E0F6526920F}"/>
          </ac:spMkLst>
        </pc:spChg>
        <pc:spChg chg="mod">
          <ac:chgData name="Sindija Kirsteine (LV)" userId="5f25501a-2215-4bb3-9d9c-8d1484ffa7c1" providerId="ADAL" clId="{AD634740-2A4A-4DBA-91EE-B286EB63FCB7}" dt="2024-06-05T08:30:45.144" v="701"/>
          <ac:spMkLst>
            <pc:docMk/>
            <pc:sldMk cId="8764514" sldId="2147481952"/>
            <ac:spMk id="26" creationId="{9B08BADD-0CDC-A3B3-F935-3392B2BCC31F}"/>
          </ac:spMkLst>
        </pc:spChg>
        <pc:spChg chg="mod">
          <ac:chgData name="Sindija Kirsteine (LV)" userId="5f25501a-2215-4bb3-9d9c-8d1484ffa7c1" providerId="ADAL" clId="{AD634740-2A4A-4DBA-91EE-B286EB63FCB7}" dt="2024-06-05T08:30:45.144" v="701"/>
          <ac:spMkLst>
            <pc:docMk/>
            <pc:sldMk cId="8764514" sldId="2147481952"/>
            <ac:spMk id="27" creationId="{3BC59A5C-0DE4-3472-B1E9-57B4B131969D}"/>
          </ac:spMkLst>
        </pc:spChg>
        <pc:spChg chg="mod">
          <ac:chgData name="Sindija Kirsteine (LV)" userId="5f25501a-2215-4bb3-9d9c-8d1484ffa7c1" providerId="ADAL" clId="{AD634740-2A4A-4DBA-91EE-B286EB63FCB7}" dt="2024-06-05T08:30:45.144" v="701"/>
          <ac:spMkLst>
            <pc:docMk/>
            <pc:sldMk cId="8764514" sldId="2147481952"/>
            <ac:spMk id="28" creationId="{A04BBDB3-FCDC-E647-C26E-F85F581F80A9}"/>
          </ac:spMkLst>
        </pc:spChg>
        <pc:spChg chg="mod">
          <ac:chgData name="Sindija Kirsteine (LV)" userId="5f25501a-2215-4bb3-9d9c-8d1484ffa7c1" providerId="ADAL" clId="{AD634740-2A4A-4DBA-91EE-B286EB63FCB7}" dt="2024-06-05T08:30:45.144" v="701"/>
          <ac:spMkLst>
            <pc:docMk/>
            <pc:sldMk cId="8764514" sldId="2147481952"/>
            <ac:spMk id="29" creationId="{22F6816D-B5F0-B283-71AC-59AA508FB67A}"/>
          </ac:spMkLst>
        </pc:spChg>
        <pc:spChg chg="mod">
          <ac:chgData name="Sindija Kirsteine (LV)" userId="5f25501a-2215-4bb3-9d9c-8d1484ffa7c1" providerId="ADAL" clId="{AD634740-2A4A-4DBA-91EE-B286EB63FCB7}" dt="2024-06-05T08:30:45.144" v="701"/>
          <ac:spMkLst>
            <pc:docMk/>
            <pc:sldMk cId="8764514" sldId="2147481952"/>
            <ac:spMk id="30" creationId="{CAA45E14-8401-2322-B58A-46286C85453B}"/>
          </ac:spMkLst>
        </pc:spChg>
        <pc:spChg chg="mod">
          <ac:chgData name="Sindija Kirsteine (LV)" userId="5f25501a-2215-4bb3-9d9c-8d1484ffa7c1" providerId="ADAL" clId="{AD634740-2A4A-4DBA-91EE-B286EB63FCB7}" dt="2024-06-05T08:30:45.144" v="701"/>
          <ac:spMkLst>
            <pc:docMk/>
            <pc:sldMk cId="8764514" sldId="2147481952"/>
            <ac:spMk id="31" creationId="{0C44ADA3-4B67-3104-9828-9190E57D9804}"/>
          </ac:spMkLst>
        </pc:spChg>
        <pc:spChg chg="mod">
          <ac:chgData name="Sindija Kirsteine (LV)" userId="5f25501a-2215-4bb3-9d9c-8d1484ffa7c1" providerId="ADAL" clId="{AD634740-2A4A-4DBA-91EE-B286EB63FCB7}" dt="2024-06-05T08:30:45.144" v="701"/>
          <ac:spMkLst>
            <pc:docMk/>
            <pc:sldMk cId="8764514" sldId="2147481952"/>
            <ac:spMk id="32" creationId="{9CBF9E74-966B-0AA4-5B3F-076F29765367}"/>
          </ac:spMkLst>
        </pc:spChg>
        <pc:grpChg chg="add del mod">
          <ac:chgData name="Sindija Kirsteine (LV)" userId="5f25501a-2215-4bb3-9d9c-8d1484ffa7c1" providerId="ADAL" clId="{AD634740-2A4A-4DBA-91EE-B286EB63FCB7}" dt="2024-06-05T08:30:44.860" v="700" actId="478"/>
          <ac:grpSpMkLst>
            <pc:docMk/>
            <pc:sldMk cId="8764514" sldId="2147481952"/>
            <ac:grpSpMk id="6" creationId="{E8B429C4-61F5-FE0C-D2BB-93E295150265}"/>
          </ac:grpSpMkLst>
        </pc:grpChg>
        <pc:grpChg chg="add mod">
          <ac:chgData name="Sindija Kirsteine (LV)" userId="5f25501a-2215-4bb3-9d9c-8d1484ffa7c1" providerId="ADAL" clId="{AD634740-2A4A-4DBA-91EE-B286EB63FCB7}" dt="2024-06-05T08:30:45.144" v="701"/>
          <ac:grpSpMkLst>
            <pc:docMk/>
            <pc:sldMk cId="8764514" sldId="2147481952"/>
            <ac:grpSpMk id="25" creationId="{48FFE816-4D00-428F-9877-278C6CE65D6B}"/>
          </ac:grpSpMkLst>
        </pc:grpChg>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AD634740-2A4A-4DBA-91EE-B286EB63FCB7}" dt="2024-06-07T08:49:37.885" v="1965"/>
              <pc2:cmMkLst xmlns:pc2="http://schemas.microsoft.com/office/powerpoint/2019/9/main/command">
                <pc:docMk/>
                <pc:sldMk cId="8764514" sldId="2147481952"/>
                <pc2:cmMk id="{A88F5E5A-8F7E-4686-800B-7EAC25B21044}"/>
              </pc2:cmMkLst>
            </pc226:cmChg>
            <pc226:cmChg xmlns:pc226="http://schemas.microsoft.com/office/powerpoint/2022/06/main/command" chg="del">
              <pc226:chgData name="Sindija Kirsteine (LV)" userId="5f25501a-2215-4bb3-9d9c-8d1484ffa7c1" providerId="ADAL" clId="{AD634740-2A4A-4DBA-91EE-B286EB63FCB7}" dt="2024-06-07T08:49:11.226" v="1964"/>
              <pc2:cmMkLst xmlns:pc2="http://schemas.microsoft.com/office/powerpoint/2019/9/main/command">
                <pc:docMk/>
                <pc:sldMk cId="8764514" sldId="2147481952"/>
                <pc2:cmMk id="{AD78A99D-FB63-453D-ABAC-80F29DC4DDB1}"/>
              </pc2:cmMkLst>
            </pc226:cmChg>
          </p:ext>
        </pc:extLst>
      </pc:sldChg>
      <pc:sldChg chg="addSp delSp modSp mod ord delCm modNotesTx">
        <pc:chgData name="Sindija Kirsteine (LV)" userId="5f25501a-2215-4bb3-9d9c-8d1484ffa7c1" providerId="ADAL" clId="{AD634740-2A4A-4DBA-91EE-B286EB63FCB7}" dt="2024-06-10T09:26:46.845" v="2845" actId="20577"/>
        <pc:sldMkLst>
          <pc:docMk/>
          <pc:sldMk cId="1261692589" sldId="2147481953"/>
        </pc:sldMkLst>
        <pc:spChg chg="mod">
          <ac:chgData name="Sindija Kirsteine (LV)" userId="5f25501a-2215-4bb3-9d9c-8d1484ffa7c1" providerId="ADAL" clId="{AD634740-2A4A-4DBA-91EE-B286EB63FCB7}" dt="2024-06-07T08:50:16.485" v="1992" actId="207"/>
          <ac:spMkLst>
            <pc:docMk/>
            <pc:sldMk cId="1261692589" sldId="2147481953"/>
            <ac:spMk id="2" creationId="{1A6103D8-B23D-68A9-5B86-59618E4C749F}"/>
          </ac:spMkLst>
        </pc:spChg>
        <pc:spChg chg="add mod">
          <ac:chgData name="Sindija Kirsteine (LV)" userId="5f25501a-2215-4bb3-9d9c-8d1484ffa7c1" providerId="ADAL" clId="{AD634740-2A4A-4DBA-91EE-B286EB63FCB7}" dt="2024-06-05T08:25:58.508" v="549"/>
          <ac:spMkLst>
            <pc:docMk/>
            <pc:sldMk cId="1261692589" sldId="2147481953"/>
            <ac:spMk id="6" creationId="{7F962AFD-D2AE-9235-F8E2-0CABE6A9A67C}"/>
          </ac:spMkLst>
        </pc:spChg>
        <pc:spChg chg="mod">
          <ac:chgData name="Sindija Kirsteine (LV)" userId="5f25501a-2215-4bb3-9d9c-8d1484ffa7c1" providerId="ADAL" clId="{AD634740-2A4A-4DBA-91EE-B286EB63FCB7}" dt="2024-06-05T08:26:02.972" v="552"/>
          <ac:spMkLst>
            <pc:docMk/>
            <pc:sldMk cId="1261692589" sldId="2147481953"/>
            <ac:spMk id="9" creationId="{AC7263C5-2DE7-499B-7ED4-97EC3DF9C19E}"/>
          </ac:spMkLst>
        </pc:spChg>
        <pc:spChg chg="mod">
          <ac:chgData name="Sindija Kirsteine (LV)" userId="5f25501a-2215-4bb3-9d9c-8d1484ffa7c1" providerId="ADAL" clId="{AD634740-2A4A-4DBA-91EE-B286EB63FCB7}" dt="2024-06-05T08:26:02.972" v="552"/>
          <ac:spMkLst>
            <pc:docMk/>
            <pc:sldMk cId="1261692589" sldId="2147481953"/>
            <ac:spMk id="10" creationId="{2E03E2B3-56FC-DEB2-4538-91D496C2A0C3}"/>
          </ac:spMkLst>
        </pc:spChg>
        <pc:spChg chg="mod">
          <ac:chgData name="Sindija Kirsteine (LV)" userId="5f25501a-2215-4bb3-9d9c-8d1484ffa7c1" providerId="ADAL" clId="{AD634740-2A4A-4DBA-91EE-B286EB63FCB7}" dt="2024-06-05T08:26:02.972" v="552"/>
          <ac:spMkLst>
            <pc:docMk/>
            <pc:sldMk cId="1261692589" sldId="2147481953"/>
            <ac:spMk id="12" creationId="{DEF33CE3-AD49-A3F6-CCF3-F9C42843D971}"/>
          </ac:spMkLst>
        </pc:spChg>
        <pc:spChg chg="mod">
          <ac:chgData name="Sindija Kirsteine (LV)" userId="5f25501a-2215-4bb3-9d9c-8d1484ffa7c1" providerId="ADAL" clId="{AD634740-2A4A-4DBA-91EE-B286EB63FCB7}" dt="2024-06-05T08:26:02.972" v="552"/>
          <ac:spMkLst>
            <pc:docMk/>
            <pc:sldMk cId="1261692589" sldId="2147481953"/>
            <ac:spMk id="13" creationId="{87CD06E5-E3B2-C90C-93A7-5D318AF5F546}"/>
          </ac:spMkLst>
        </pc:spChg>
        <pc:spChg chg="mod">
          <ac:chgData name="Sindija Kirsteine (LV)" userId="5f25501a-2215-4bb3-9d9c-8d1484ffa7c1" providerId="ADAL" clId="{AD634740-2A4A-4DBA-91EE-B286EB63FCB7}" dt="2024-06-05T08:26:02.972" v="552"/>
          <ac:spMkLst>
            <pc:docMk/>
            <pc:sldMk cId="1261692589" sldId="2147481953"/>
            <ac:spMk id="14" creationId="{79E4DDC3-611A-F086-5CF6-7A59ACA09B93}"/>
          </ac:spMkLst>
        </pc:spChg>
        <pc:spChg chg="mod">
          <ac:chgData name="Sindija Kirsteine (LV)" userId="5f25501a-2215-4bb3-9d9c-8d1484ffa7c1" providerId="ADAL" clId="{AD634740-2A4A-4DBA-91EE-B286EB63FCB7}" dt="2024-06-05T08:26:02.972" v="552"/>
          <ac:spMkLst>
            <pc:docMk/>
            <pc:sldMk cId="1261692589" sldId="2147481953"/>
            <ac:spMk id="15" creationId="{C0D1388F-F89F-D64D-259F-53A1BD6E487B}"/>
          </ac:spMkLst>
        </pc:spChg>
        <pc:spChg chg="mod">
          <ac:chgData name="Sindija Kirsteine (LV)" userId="5f25501a-2215-4bb3-9d9c-8d1484ffa7c1" providerId="ADAL" clId="{AD634740-2A4A-4DBA-91EE-B286EB63FCB7}" dt="2024-06-05T08:26:02.972" v="552"/>
          <ac:spMkLst>
            <pc:docMk/>
            <pc:sldMk cId="1261692589" sldId="2147481953"/>
            <ac:spMk id="19" creationId="{6A4A1F6E-8369-C8E2-7971-8BB5D564AA4F}"/>
          </ac:spMkLst>
        </pc:spChg>
        <pc:spChg chg="mod">
          <ac:chgData name="Sindija Kirsteine (LV)" userId="5f25501a-2215-4bb3-9d9c-8d1484ffa7c1" providerId="ADAL" clId="{AD634740-2A4A-4DBA-91EE-B286EB63FCB7}" dt="2024-06-05T08:36:24.344" v="892"/>
          <ac:spMkLst>
            <pc:docMk/>
            <pc:sldMk cId="1261692589" sldId="2147481953"/>
            <ac:spMk id="23" creationId="{1E2C0766-59D0-B5CA-00D4-72892E4722BA}"/>
          </ac:spMkLst>
        </pc:spChg>
        <pc:spChg chg="mod">
          <ac:chgData name="Sindija Kirsteine (LV)" userId="5f25501a-2215-4bb3-9d9c-8d1484ffa7c1" providerId="ADAL" clId="{AD634740-2A4A-4DBA-91EE-B286EB63FCB7}" dt="2024-06-05T08:36:24.344" v="892"/>
          <ac:spMkLst>
            <pc:docMk/>
            <pc:sldMk cId="1261692589" sldId="2147481953"/>
            <ac:spMk id="24" creationId="{FD1E0699-7B6C-5BF9-24B5-0286D87F7F0C}"/>
          </ac:spMkLst>
        </pc:spChg>
        <pc:spChg chg="mod">
          <ac:chgData name="Sindija Kirsteine (LV)" userId="5f25501a-2215-4bb3-9d9c-8d1484ffa7c1" providerId="ADAL" clId="{AD634740-2A4A-4DBA-91EE-B286EB63FCB7}" dt="2024-06-05T08:36:24.344" v="892"/>
          <ac:spMkLst>
            <pc:docMk/>
            <pc:sldMk cId="1261692589" sldId="2147481953"/>
            <ac:spMk id="25" creationId="{BE8D66F0-5178-413F-1F6D-BB1CC7B54BEA}"/>
          </ac:spMkLst>
        </pc:spChg>
        <pc:spChg chg="mod">
          <ac:chgData name="Sindija Kirsteine (LV)" userId="5f25501a-2215-4bb3-9d9c-8d1484ffa7c1" providerId="ADAL" clId="{AD634740-2A4A-4DBA-91EE-B286EB63FCB7}" dt="2024-06-05T08:36:24.344" v="892"/>
          <ac:spMkLst>
            <pc:docMk/>
            <pc:sldMk cId="1261692589" sldId="2147481953"/>
            <ac:spMk id="33" creationId="{5AADCA6B-6E39-D9BB-DF78-CAC623313160}"/>
          </ac:spMkLst>
        </pc:spChg>
        <pc:spChg chg="mod">
          <ac:chgData name="Sindija Kirsteine (LV)" userId="5f25501a-2215-4bb3-9d9c-8d1484ffa7c1" providerId="ADAL" clId="{AD634740-2A4A-4DBA-91EE-B286EB63FCB7}" dt="2024-06-05T08:36:24.344" v="892"/>
          <ac:spMkLst>
            <pc:docMk/>
            <pc:sldMk cId="1261692589" sldId="2147481953"/>
            <ac:spMk id="34" creationId="{C0F47930-853F-D9EF-48A7-1D6BACC41D29}"/>
          </ac:spMkLst>
        </pc:spChg>
        <pc:spChg chg="mod">
          <ac:chgData name="Sindija Kirsteine (LV)" userId="5f25501a-2215-4bb3-9d9c-8d1484ffa7c1" providerId="ADAL" clId="{AD634740-2A4A-4DBA-91EE-B286EB63FCB7}" dt="2024-06-05T08:36:24.344" v="892"/>
          <ac:spMkLst>
            <pc:docMk/>
            <pc:sldMk cId="1261692589" sldId="2147481953"/>
            <ac:spMk id="35" creationId="{EA2DB132-FBE2-839B-BDEB-B3AE49FC28A0}"/>
          </ac:spMkLst>
        </pc:spChg>
        <pc:spChg chg="mod">
          <ac:chgData name="Sindija Kirsteine (LV)" userId="5f25501a-2215-4bb3-9d9c-8d1484ffa7c1" providerId="ADAL" clId="{AD634740-2A4A-4DBA-91EE-B286EB63FCB7}" dt="2024-06-05T08:36:24.344" v="892"/>
          <ac:spMkLst>
            <pc:docMk/>
            <pc:sldMk cId="1261692589" sldId="2147481953"/>
            <ac:spMk id="36" creationId="{65BCD2B3-51BE-1F41-CA24-B886B1E789B7}"/>
          </ac:spMkLst>
        </pc:spChg>
        <pc:grpChg chg="add del mod">
          <ac:chgData name="Sindija Kirsteine (LV)" userId="5f25501a-2215-4bb3-9d9c-8d1484ffa7c1" providerId="ADAL" clId="{AD634740-2A4A-4DBA-91EE-B286EB63FCB7}" dt="2024-06-05T08:36:24.138" v="891" actId="478"/>
          <ac:grpSpMkLst>
            <pc:docMk/>
            <pc:sldMk cId="1261692589" sldId="2147481953"/>
            <ac:grpSpMk id="8" creationId="{6D392429-4539-82EB-2915-3AD67BE828CE}"/>
          </ac:grpSpMkLst>
        </pc:grpChg>
        <pc:grpChg chg="add mod">
          <ac:chgData name="Sindija Kirsteine (LV)" userId="5f25501a-2215-4bb3-9d9c-8d1484ffa7c1" providerId="ADAL" clId="{AD634740-2A4A-4DBA-91EE-B286EB63FCB7}" dt="2024-06-05T08:36:24.344" v="892"/>
          <ac:grpSpMkLst>
            <pc:docMk/>
            <pc:sldMk cId="1261692589" sldId="2147481953"/>
            <ac:grpSpMk id="22" creationId="{B9783007-E82C-FDC9-26A2-79C23C22898C}"/>
          </ac:grpSpMkLst>
        </pc:grpChg>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AD634740-2A4A-4DBA-91EE-B286EB63FCB7}" dt="2024-06-07T12:56:37.209" v="2298"/>
              <pc2:cmMkLst xmlns:pc2="http://schemas.microsoft.com/office/powerpoint/2019/9/main/command">
                <pc:docMk/>
                <pc:sldMk cId="1261692589" sldId="2147481953"/>
                <pc2:cmMk id="{A2BFB9A9-1955-4CE0-BF5C-BDDC69F82ED1}"/>
              </pc2:cmMkLst>
            </pc226:cmChg>
          </p:ext>
        </pc:extLst>
      </pc:sldChg>
      <pc:sldChg chg="addSp delSp modSp mod ord delCm">
        <pc:chgData name="Sindija Kirsteine (LV)" userId="5f25501a-2215-4bb3-9d9c-8d1484ffa7c1" providerId="ADAL" clId="{AD634740-2A4A-4DBA-91EE-B286EB63FCB7}" dt="2024-06-07T08:49:41.793" v="1967"/>
        <pc:sldMkLst>
          <pc:docMk/>
          <pc:sldMk cId="2037616446" sldId="2147481956"/>
        </pc:sldMkLst>
        <pc:spChg chg="add del mod">
          <ac:chgData name="Sindija Kirsteine (LV)" userId="5f25501a-2215-4bb3-9d9c-8d1484ffa7c1" providerId="ADAL" clId="{AD634740-2A4A-4DBA-91EE-B286EB63FCB7}" dt="2024-06-05T07:31:08.329" v="157" actId="478"/>
          <ac:spMkLst>
            <pc:docMk/>
            <pc:sldMk cId="2037616446" sldId="2147481956"/>
            <ac:spMk id="4" creationId="{D84C0E94-F72D-B5D3-6B7B-C7AF701D77EA}"/>
          </ac:spMkLst>
        </pc:spChg>
        <pc:spChg chg="mod">
          <ac:chgData name="Sindija Kirsteine (LV)" userId="5f25501a-2215-4bb3-9d9c-8d1484ffa7c1" providerId="ADAL" clId="{AD634740-2A4A-4DBA-91EE-B286EB63FCB7}" dt="2024-06-07T08:45:06.220" v="1700" actId="20577"/>
          <ac:spMkLst>
            <pc:docMk/>
            <pc:sldMk cId="2037616446" sldId="2147481956"/>
            <ac:spMk id="9" creationId="{E60771D5-36B1-5846-E0FD-EE10BA67E143}"/>
          </ac:spMkLst>
        </pc:spChg>
        <pc:spChg chg="mod">
          <ac:chgData name="Sindija Kirsteine (LV)" userId="5f25501a-2215-4bb3-9d9c-8d1484ffa7c1" providerId="ADAL" clId="{AD634740-2A4A-4DBA-91EE-B286EB63FCB7}" dt="2024-06-07T08:44:59.098" v="1669" actId="20577"/>
          <ac:spMkLst>
            <pc:docMk/>
            <pc:sldMk cId="2037616446" sldId="2147481956"/>
            <ac:spMk id="10" creationId="{0E3AF958-70C4-357F-D986-53A75E5CF63B}"/>
          </ac:spMkLst>
        </pc:spChg>
        <pc:spChg chg="add mod">
          <ac:chgData name="Sindija Kirsteine (LV)" userId="5f25501a-2215-4bb3-9d9c-8d1484ffa7c1" providerId="ADAL" clId="{AD634740-2A4A-4DBA-91EE-B286EB63FCB7}" dt="2024-06-07T08:46:04.852" v="1821" actId="1076"/>
          <ac:spMkLst>
            <pc:docMk/>
            <pc:sldMk cId="2037616446" sldId="2147481956"/>
            <ac:spMk id="14" creationId="{5B5D085A-3398-3BD7-B8AA-EE3669531778}"/>
          </ac:spMkLst>
        </pc:spChg>
        <pc:spChg chg="add mod">
          <ac:chgData name="Sindija Kirsteine (LV)" userId="5f25501a-2215-4bb3-9d9c-8d1484ffa7c1" providerId="ADAL" clId="{AD634740-2A4A-4DBA-91EE-B286EB63FCB7}" dt="2024-06-05T08:24:15.180" v="491"/>
          <ac:spMkLst>
            <pc:docMk/>
            <pc:sldMk cId="2037616446" sldId="2147481956"/>
            <ac:spMk id="15" creationId="{5B79C17C-666F-CB52-D0B3-705685972900}"/>
          </ac:spMkLst>
        </pc:spChg>
        <pc:spChg chg="mod">
          <ac:chgData name="Sindija Kirsteine (LV)" userId="5f25501a-2215-4bb3-9d9c-8d1484ffa7c1" providerId="ADAL" clId="{AD634740-2A4A-4DBA-91EE-B286EB63FCB7}" dt="2024-06-05T08:24:22.653" v="498"/>
          <ac:spMkLst>
            <pc:docMk/>
            <pc:sldMk cId="2037616446" sldId="2147481956"/>
            <ac:spMk id="17" creationId="{F21292C9-50B1-2659-E4DA-58D0891F7CAC}"/>
          </ac:spMkLst>
        </pc:spChg>
        <pc:spChg chg="mod">
          <ac:chgData name="Sindija Kirsteine (LV)" userId="5f25501a-2215-4bb3-9d9c-8d1484ffa7c1" providerId="ADAL" clId="{AD634740-2A4A-4DBA-91EE-B286EB63FCB7}" dt="2024-06-05T08:24:22.653" v="498"/>
          <ac:spMkLst>
            <pc:docMk/>
            <pc:sldMk cId="2037616446" sldId="2147481956"/>
            <ac:spMk id="19" creationId="{068D8CE8-1B33-825C-6373-251B4E9C5F24}"/>
          </ac:spMkLst>
        </pc:spChg>
        <pc:spChg chg="mod">
          <ac:chgData name="Sindija Kirsteine (LV)" userId="5f25501a-2215-4bb3-9d9c-8d1484ffa7c1" providerId="ADAL" clId="{AD634740-2A4A-4DBA-91EE-B286EB63FCB7}" dt="2024-06-05T08:24:22.653" v="498"/>
          <ac:spMkLst>
            <pc:docMk/>
            <pc:sldMk cId="2037616446" sldId="2147481956"/>
            <ac:spMk id="22" creationId="{4AA69B36-43BF-AEBF-6A60-1F04B8576580}"/>
          </ac:spMkLst>
        </pc:spChg>
        <pc:spChg chg="mod">
          <ac:chgData name="Sindija Kirsteine (LV)" userId="5f25501a-2215-4bb3-9d9c-8d1484ffa7c1" providerId="ADAL" clId="{AD634740-2A4A-4DBA-91EE-B286EB63FCB7}" dt="2024-06-05T08:24:22.653" v="498"/>
          <ac:spMkLst>
            <pc:docMk/>
            <pc:sldMk cId="2037616446" sldId="2147481956"/>
            <ac:spMk id="23" creationId="{9BEDE370-C80A-91CE-6675-98C5FAE1B515}"/>
          </ac:spMkLst>
        </pc:spChg>
        <pc:spChg chg="mod">
          <ac:chgData name="Sindija Kirsteine (LV)" userId="5f25501a-2215-4bb3-9d9c-8d1484ffa7c1" providerId="ADAL" clId="{AD634740-2A4A-4DBA-91EE-B286EB63FCB7}" dt="2024-06-05T08:24:22.653" v="498"/>
          <ac:spMkLst>
            <pc:docMk/>
            <pc:sldMk cId="2037616446" sldId="2147481956"/>
            <ac:spMk id="24" creationId="{8C24C907-3F64-8847-B076-1DD145B2E0A2}"/>
          </ac:spMkLst>
        </pc:spChg>
        <pc:spChg chg="mod">
          <ac:chgData name="Sindija Kirsteine (LV)" userId="5f25501a-2215-4bb3-9d9c-8d1484ffa7c1" providerId="ADAL" clId="{AD634740-2A4A-4DBA-91EE-B286EB63FCB7}" dt="2024-06-05T08:24:22.653" v="498"/>
          <ac:spMkLst>
            <pc:docMk/>
            <pc:sldMk cId="2037616446" sldId="2147481956"/>
            <ac:spMk id="25" creationId="{7F373C27-B81C-5C41-6919-462B6133B90C}"/>
          </ac:spMkLst>
        </pc:spChg>
        <pc:spChg chg="mod">
          <ac:chgData name="Sindija Kirsteine (LV)" userId="5f25501a-2215-4bb3-9d9c-8d1484ffa7c1" providerId="ADAL" clId="{AD634740-2A4A-4DBA-91EE-B286EB63FCB7}" dt="2024-06-05T08:24:22.653" v="498"/>
          <ac:spMkLst>
            <pc:docMk/>
            <pc:sldMk cId="2037616446" sldId="2147481956"/>
            <ac:spMk id="26" creationId="{0D27B615-0DF8-8D73-990B-13B856831196}"/>
          </ac:spMkLst>
        </pc:spChg>
        <pc:spChg chg="mod">
          <ac:chgData name="Sindija Kirsteine (LV)" userId="5f25501a-2215-4bb3-9d9c-8d1484ffa7c1" providerId="ADAL" clId="{AD634740-2A4A-4DBA-91EE-B286EB63FCB7}" dt="2024-06-05T08:30:48.606" v="704"/>
          <ac:spMkLst>
            <pc:docMk/>
            <pc:sldMk cId="2037616446" sldId="2147481956"/>
            <ac:spMk id="28" creationId="{385C00E3-84BA-445E-6201-C2A2A0D9A20F}"/>
          </ac:spMkLst>
        </pc:spChg>
        <pc:spChg chg="mod">
          <ac:chgData name="Sindija Kirsteine (LV)" userId="5f25501a-2215-4bb3-9d9c-8d1484ffa7c1" providerId="ADAL" clId="{AD634740-2A4A-4DBA-91EE-B286EB63FCB7}" dt="2024-06-05T08:30:48.606" v="704"/>
          <ac:spMkLst>
            <pc:docMk/>
            <pc:sldMk cId="2037616446" sldId="2147481956"/>
            <ac:spMk id="29" creationId="{6CB9AF57-5922-2FA6-5F7A-B7A36AA9CBF3}"/>
          </ac:spMkLst>
        </pc:spChg>
        <pc:spChg chg="mod">
          <ac:chgData name="Sindija Kirsteine (LV)" userId="5f25501a-2215-4bb3-9d9c-8d1484ffa7c1" providerId="ADAL" clId="{AD634740-2A4A-4DBA-91EE-B286EB63FCB7}" dt="2024-06-05T08:30:48.606" v="704"/>
          <ac:spMkLst>
            <pc:docMk/>
            <pc:sldMk cId="2037616446" sldId="2147481956"/>
            <ac:spMk id="30" creationId="{A0166CA8-8B98-B99C-039B-D379B07F343D}"/>
          </ac:spMkLst>
        </pc:spChg>
        <pc:spChg chg="mod">
          <ac:chgData name="Sindija Kirsteine (LV)" userId="5f25501a-2215-4bb3-9d9c-8d1484ffa7c1" providerId="ADAL" clId="{AD634740-2A4A-4DBA-91EE-B286EB63FCB7}" dt="2024-06-05T08:30:48.606" v="704"/>
          <ac:spMkLst>
            <pc:docMk/>
            <pc:sldMk cId="2037616446" sldId="2147481956"/>
            <ac:spMk id="31" creationId="{9B91A27B-5434-26BB-1B8F-AA876C5B60BE}"/>
          </ac:spMkLst>
        </pc:spChg>
        <pc:spChg chg="mod">
          <ac:chgData name="Sindija Kirsteine (LV)" userId="5f25501a-2215-4bb3-9d9c-8d1484ffa7c1" providerId="ADAL" clId="{AD634740-2A4A-4DBA-91EE-B286EB63FCB7}" dt="2024-06-05T08:30:48.606" v="704"/>
          <ac:spMkLst>
            <pc:docMk/>
            <pc:sldMk cId="2037616446" sldId="2147481956"/>
            <ac:spMk id="32" creationId="{9D44D33C-3E14-932D-01B2-2B0CE26BE0A5}"/>
          </ac:spMkLst>
        </pc:spChg>
        <pc:spChg chg="mod">
          <ac:chgData name="Sindija Kirsteine (LV)" userId="5f25501a-2215-4bb3-9d9c-8d1484ffa7c1" providerId="ADAL" clId="{AD634740-2A4A-4DBA-91EE-B286EB63FCB7}" dt="2024-06-05T08:30:48.606" v="704"/>
          <ac:spMkLst>
            <pc:docMk/>
            <pc:sldMk cId="2037616446" sldId="2147481956"/>
            <ac:spMk id="33" creationId="{BB2E6E78-D9B1-5AEF-8B19-CDCF30D983D5}"/>
          </ac:spMkLst>
        </pc:spChg>
        <pc:spChg chg="mod">
          <ac:chgData name="Sindija Kirsteine (LV)" userId="5f25501a-2215-4bb3-9d9c-8d1484ffa7c1" providerId="ADAL" clId="{AD634740-2A4A-4DBA-91EE-B286EB63FCB7}" dt="2024-06-05T08:30:48.606" v="704"/>
          <ac:spMkLst>
            <pc:docMk/>
            <pc:sldMk cId="2037616446" sldId="2147481956"/>
            <ac:spMk id="34" creationId="{221AEE56-AF9D-7CBF-91A3-A06F08693154}"/>
          </ac:spMkLst>
        </pc:spChg>
        <pc:grpChg chg="add del mod">
          <ac:chgData name="Sindija Kirsteine (LV)" userId="5f25501a-2215-4bb3-9d9c-8d1484ffa7c1" providerId="ADAL" clId="{AD634740-2A4A-4DBA-91EE-B286EB63FCB7}" dt="2024-06-05T08:30:48.368" v="703" actId="478"/>
          <ac:grpSpMkLst>
            <pc:docMk/>
            <pc:sldMk cId="2037616446" sldId="2147481956"/>
            <ac:grpSpMk id="16" creationId="{7CB2AE28-34C6-B7D0-AA51-FE62A1DA3801}"/>
          </ac:grpSpMkLst>
        </pc:grpChg>
        <pc:grpChg chg="add mod">
          <ac:chgData name="Sindija Kirsteine (LV)" userId="5f25501a-2215-4bb3-9d9c-8d1484ffa7c1" providerId="ADAL" clId="{AD634740-2A4A-4DBA-91EE-B286EB63FCB7}" dt="2024-06-05T08:30:48.606" v="704"/>
          <ac:grpSpMkLst>
            <pc:docMk/>
            <pc:sldMk cId="2037616446" sldId="2147481956"/>
            <ac:grpSpMk id="27" creationId="{8FE3F3F9-D30A-08C8-46E9-268874574523}"/>
          </ac:grpSpMkLst>
        </pc:grpChg>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AD634740-2A4A-4DBA-91EE-B286EB63FCB7}" dt="2024-06-07T08:49:41.793" v="1967"/>
              <pc2:cmMkLst xmlns:pc2="http://schemas.microsoft.com/office/powerpoint/2019/9/main/command">
                <pc:docMk/>
                <pc:sldMk cId="2037616446" sldId="2147481956"/>
                <pc2:cmMk id="{9461FECB-8129-4AD7-BAB7-257DC7B854B4}"/>
              </pc2:cmMkLst>
            </pc226:cmChg>
          </p:ext>
        </pc:extLst>
      </pc:sldChg>
      <pc:sldChg chg="delSp modSp add del mod modShow">
        <pc:chgData name="Sindija Kirsteine (LV)" userId="5f25501a-2215-4bb3-9d9c-8d1484ffa7c1" providerId="ADAL" clId="{AD634740-2A4A-4DBA-91EE-B286EB63FCB7}" dt="2024-06-07T15:01:05.378" v="2416" actId="2696"/>
        <pc:sldMkLst>
          <pc:docMk/>
          <pc:sldMk cId="4024134130" sldId="2147481957"/>
        </pc:sldMkLst>
        <pc:spChg chg="mod">
          <ac:chgData name="Sindija Kirsteine (LV)" userId="5f25501a-2215-4bb3-9d9c-8d1484ffa7c1" providerId="ADAL" clId="{AD634740-2A4A-4DBA-91EE-B286EB63FCB7}" dt="2024-06-07T15:00:55.967" v="2413" actId="14100"/>
          <ac:spMkLst>
            <pc:docMk/>
            <pc:sldMk cId="4024134130" sldId="2147481957"/>
            <ac:spMk id="3" creationId="{6A355E03-E3D4-57E7-8E5C-EA6D87D67D07}"/>
          </ac:spMkLst>
        </pc:spChg>
        <pc:spChg chg="del">
          <ac:chgData name="Sindija Kirsteine (LV)" userId="5f25501a-2215-4bb3-9d9c-8d1484ffa7c1" providerId="ADAL" clId="{AD634740-2A4A-4DBA-91EE-B286EB63FCB7}" dt="2024-06-07T15:00:53.116" v="2412" actId="478"/>
          <ac:spMkLst>
            <pc:docMk/>
            <pc:sldMk cId="4024134130" sldId="2147481957"/>
            <ac:spMk id="4" creationId="{5D11349D-67E6-D358-56A1-2A641284DFB5}"/>
          </ac:spMkLst>
        </pc:spChg>
        <pc:spChg chg="del">
          <ac:chgData name="Sindija Kirsteine (LV)" userId="5f25501a-2215-4bb3-9d9c-8d1484ffa7c1" providerId="ADAL" clId="{AD634740-2A4A-4DBA-91EE-B286EB63FCB7}" dt="2024-06-07T15:00:53.116" v="2412" actId="478"/>
          <ac:spMkLst>
            <pc:docMk/>
            <pc:sldMk cId="4024134130" sldId="2147481957"/>
            <ac:spMk id="5" creationId="{308ECC67-B761-96DF-30AC-C0262F606CFA}"/>
          </ac:spMkLst>
        </pc:spChg>
        <pc:spChg chg="del">
          <ac:chgData name="Sindija Kirsteine (LV)" userId="5f25501a-2215-4bb3-9d9c-8d1484ffa7c1" providerId="ADAL" clId="{AD634740-2A4A-4DBA-91EE-B286EB63FCB7}" dt="2024-06-07T15:00:53.116" v="2412" actId="478"/>
          <ac:spMkLst>
            <pc:docMk/>
            <pc:sldMk cId="4024134130" sldId="2147481957"/>
            <ac:spMk id="8" creationId="{AD0EC130-F5B9-24BB-A5F8-C9198B2644E6}"/>
          </ac:spMkLst>
        </pc:spChg>
        <pc:spChg chg="del">
          <ac:chgData name="Sindija Kirsteine (LV)" userId="5f25501a-2215-4bb3-9d9c-8d1484ffa7c1" providerId="ADAL" clId="{AD634740-2A4A-4DBA-91EE-B286EB63FCB7}" dt="2024-06-07T15:00:53.116" v="2412" actId="478"/>
          <ac:spMkLst>
            <pc:docMk/>
            <pc:sldMk cId="4024134130" sldId="2147481957"/>
            <ac:spMk id="10" creationId="{C56FC8EF-C04E-C075-E2F4-4BCB83948E28}"/>
          </ac:spMkLst>
        </pc:spChg>
      </pc:sldChg>
      <pc:sldChg chg="modSp add mod ord">
        <pc:chgData name="Sindija Kirsteine (LV)" userId="5f25501a-2215-4bb3-9d9c-8d1484ffa7c1" providerId="ADAL" clId="{AD634740-2A4A-4DBA-91EE-B286EB63FCB7}" dt="2024-06-07T12:56:23.643" v="2296" actId="196"/>
        <pc:sldMkLst>
          <pc:docMk/>
          <pc:sldMk cId="2248175541" sldId="2147481958"/>
        </pc:sldMkLst>
        <pc:spChg chg="mod">
          <ac:chgData name="Sindija Kirsteine (LV)" userId="5f25501a-2215-4bb3-9d9c-8d1484ffa7c1" providerId="ADAL" clId="{AD634740-2A4A-4DBA-91EE-B286EB63FCB7}" dt="2024-06-07T12:55:49.073" v="2294" actId="20577"/>
          <ac:spMkLst>
            <pc:docMk/>
            <pc:sldMk cId="2248175541" sldId="2147481958"/>
            <ac:spMk id="4" creationId="{B1CBE399-95B1-4855-23E2-3019CA5A03DE}"/>
          </ac:spMkLst>
        </pc:spChg>
        <pc:picChg chg="mod">
          <ac:chgData name="Sindija Kirsteine (LV)" userId="5f25501a-2215-4bb3-9d9c-8d1484ffa7c1" providerId="ADAL" clId="{AD634740-2A4A-4DBA-91EE-B286EB63FCB7}" dt="2024-06-07T12:56:23.643" v="2296" actId="196"/>
          <ac:picMkLst>
            <pc:docMk/>
            <pc:sldMk cId="2248175541" sldId="2147481958"/>
            <ac:picMk id="18" creationId="{26D02910-881C-50EE-F448-D03745506520}"/>
          </ac:picMkLst>
        </pc:picChg>
      </pc:sldChg>
      <pc:sldChg chg="modSp mod">
        <pc:chgData name="Sindija Kirsteine (LV)" userId="5f25501a-2215-4bb3-9d9c-8d1484ffa7c1" providerId="ADAL" clId="{AD634740-2A4A-4DBA-91EE-B286EB63FCB7}" dt="2024-06-10T07:47:06.106" v="2611"/>
        <pc:sldMkLst>
          <pc:docMk/>
          <pc:sldMk cId="329214126" sldId="2147481959"/>
        </pc:sldMkLst>
        <pc:spChg chg="mod">
          <ac:chgData name="Sindija Kirsteine (LV)" userId="5f25501a-2215-4bb3-9d9c-8d1484ffa7c1" providerId="ADAL" clId="{AD634740-2A4A-4DBA-91EE-B286EB63FCB7}" dt="2024-06-10T07:47:06.106" v="2611"/>
          <ac:spMkLst>
            <pc:docMk/>
            <pc:sldMk cId="329214126" sldId="2147481959"/>
            <ac:spMk id="10" creationId="{E7620417-CA25-4C85-685A-F9654D084E1A}"/>
          </ac:spMkLst>
        </pc:spChg>
      </pc:sldChg>
      <pc:sldChg chg="modSp add del mod modShow">
        <pc:chgData name="Sindija Kirsteine (LV)" userId="5f25501a-2215-4bb3-9d9c-8d1484ffa7c1" providerId="ADAL" clId="{AD634740-2A4A-4DBA-91EE-B286EB63FCB7}" dt="2024-06-10T09:35:32.510" v="3115" actId="47"/>
        <pc:sldMkLst>
          <pc:docMk/>
          <pc:sldMk cId="3543237675" sldId="2147481960"/>
        </pc:sldMkLst>
        <pc:spChg chg="mod">
          <ac:chgData name="Sindija Kirsteine (LV)" userId="5f25501a-2215-4bb3-9d9c-8d1484ffa7c1" providerId="ADAL" clId="{AD634740-2A4A-4DBA-91EE-B286EB63FCB7}" dt="2024-06-10T09:15:20.384" v="2785" actId="21"/>
          <ac:spMkLst>
            <pc:docMk/>
            <pc:sldMk cId="3543237675" sldId="2147481960"/>
            <ac:spMk id="24" creationId="{20F6161A-E3E2-A765-A44D-92728895AC83}"/>
          </ac:spMkLst>
        </pc:spChg>
      </pc:sldChg>
      <pc:sldChg chg="modSp add mod">
        <pc:chgData name="Sindija Kirsteine (LV)" userId="5f25501a-2215-4bb3-9d9c-8d1484ffa7c1" providerId="ADAL" clId="{AD634740-2A4A-4DBA-91EE-B286EB63FCB7}" dt="2024-06-10T09:35:21.526" v="3110" actId="3626"/>
        <pc:sldMkLst>
          <pc:docMk/>
          <pc:sldMk cId="1527880861" sldId="2147481962"/>
        </pc:sldMkLst>
        <pc:spChg chg="mod">
          <ac:chgData name="Sindija Kirsteine (LV)" userId="5f25501a-2215-4bb3-9d9c-8d1484ffa7c1" providerId="ADAL" clId="{AD634740-2A4A-4DBA-91EE-B286EB63FCB7}" dt="2024-06-10T09:32:00.891" v="3028" actId="20577"/>
          <ac:spMkLst>
            <pc:docMk/>
            <pc:sldMk cId="1527880861" sldId="2147481962"/>
            <ac:spMk id="7" creationId="{A168F800-7305-A09D-AF78-9EB408346FA0}"/>
          </ac:spMkLst>
        </pc:spChg>
        <pc:spChg chg="mod">
          <ac:chgData name="Sindija Kirsteine (LV)" userId="5f25501a-2215-4bb3-9d9c-8d1484ffa7c1" providerId="ADAL" clId="{AD634740-2A4A-4DBA-91EE-B286EB63FCB7}" dt="2024-06-10T09:35:21.526" v="3110" actId="3626"/>
          <ac:spMkLst>
            <pc:docMk/>
            <pc:sldMk cId="1527880861" sldId="2147481962"/>
            <ac:spMk id="24" creationId="{20F6161A-E3E2-A765-A44D-92728895AC83}"/>
          </ac:spMkLst>
        </pc:spChg>
      </pc:sldChg>
      <pc:sldChg chg="modSp add mod">
        <pc:chgData name="Sindija Kirsteine (LV)" userId="5f25501a-2215-4bb3-9d9c-8d1484ffa7c1" providerId="ADAL" clId="{AD634740-2A4A-4DBA-91EE-B286EB63FCB7}" dt="2024-06-10T09:35:13.941" v="3104" actId="21"/>
        <pc:sldMkLst>
          <pc:docMk/>
          <pc:sldMk cId="3140329955" sldId="2147481963"/>
        </pc:sldMkLst>
        <pc:spChg chg="mod">
          <ac:chgData name="Sindija Kirsteine (LV)" userId="5f25501a-2215-4bb3-9d9c-8d1484ffa7c1" providerId="ADAL" clId="{AD634740-2A4A-4DBA-91EE-B286EB63FCB7}" dt="2024-06-10T09:32:04.858" v="3033" actId="20577"/>
          <ac:spMkLst>
            <pc:docMk/>
            <pc:sldMk cId="3140329955" sldId="2147481963"/>
            <ac:spMk id="7" creationId="{A168F800-7305-A09D-AF78-9EB408346FA0}"/>
          </ac:spMkLst>
        </pc:spChg>
        <pc:spChg chg="mod">
          <ac:chgData name="Sindija Kirsteine (LV)" userId="5f25501a-2215-4bb3-9d9c-8d1484ffa7c1" providerId="ADAL" clId="{AD634740-2A4A-4DBA-91EE-B286EB63FCB7}" dt="2024-06-10T09:35:13.941" v="3104" actId="21"/>
          <ac:spMkLst>
            <pc:docMk/>
            <pc:sldMk cId="3140329955" sldId="2147481963"/>
            <ac:spMk id="24" creationId="{20F6161A-E3E2-A765-A44D-92728895AC83}"/>
          </ac:spMkLst>
        </pc:spChg>
      </pc:sldChg>
    </pc:docChg>
  </pc:docChgLst>
  <pc:docChgLst>
    <pc:chgData name="Ramona Daukste (LV)" userId="cb110d71-928f-4029-96c9-9e7c32e592fe" providerId="ADAL" clId="{75FF6114-160F-4D09-B25E-CAC201F065FB}"/>
    <pc:docChg chg="modSld sldOrd">
      <pc:chgData name="Ramona Daukste (LV)" userId="cb110d71-928f-4029-96c9-9e7c32e592fe" providerId="ADAL" clId="{75FF6114-160F-4D09-B25E-CAC201F065FB}" dt="2024-06-06T06:04:45.560" v="25" actId="20577"/>
      <pc:docMkLst>
        <pc:docMk/>
      </pc:docMkLst>
      <pc:sldChg chg="addCm">
        <pc:chgData name="Ramona Daukste (LV)" userId="cb110d71-928f-4029-96c9-9e7c32e592fe" providerId="ADAL" clId="{75FF6114-160F-4D09-B25E-CAC201F065FB}" dt="2024-06-06T05:53:45.011" v="23"/>
        <pc:sldMkLst>
          <pc:docMk/>
          <pc:sldMk cId="0" sldId="317"/>
        </pc:sldMkLst>
        <pc:extLst>
          <p:ext xmlns:p="http://schemas.openxmlformats.org/presentationml/2006/main" uri="{D6D511B9-2390-475A-947B-AFAB55BFBCF1}">
            <pc226:cmChg xmlns:pc226="http://schemas.microsoft.com/office/powerpoint/2022/06/main/command" chg="add">
              <pc226:chgData name="Ramona Daukste (LV)" userId="cb110d71-928f-4029-96c9-9e7c32e592fe" providerId="ADAL" clId="{75FF6114-160F-4D09-B25E-CAC201F065FB}" dt="2024-06-06T05:53:45.011" v="23"/>
              <pc2:cmMkLst xmlns:pc2="http://schemas.microsoft.com/office/powerpoint/2019/9/main/command">
                <pc:docMk/>
                <pc:sldMk cId="0" sldId="317"/>
                <pc2:cmMk id="{4A1AB072-8859-46AB-BD17-FA8F74F5D532}"/>
              </pc2:cmMkLst>
            </pc226:cmChg>
          </p:ext>
        </pc:extLst>
      </pc:sldChg>
      <pc:sldChg chg="modCm">
        <pc:chgData name="Ramona Daukste (LV)" userId="cb110d71-928f-4029-96c9-9e7c32e592fe" providerId="ADAL" clId="{75FF6114-160F-4D09-B25E-CAC201F065FB}" dt="2024-06-06T05:41:41.863" v="1"/>
        <pc:sldMkLst>
          <pc:docMk/>
          <pc:sldMk cId="192098022" sldId="2147481877"/>
        </pc:sldMkLst>
        <pc:extLst>
          <p:ext xmlns:p="http://schemas.openxmlformats.org/presentationml/2006/main" uri="{D6D511B9-2390-475A-947B-AFAB55BFBCF1}">
            <pc226:cmChg xmlns:pc226="http://schemas.microsoft.com/office/powerpoint/2022/06/main/command" chg="">
              <pc226:chgData name="Ramona Daukste (LV)" userId="cb110d71-928f-4029-96c9-9e7c32e592fe" providerId="ADAL" clId="{75FF6114-160F-4D09-B25E-CAC201F065FB}" dt="2024-06-06T05:41:41.863" v="1"/>
              <pc2:cmMkLst xmlns:pc2="http://schemas.microsoft.com/office/powerpoint/2019/9/main/command">
                <pc:docMk/>
                <pc:sldMk cId="192098022" sldId="2147481877"/>
                <pc2:cmMk id="{42340CB7-382F-4BFC-9464-B01F4E65E661}"/>
              </pc2:cmMkLst>
              <pc226:cmRplyChg chg="add">
                <pc226:chgData name="Ramona Daukste (LV)" userId="cb110d71-928f-4029-96c9-9e7c32e592fe" providerId="ADAL" clId="{75FF6114-160F-4D09-B25E-CAC201F065FB}" dt="2024-06-06T05:39:36.811" v="0"/>
                <pc2:cmRplyMkLst xmlns:pc2="http://schemas.microsoft.com/office/powerpoint/2019/9/main/command">
                  <pc:docMk/>
                  <pc:sldMk cId="192098022" sldId="2147481877"/>
                  <pc2:cmMk id="{42340CB7-382F-4BFC-9464-B01F4E65E661}"/>
                  <pc2:cmRplyMk id="{B9B04974-62C5-4F86-9D4B-C9D4D38FC8C5}"/>
                </pc2:cmRplyMkLst>
              </pc226:cmRplyChg>
              <pc226:cmRplyChg chg="add">
                <pc226:chgData name="Ramona Daukste (LV)" userId="cb110d71-928f-4029-96c9-9e7c32e592fe" providerId="ADAL" clId="{75FF6114-160F-4D09-B25E-CAC201F065FB}" dt="2024-06-06T05:41:41.863" v="1"/>
                <pc2:cmRplyMkLst xmlns:pc2="http://schemas.microsoft.com/office/powerpoint/2019/9/main/command">
                  <pc:docMk/>
                  <pc:sldMk cId="192098022" sldId="2147481877"/>
                  <pc2:cmMk id="{42340CB7-382F-4BFC-9464-B01F4E65E661}"/>
                  <pc2:cmRplyMk id="{FE61418D-3A56-4B62-BB05-0B7CB49AA3C7}"/>
                </pc2:cmRplyMkLst>
              </pc226:cmRplyChg>
            </pc226:cmChg>
          </p:ext>
        </pc:extLst>
      </pc:sldChg>
      <pc:sldChg chg="modSp mod addCm">
        <pc:chgData name="Ramona Daukste (LV)" userId="cb110d71-928f-4029-96c9-9e7c32e592fe" providerId="ADAL" clId="{75FF6114-160F-4D09-B25E-CAC201F065FB}" dt="2024-06-06T05:43:55.740" v="20"/>
        <pc:sldMkLst>
          <pc:docMk/>
          <pc:sldMk cId="1076096228" sldId="2147481883"/>
        </pc:sldMkLst>
        <pc:spChg chg="mod">
          <ac:chgData name="Ramona Daukste (LV)" userId="cb110d71-928f-4029-96c9-9e7c32e592fe" providerId="ADAL" clId="{75FF6114-160F-4D09-B25E-CAC201F065FB}" dt="2024-06-06T05:41:58.331" v="19" actId="20577"/>
          <ac:spMkLst>
            <pc:docMk/>
            <pc:sldMk cId="1076096228" sldId="2147481883"/>
            <ac:spMk id="7" creationId="{8955B2C7-F22E-6F52-733B-63ECB21657CB}"/>
          </ac:spMkLst>
        </pc:spChg>
        <pc:extLst>
          <p:ext xmlns:p="http://schemas.openxmlformats.org/presentationml/2006/main" uri="{D6D511B9-2390-475A-947B-AFAB55BFBCF1}">
            <pc226:cmChg xmlns:pc226="http://schemas.microsoft.com/office/powerpoint/2022/06/main/command" chg="add">
              <pc226:chgData name="Ramona Daukste (LV)" userId="cb110d71-928f-4029-96c9-9e7c32e592fe" providerId="ADAL" clId="{75FF6114-160F-4D09-B25E-CAC201F065FB}" dt="2024-06-06T05:43:55.740" v="20"/>
              <pc2:cmMkLst xmlns:pc2="http://schemas.microsoft.com/office/powerpoint/2019/9/main/command">
                <pc:docMk/>
                <pc:sldMk cId="1076096228" sldId="2147481883"/>
                <pc2:cmMk id="{15B0C1A2-347A-4C6A-94D2-48D8CFAC1078}"/>
              </pc2:cmMkLst>
            </pc226:cmChg>
          </p:ext>
        </pc:extLst>
      </pc:sldChg>
      <pc:sldChg chg="ord addCm">
        <pc:chgData name="Ramona Daukste (LV)" userId="cb110d71-928f-4029-96c9-9e7c32e592fe" providerId="ADAL" clId="{75FF6114-160F-4D09-B25E-CAC201F065FB}" dt="2024-06-06T05:52:19.040" v="22"/>
        <pc:sldMkLst>
          <pc:docMk/>
          <pc:sldMk cId="3901568867" sldId="2147481894"/>
        </pc:sldMkLst>
        <pc:extLst>
          <p:ext xmlns:p="http://schemas.openxmlformats.org/presentationml/2006/main" uri="{D6D511B9-2390-475A-947B-AFAB55BFBCF1}">
            <pc226:cmChg xmlns:pc226="http://schemas.microsoft.com/office/powerpoint/2022/06/main/command" chg="add">
              <pc226:chgData name="Ramona Daukste (LV)" userId="cb110d71-928f-4029-96c9-9e7c32e592fe" providerId="ADAL" clId="{75FF6114-160F-4D09-B25E-CAC201F065FB}" dt="2024-06-06T05:52:19.040" v="22"/>
              <pc2:cmMkLst xmlns:pc2="http://schemas.microsoft.com/office/powerpoint/2019/9/main/command">
                <pc:docMk/>
                <pc:sldMk cId="3901568867" sldId="2147481894"/>
                <pc2:cmMk id="{48CE4E91-3BD3-4EFA-B790-50795C518EF0}"/>
              </pc2:cmMkLst>
            </pc226:cmChg>
          </p:ext>
        </pc:extLst>
      </pc:sldChg>
      <pc:sldChg chg="modSp mod">
        <pc:chgData name="Ramona Daukste (LV)" userId="cb110d71-928f-4029-96c9-9e7c32e592fe" providerId="ADAL" clId="{75FF6114-160F-4D09-B25E-CAC201F065FB}" dt="2024-06-06T06:04:45.560" v="25" actId="20577"/>
        <pc:sldMkLst>
          <pc:docMk/>
          <pc:sldMk cId="3128847407" sldId="2147481907"/>
        </pc:sldMkLst>
        <pc:spChg chg="mod">
          <ac:chgData name="Ramona Daukste (LV)" userId="cb110d71-928f-4029-96c9-9e7c32e592fe" providerId="ADAL" clId="{75FF6114-160F-4D09-B25E-CAC201F065FB}" dt="2024-06-06T06:04:45.560" v="25" actId="20577"/>
          <ac:spMkLst>
            <pc:docMk/>
            <pc:sldMk cId="3128847407" sldId="2147481907"/>
            <ac:spMk id="2" creationId="{00000000-0000-0000-0000-000000000000}"/>
          </ac:spMkLst>
        </pc:spChg>
      </pc:sldChg>
    </pc:docChg>
  </pc:docChgLst>
  <pc:docChgLst>
    <pc:chgData name="Sindija Kirsteine (LV)" userId="5f25501a-2215-4bb3-9d9c-8d1484ffa7c1" providerId="ADAL" clId="{7A567D74-EFB5-44B7-BEF5-1941C39E735F}"/>
    <pc:docChg chg="custSel replTag">
      <pc:chgData name="Sindija Kirsteine (LV)" userId="5f25501a-2215-4bb3-9d9c-8d1484ffa7c1" providerId="ADAL" clId="{7A567D74-EFB5-44B7-BEF5-1941C39E735F}" dt="2024-07-06T08:52:02.565" v="13"/>
      <pc:docMkLst>
        <pc:docMk/>
      </pc:docMkLst>
    </pc:docChg>
  </pc:docChgLst>
  <pc:docChgLst>
    <pc:chgData name="Ivanna Tesliuk (UA)" userId="6d321940-bfe1-4e00-a673-e3faad29815e" providerId="ADAL" clId="{52765CB9-7FD1-4535-8F36-6740D65881AB}"/>
    <pc:docChg chg="undo modSld">
      <pc:chgData name="Ivanna Tesliuk (UA)" userId="6d321940-bfe1-4e00-a673-e3faad29815e" providerId="ADAL" clId="{52765CB9-7FD1-4535-8F36-6740D65881AB}" dt="2024-06-27T07:24:09.104" v="11" actId="553"/>
      <pc:docMkLst>
        <pc:docMk/>
      </pc:docMkLst>
      <pc:sldChg chg="modSp mod">
        <pc:chgData name="Ivanna Tesliuk (UA)" userId="6d321940-bfe1-4e00-a673-e3faad29815e" providerId="ADAL" clId="{52765CB9-7FD1-4535-8F36-6740D65881AB}" dt="2024-06-27T07:24:09.104" v="11" actId="553"/>
        <pc:sldMkLst>
          <pc:docMk/>
          <pc:sldMk cId="310194463" sldId="2147481903"/>
        </pc:sldMkLst>
        <pc:spChg chg="mod">
          <ac:chgData name="Ivanna Tesliuk (UA)" userId="6d321940-bfe1-4e00-a673-e3faad29815e" providerId="ADAL" clId="{52765CB9-7FD1-4535-8F36-6740D65881AB}" dt="2024-06-27T07:24:09.104" v="11" actId="553"/>
          <ac:spMkLst>
            <pc:docMk/>
            <pc:sldMk cId="310194463" sldId="2147481903"/>
            <ac:spMk id="22" creationId="{1DD6BAA7-6B8B-B5D1-983C-47F7088D2D65}"/>
          </ac:spMkLst>
        </pc:spChg>
        <pc:picChg chg="mod modCrop">
          <ac:chgData name="Ivanna Tesliuk (UA)" userId="6d321940-bfe1-4e00-a673-e3faad29815e" providerId="ADAL" clId="{52765CB9-7FD1-4535-8F36-6740D65881AB}" dt="2024-06-27T07:24:05.459" v="10" actId="18131"/>
          <ac:picMkLst>
            <pc:docMk/>
            <pc:sldMk cId="310194463" sldId="2147481903"/>
            <ac:picMk id="26" creationId="{A8C3F200-32A6-2E24-E3A8-CE9C652847BE}"/>
          </ac:picMkLst>
        </pc:picChg>
      </pc:sldChg>
    </pc:docChg>
  </pc:docChgLst>
  <pc:docChgLst>
    <pc:chgData name="Sindija Kirsteine (LV)" userId="5f25501a-2215-4bb3-9d9c-8d1484ffa7c1" providerId="ADAL" clId="{51D5C41C-2C44-4178-AD42-66376DC5DEB0}"/>
    <pc:docChg chg="custSel modSld replTag">
      <pc:chgData name="Sindija Kirsteine (LV)" userId="5f25501a-2215-4bb3-9d9c-8d1484ffa7c1" providerId="ADAL" clId="{51D5C41C-2C44-4178-AD42-66376DC5DEB0}" dt="2024-06-10T12:33:02.147" v="306"/>
      <pc:docMkLst>
        <pc:docMk/>
      </pc:docMkLst>
      <pc:sldChg chg="modSp mod">
        <pc:chgData name="Sindija Kirsteine (LV)" userId="5f25501a-2215-4bb3-9d9c-8d1484ffa7c1" providerId="ADAL" clId="{51D5C41C-2C44-4178-AD42-66376DC5DEB0}" dt="2024-06-10T11:36:39.392" v="13" actId="20577"/>
        <pc:sldMkLst>
          <pc:docMk/>
          <pc:sldMk cId="839732171" sldId="2147481882"/>
        </pc:sldMkLst>
        <pc:spChg chg="mod">
          <ac:chgData name="Sindija Kirsteine (LV)" userId="5f25501a-2215-4bb3-9d9c-8d1484ffa7c1" providerId="ADAL" clId="{51D5C41C-2C44-4178-AD42-66376DC5DEB0}" dt="2024-06-10T11:36:39.392" v="13" actId="20577"/>
          <ac:spMkLst>
            <pc:docMk/>
            <pc:sldMk cId="839732171" sldId="2147481882"/>
            <ac:spMk id="2" creationId="{44641C4F-F07F-7C71-88DD-EEFC9A9A1906}"/>
          </ac:spMkLst>
        </pc:spChg>
      </pc:sldChg>
      <pc:sldChg chg="delSp mod">
        <pc:chgData name="Sindija Kirsteine (LV)" userId="5f25501a-2215-4bb3-9d9c-8d1484ffa7c1" providerId="ADAL" clId="{51D5C41C-2C44-4178-AD42-66376DC5DEB0}" dt="2024-06-10T12:13:17.729" v="32" actId="478"/>
        <pc:sldMkLst>
          <pc:docMk/>
          <pc:sldMk cId="796361483" sldId="2147481942"/>
        </pc:sldMkLst>
        <pc:grpChg chg="del">
          <ac:chgData name="Sindija Kirsteine (LV)" userId="5f25501a-2215-4bb3-9d9c-8d1484ffa7c1" providerId="ADAL" clId="{51D5C41C-2C44-4178-AD42-66376DC5DEB0}" dt="2024-06-10T12:13:17.729" v="32" actId="478"/>
          <ac:grpSpMkLst>
            <pc:docMk/>
            <pc:sldMk cId="796361483" sldId="2147481942"/>
            <ac:grpSpMk id="6" creationId="{0B95653E-AFE7-717A-C0B2-7D21283242CF}"/>
          </ac:grpSpMkLst>
        </pc:grpChg>
      </pc:sldChg>
      <pc:sldChg chg="addSp delSp modSp mod">
        <pc:chgData name="Sindija Kirsteine (LV)" userId="5f25501a-2215-4bb3-9d9c-8d1484ffa7c1" providerId="ADAL" clId="{51D5C41C-2C44-4178-AD42-66376DC5DEB0}" dt="2024-06-10T12:33:02.147" v="306"/>
        <pc:sldMkLst>
          <pc:docMk/>
          <pc:sldMk cId="1261692589" sldId="2147481953"/>
        </pc:sldMkLst>
        <pc:spChg chg="add mod">
          <ac:chgData name="Sindija Kirsteine (LV)" userId="5f25501a-2215-4bb3-9d9c-8d1484ffa7c1" providerId="ADAL" clId="{51D5C41C-2C44-4178-AD42-66376DC5DEB0}" dt="2024-06-10T12:33:02.147" v="306"/>
          <ac:spMkLst>
            <pc:docMk/>
            <pc:sldMk cId="1261692589" sldId="2147481953"/>
            <ac:spMk id="8" creationId="{2DC02BE8-0FB7-BFBB-8E6A-A3F42A34D907}"/>
          </ac:spMkLst>
        </pc:spChg>
        <pc:grpChg chg="del">
          <ac:chgData name="Sindija Kirsteine (LV)" userId="5f25501a-2215-4bb3-9d9c-8d1484ffa7c1" providerId="ADAL" clId="{51D5C41C-2C44-4178-AD42-66376DC5DEB0}" dt="2024-06-10T12:13:20.270" v="34" actId="478"/>
          <ac:grpSpMkLst>
            <pc:docMk/>
            <pc:sldMk cId="1261692589" sldId="2147481953"/>
            <ac:grpSpMk id="8" creationId="{31AE564F-7AF8-2218-EFDF-3396876D8519}"/>
          </ac:grpSpMkLst>
        </pc:grpChg>
      </pc:sldChg>
      <pc:sldChg chg="addSp modSp mod">
        <pc:chgData name="Sindija Kirsteine (LV)" userId="5f25501a-2215-4bb3-9d9c-8d1484ffa7c1" providerId="ADAL" clId="{51D5C41C-2C44-4178-AD42-66376DC5DEB0}" dt="2024-06-10T12:14:47.038" v="281" actId="20577"/>
        <pc:sldMkLst>
          <pc:docMk/>
          <pc:sldMk cId="2248175541" sldId="2147481958"/>
        </pc:sldMkLst>
        <pc:spChg chg="add mod">
          <ac:chgData name="Sindija Kirsteine (LV)" userId="5f25501a-2215-4bb3-9d9c-8d1484ffa7c1" providerId="ADAL" clId="{51D5C41C-2C44-4178-AD42-66376DC5DEB0}" dt="2024-06-10T12:14:47.038" v="281" actId="20577"/>
          <ac:spMkLst>
            <pc:docMk/>
            <pc:sldMk cId="2248175541" sldId="2147481958"/>
            <ac:spMk id="2" creationId="{FFC448EE-BD0B-565D-940C-2AF0B89867AE}"/>
          </ac:spMkLst>
        </pc:spChg>
      </pc:sldChg>
      <pc:sldChg chg="delSp mod">
        <pc:chgData name="Sindija Kirsteine (LV)" userId="5f25501a-2215-4bb3-9d9c-8d1484ffa7c1" providerId="ADAL" clId="{51D5C41C-2C44-4178-AD42-66376DC5DEB0}" dt="2024-06-10T12:13:16.085" v="30" actId="478"/>
        <pc:sldMkLst>
          <pc:docMk/>
          <pc:sldMk cId="1527880861" sldId="2147481962"/>
        </pc:sldMkLst>
        <pc:grpChg chg="del">
          <ac:chgData name="Sindija Kirsteine (LV)" userId="5f25501a-2215-4bb3-9d9c-8d1484ffa7c1" providerId="ADAL" clId="{51D5C41C-2C44-4178-AD42-66376DC5DEB0}" dt="2024-06-10T12:13:16.085" v="30" actId="478"/>
          <ac:grpSpMkLst>
            <pc:docMk/>
            <pc:sldMk cId="1527880861" sldId="2147481962"/>
            <ac:grpSpMk id="2" creationId="{ECAE55E1-A001-CEFC-4B22-12C7E105490E}"/>
          </ac:grpSpMkLst>
        </pc:grpChg>
      </pc:sldChg>
      <pc:sldChg chg="delSp mod">
        <pc:chgData name="Sindija Kirsteine (LV)" userId="5f25501a-2215-4bb3-9d9c-8d1484ffa7c1" providerId="ADAL" clId="{51D5C41C-2C44-4178-AD42-66376DC5DEB0}" dt="2024-06-10T12:13:14.069" v="28" actId="478"/>
        <pc:sldMkLst>
          <pc:docMk/>
          <pc:sldMk cId="3140329955" sldId="2147481963"/>
        </pc:sldMkLst>
        <pc:grpChg chg="del">
          <ac:chgData name="Sindija Kirsteine (LV)" userId="5f25501a-2215-4bb3-9d9c-8d1484ffa7c1" providerId="ADAL" clId="{51D5C41C-2C44-4178-AD42-66376DC5DEB0}" dt="2024-06-10T12:13:14.069" v="28" actId="478"/>
          <ac:grpSpMkLst>
            <pc:docMk/>
            <pc:sldMk cId="3140329955" sldId="2147481963"/>
            <ac:grpSpMk id="2" creationId="{837E6BD3-01FD-8171-7D26-B95141EA14C9}"/>
          </ac:grpSpMkLst>
        </pc:grpChg>
      </pc:sldChg>
    </pc:docChg>
  </pc:docChgLst>
  <pc:docChgLst>
    <pc:chgData name="Annemarija Apine (LV)" userId="S::annemarija.apine@pwc.com::546f5c59-3b8d-47fd-b739-a8fadc631053" providerId="AD" clId="Web-{1B96A9A1-E897-46B1-58B5-204E381E6E8D}"/>
    <pc:docChg chg="modSld">
      <pc:chgData name="Annemarija Apine (LV)" userId="S::annemarija.apine@pwc.com::546f5c59-3b8d-47fd-b739-a8fadc631053" providerId="AD" clId="Web-{1B96A9A1-E897-46B1-58B5-204E381E6E8D}" dt="2024-05-16T14:18:03.678" v="2" actId="20577"/>
      <pc:docMkLst>
        <pc:docMk/>
      </pc:docMkLst>
      <pc:sldChg chg="modSp">
        <pc:chgData name="Annemarija Apine (LV)" userId="S::annemarija.apine@pwc.com::546f5c59-3b8d-47fd-b739-a8fadc631053" providerId="AD" clId="Web-{1B96A9A1-E897-46B1-58B5-204E381E6E8D}" dt="2024-05-16T14:18:03.678" v="2" actId="20577"/>
        <pc:sldMkLst>
          <pc:docMk/>
          <pc:sldMk cId="310194463" sldId="2147481903"/>
        </pc:sldMkLst>
        <pc:spChg chg="mod">
          <ac:chgData name="Annemarija Apine (LV)" userId="S::annemarija.apine@pwc.com::546f5c59-3b8d-47fd-b739-a8fadc631053" providerId="AD" clId="Web-{1B96A9A1-E897-46B1-58B5-204E381E6E8D}" dt="2024-05-16T14:18:03.678" v="2" actId="20577"/>
          <ac:spMkLst>
            <pc:docMk/>
            <pc:sldMk cId="310194463" sldId="2147481903"/>
            <ac:spMk id="12" creationId="{03235C0C-4E25-DCDB-7AAF-D34D32C9063E}"/>
          </ac:spMkLst>
        </pc:spChg>
      </pc:sldChg>
    </pc:docChg>
  </pc:docChgLst>
  <pc:docChgLst>
    <pc:chgData name="Annemarija Apine (LV)" userId="546f5c59-3b8d-47fd-b739-a8fadc631053" providerId="ADAL" clId="{B76076CE-B521-447B-97B8-8379237862AA}"/>
    <pc:docChg chg="undo custSel mod addSld delSld modSld replTag">
      <pc:chgData name="Annemarija Apine (LV)" userId="546f5c59-3b8d-47fd-b739-a8fadc631053" providerId="ADAL" clId="{B76076CE-B521-447B-97B8-8379237862AA}" dt="2024-05-16T14:13:41.024" v="144"/>
      <pc:docMkLst>
        <pc:docMk/>
      </pc:docMkLst>
      <pc:sldChg chg="add">
        <pc:chgData name="Annemarija Apine (LV)" userId="546f5c59-3b8d-47fd-b739-a8fadc631053" providerId="ADAL" clId="{B76076CE-B521-447B-97B8-8379237862AA}" dt="2024-05-15T13:51:51.218" v="5"/>
        <pc:sldMkLst>
          <pc:docMk/>
          <pc:sldMk cId="0" sldId="258"/>
        </pc:sldMkLst>
      </pc:sldChg>
      <pc:sldChg chg="add">
        <pc:chgData name="Annemarija Apine (LV)" userId="546f5c59-3b8d-47fd-b739-a8fadc631053" providerId="ADAL" clId="{B76076CE-B521-447B-97B8-8379237862AA}" dt="2024-05-15T13:51:51.218" v="5"/>
        <pc:sldMkLst>
          <pc:docMk/>
          <pc:sldMk cId="2519050060" sldId="265"/>
        </pc:sldMkLst>
      </pc:sldChg>
      <pc:sldChg chg="add">
        <pc:chgData name="Annemarija Apine (LV)" userId="546f5c59-3b8d-47fd-b739-a8fadc631053" providerId="ADAL" clId="{B76076CE-B521-447B-97B8-8379237862AA}" dt="2024-05-15T13:51:51.218" v="5"/>
        <pc:sldMkLst>
          <pc:docMk/>
          <pc:sldMk cId="3995767015" sldId="387"/>
        </pc:sldMkLst>
      </pc:sldChg>
      <pc:sldChg chg="add">
        <pc:chgData name="Annemarija Apine (LV)" userId="546f5c59-3b8d-47fd-b739-a8fadc631053" providerId="ADAL" clId="{B76076CE-B521-447B-97B8-8379237862AA}" dt="2024-05-15T13:51:51.218" v="5"/>
        <pc:sldMkLst>
          <pc:docMk/>
          <pc:sldMk cId="176643549" sldId="392"/>
        </pc:sldMkLst>
      </pc:sldChg>
      <pc:sldChg chg="add">
        <pc:chgData name="Annemarija Apine (LV)" userId="546f5c59-3b8d-47fd-b739-a8fadc631053" providerId="ADAL" clId="{B76076CE-B521-447B-97B8-8379237862AA}" dt="2024-05-15T13:51:51.218" v="5"/>
        <pc:sldMkLst>
          <pc:docMk/>
          <pc:sldMk cId="4265792907" sldId="529"/>
        </pc:sldMkLst>
      </pc:sldChg>
      <pc:sldChg chg="add">
        <pc:chgData name="Annemarija Apine (LV)" userId="546f5c59-3b8d-47fd-b739-a8fadc631053" providerId="ADAL" clId="{B76076CE-B521-447B-97B8-8379237862AA}" dt="2024-05-15T13:51:51.218" v="5"/>
        <pc:sldMkLst>
          <pc:docMk/>
          <pc:sldMk cId="4271101327" sldId="711"/>
        </pc:sldMkLst>
      </pc:sldChg>
      <pc:sldChg chg="add">
        <pc:chgData name="Annemarija Apine (LV)" userId="546f5c59-3b8d-47fd-b739-a8fadc631053" providerId="ADAL" clId="{B76076CE-B521-447B-97B8-8379237862AA}" dt="2024-05-15T13:51:51.218" v="5"/>
        <pc:sldMkLst>
          <pc:docMk/>
          <pc:sldMk cId="1709250386" sldId="713"/>
        </pc:sldMkLst>
      </pc:sldChg>
      <pc:sldChg chg="add">
        <pc:chgData name="Annemarija Apine (LV)" userId="546f5c59-3b8d-47fd-b739-a8fadc631053" providerId="ADAL" clId="{B76076CE-B521-447B-97B8-8379237862AA}" dt="2024-05-15T13:51:51.218" v="5"/>
        <pc:sldMkLst>
          <pc:docMk/>
          <pc:sldMk cId="1203577095" sldId="715"/>
        </pc:sldMkLst>
      </pc:sldChg>
      <pc:sldChg chg="add">
        <pc:chgData name="Annemarija Apine (LV)" userId="546f5c59-3b8d-47fd-b739-a8fadc631053" providerId="ADAL" clId="{B76076CE-B521-447B-97B8-8379237862AA}" dt="2024-05-15T13:51:51.218" v="5"/>
        <pc:sldMkLst>
          <pc:docMk/>
          <pc:sldMk cId="3081899946" sldId="716"/>
        </pc:sldMkLst>
      </pc:sldChg>
      <pc:sldChg chg="add addCm">
        <pc:chgData name="Annemarija Apine (LV)" userId="546f5c59-3b8d-47fd-b739-a8fadc631053" providerId="ADAL" clId="{B76076CE-B521-447B-97B8-8379237862AA}" dt="2024-05-15T13:53:04.854" v="45"/>
        <pc:sldMkLst>
          <pc:docMk/>
          <pc:sldMk cId="2140825596" sldId="717"/>
        </pc:sldMkLst>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B76076CE-B521-447B-97B8-8379237862AA}" dt="2024-05-15T13:53:04.854" v="45"/>
              <pc2:cmMkLst xmlns:pc2="http://schemas.microsoft.com/office/powerpoint/2019/9/main/command">
                <pc:docMk/>
                <pc:sldMk cId="2140825596" sldId="717"/>
                <pc2:cmMk id="{EBA3F4A5-4806-4BCD-96BB-F1439DC8ED62}"/>
              </pc2:cmMkLst>
            </pc226:cmChg>
          </p:ext>
        </pc:extLst>
      </pc:sldChg>
      <pc:sldChg chg="del">
        <pc:chgData name="Annemarija Apine (LV)" userId="546f5c59-3b8d-47fd-b739-a8fadc631053" providerId="ADAL" clId="{B76076CE-B521-447B-97B8-8379237862AA}" dt="2024-05-15T14:08:55.073" v="92" actId="47"/>
        <pc:sldMkLst>
          <pc:docMk/>
          <pc:sldMk cId="3266631226" sldId="722"/>
        </pc:sldMkLst>
      </pc:sldChg>
      <pc:sldChg chg="add">
        <pc:chgData name="Annemarija Apine (LV)" userId="546f5c59-3b8d-47fd-b739-a8fadc631053" providerId="ADAL" clId="{B76076CE-B521-447B-97B8-8379237862AA}" dt="2024-05-15T13:51:51.218" v="5"/>
        <pc:sldMkLst>
          <pc:docMk/>
          <pc:sldMk cId="0" sldId="724"/>
        </pc:sldMkLst>
      </pc:sldChg>
      <pc:sldChg chg="add">
        <pc:chgData name="Annemarija Apine (LV)" userId="546f5c59-3b8d-47fd-b739-a8fadc631053" providerId="ADAL" clId="{B76076CE-B521-447B-97B8-8379237862AA}" dt="2024-05-15T13:51:51.218" v="5"/>
        <pc:sldMkLst>
          <pc:docMk/>
          <pc:sldMk cId="3720380803" sldId="725"/>
        </pc:sldMkLst>
      </pc:sldChg>
      <pc:sldChg chg="add">
        <pc:chgData name="Annemarija Apine (LV)" userId="546f5c59-3b8d-47fd-b739-a8fadc631053" providerId="ADAL" clId="{B76076CE-B521-447B-97B8-8379237862AA}" dt="2024-05-15T13:51:51.218" v="5"/>
        <pc:sldMkLst>
          <pc:docMk/>
          <pc:sldMk cId="1762602753" sldId="726"/>
        </pc:sldMkLst>
      </pc:sldChg>
      <pc:sldChg chg="add">
        <pc:chgData name="Annemarija Apine (LV)" userId="546f5c59-3b8d-47fd-b739-a8fadc631053" providerId="ADAL" clId="{B76076CE-B521-447B-97B8-8379237862AA}" dt="2024-05-15T13:51:51.218" v="5"/>
        <pc:sldMkLst>
          <pc:docMk/>
          <pc:sldMk cId="1702508433" sldId="727"/>
        </pc:sldMkLst>
      </pc:sldChg>
      <pc:sldChg chg="add">
        <pc:chgData name="Annemarija Apine (LV)" userId="546f5c59-3b8d-47fd-b739-a8fadc631053" providerId="ADAL" clId="{B76076CE-B521-447B-97B8-8379237862AA}" dt="2024-05-15T13:51:51.218" v="5"/>
        <pc:sldMkLst>
          <pc:docMk/>
          <pc:sldMk cId="1990025065" sldId="759"/>
        </pc:sldMkLst>
      </pc:sldChg>
      <pc:sldChg chg="del">
        <pc:chgData name="Annemarija Apine (LV)" userId="546f5c59-3b8d-47fd-b739-a8fadc631053" providerId="ADAL" clId="{B76076CE-B521-447B-97B8-8379237862AA}" dt="2024-05-15T14:08:55.073" v="92" actId="47"/>
        <pc:sldMkLst>
          <pc:docMk/>
          <pc:sldMk cId="1359456799" sldId="760"/>
        </pc:sldMkLst>
      </pc:sldChg>
      <pc:sldChg chg="add">
        <pc:chgData name="Annemarija Apine (LV)" userId="546f5c59-3b8d-47fd-b739-a8fadc631053" providerId="ADAL" clId="{B76076CE-B521-447B-97B8-8379237862AA}" dt="2024-05-15T14:08:58.902" v="95"/>
        <pc:sldMkLst>
          <pc:docMk/>
          <pc:sldMk cId="12612729" sldId="761"/>
        </pc:sldMkLst>
      </pc:sldChg>
      <pc:sldChg chg="del">
        <pc:chgData name="Annemarija Apine (LV)" userId="546f5c59-3b8d-47fd-b739-a8fadc631053" providerId="ADAL" clId="{B76076CE-B521-447B-97B8-8379237862AA}" dt="2024-05-15T14:08:55.073" v="92" actId="47"/>
        <pc:sldMkLst>
          <pc:docMk/>
          <pc:sldMk cId="24918592" sldId="761"/>
        </pc:sldMkLst>
      </pc:sldChg>
      <pc:sldChg chg="mod modShow">
        <pc:chgData name="Annemarija Apine (LV)" userId="546f5c59-3b8d-47fd-b739-a8fadc631053" providerId="ADAL" clId="{B76076CE-B521-447B-97B8-8379237862AA}" dt="2024-05-16T14:13:05.057" v="139" actId="729"/>
        <pc:sldMkLst>
          <pc:docMk/>
          <pc:sldMk cId="2056487948" sldId="763"/>
        </pc:sldMkLst>
      </pc:sldChg>
      <pc:sldChg chg="del">
        <pc:chgData name="Annemarija Apine (LV)" userId="546f5c59-3b8d-47fd-b739-a8fadc631053" providerId="ADAL" clId="{B76076CE-B521-447B-97B8-8379237862AA}" dt="2024-05-15T14:08:55.073" v="92" actId="47"/>
        <pc:sldMkLst>
          <pc:docMk/>
          <pc:sldMk cId="38349204" sldId="764"/>
        </pc:sldMkLst>
      </pc:sldChg>
      <pc:sldChg chg="add">
        <pc:chgData name="Annemarija Apine (LV)" userId="546f5c59-3b8d-47fd-b739-a8fadc631053" providerId="ADAL" clId="{B76076CE-B521-447B-97B8-8379237862AA}" dt="2024-05-15T14:08:58.902" v="95"/>
        <pc:sldMkLst>
          <pc:docMk/>
          <pc:sldMk cId="2326445928" sldId="764"/>
        </pc:sldMkLst>
      </pc:sldChg>
      <pc:sldChg chg="del">
        <pc:chgData name="Annemarija Apine (LV)" userId="546f5c59-3b8d-47fd-b739-a8fadc631053" providerId="ADAL" clId="{B76076CE-B521-447B-97B8-8379237862AA}" dt="2024-05-15T14:08:55.073" v="92" actId="47"/>
        <pc:sldMkLst>
          <pc:docMk/>
          <pc:sldMk cId="652658970" sldId="765"/>
        </pc:sldMkLst>
      </pc:sldChg>
      <pc:sldChg chg="add">
        <pc:chgData name="Annemarija Apine (LV)" userId="546f5c59-3b8d-47fd-b739-a8fadc631053" providerId="ADAL" clId="{B76076CE-B521-447B-97B8-8379237862AA}" dt="2024-05-15T13:51:51.218" v="5"/>
        <pc:sldMkLst>
          <pc:docMk/>
          <pc:sldMk cId="160076585" sldId="766"/>
        </pc:sldMkLst>
      </pc:sldChg>
      <pc:sldChg chg="delSp modSp mod addCm delCm modCm">
        <pc:chgData name="Annemarija Apine (LV)" userId="546f5c59-3b8d-47fd-b739-a8fadc631053" providerId="ADAL" clId="{B76076CE-B521-447B-97B8-8379237862AA}" dt="2024-05-16T14:09:02.145" v="111"/>
        <pc:sldMkLst>
          <pc:docMk/>
          <pc:sldMk cId="192098022" sldId="2147481877"/>
        </pc:sldMkLst>
        <pc:spChg chg="mod">
          <ac:chgData name="Annemarija Apine (LV)" userId="546f5c59-3b8d-47fd-b739-a8fadc631053" providerId="ADAL" clId="{B76076CE-B521-447B-97B8-8379237862AA}" dt="2024-05-15T13:54:21.256" v="67" actId="14100"/>
          <ac:spMkLst>
            <pc:docMk/>
            <pc:sldMk cId="192098022" sldId="2147481877"/>
            <ac:spMk id="6" creationId="{2CB3F9F5-858C-1D21-4D13-EAEDABE2E74A}"/>
          </ac:spMkLst>
        </pc:spChg>
        <pc:picChg chg="del">
          <ac:chgData name="Annemarija Apine (LV)" userId="546f5c59-3b8d-47fd-b739-a8fadc631053" providerId="ADAL" clId="{B76076CE-B521-447B-97B8-8379237862AA}" dt="2024-05-15T13:54:16.373" v="66" actId="478"/>
          <ac:picMkLst>
            <pc:docMk/>
            <pc:sldMk cId="192098022" sldId="2147481877"/>
            <ac:picMk id="3" creationId="{063EEBD1-87EA-E0E0-BF01-408D78DD1340}"/>
          </ac:picMkLst>
        </pc:picChg>
        <pc:extLst>
          <p:ext xmlns:p="http://schemas.openxmlformats.org/presentationml/2006/main" uri="{D6D511B9-2390-475A-947B-AFAB55BFBCF1}">
            <pc226:cmChg xmlns:pc226="http://schemas.microsoft.com/office/powerpoint/2022/06/main/command" chg="add del">
              <pc226:chgData name="Annemarija Apine (LV)" userId="546f5c59-3b8d-47fd-b739-a8fadc631053" providerId="ADAL" clId="{B76076CE-B521-447B-97B8-8379237862AA}" dt="2024-05-16T14:09:02.145" v="111"/>
              <pc2:cmMkLst xmlns:pc2="http://schemas.microsoft.com/office/powerpoint/2019/9/main/command">
                <pc:docMk/>
                <pc:sldMk cId="192098022" sldId="2147481877"/>
                <pc2:cmMk id="{34AB9907-A448-473E-B05A-E96D68CA518A}"/>
              </pc2:cmMkLst>
            </pc226:cmChg>
            <pc226:cmChg xmlns:pc226="http://schemas.microsoft.com/office/powerpoint/2022/06/main/command" chg="add mod">
              <pc226:chgData name="Annemarija Apine (LV)" userId="546f5c59-3b8d-47fd-b739-a8fadc631053" providerId="ADAL" clId="{B76076CE-B521-447B-97B8-8379237862AA}" dt="2024-05-16T14:08:58.287" v="110"/>
              <pc2:cmMkLst xmlns:pc2="http://schemas.microsoft.com/office/powerpoint/2019/9/main/command">
                <pc:docMk/>
                <pc:sldMk cId="192098022" sldId="2147481877"/>
                <pc2:cmMk id="{63417D5C-4FE2-488C-B107-C45FAA1739A4}"/>
              </pc2:cmMkLst>
              <pc226:cmRplyChg chg="add mod">
                <pc226:chgData name="Annemarija Apine (LV)" userId="546f5c59-3b8d-47fd-b739-a8fadc631053" providerId="ADAL" clId="{B76076CE-B521-447B-97B8-8379237862AA}" dt="2024-05-16T14:08:58.287" v="110"/>
                <pc2:cmRplyMkLst xmlns:pc2="http://schemas.microsoft.com/office/powerpoint/2019/9/main/command">
                  <pc:docMk/>
                  <pc:sldMk cId="192098022" sldId="2147481877"/>
                  <pc2:cmMk id="{63417D5C-4FE2-488C-B107-C45FAA1739A4}"/>
                  <pc2:cmRplyMk id="{B02C2641-D094-4CED-AD84-6C9D7A6E3FF9}"/>
                </pc2:cmRplyMkLst>
              </pc226:cmRplyChg>
            </pc226:cmChg>
            <pc226:cmChg xmlns:pc226="http://schemas.microsoft.com/office/powerpoint/2022/06/main/command" chg="del">
              <pc226:chgData name="Annemarija Apine (LV)" userId="546f5c59-3b8d-47fd-b739-a8fadc631053" providerId="ADAL" clId="{B76076CE-B521-447B-97B8-8379237862AA}" dt="2024-05-15T13:50:52.089" v="1"/>
              <pc2:cmMkLst xmlns:pc2="http://schemas.microsoft.com/office/powerpoint/2019/9/main/command">
                <pc:docMk/>
                <pc:sldMk cId="192098022" sldId="2147481877"/>
                <pc2:cmMk id="{09AB7DDF-B7BA-4883-89D1-5D08384A2C27}"/>
              </pc2:cmMkLst>
            </pc226:cmChg>
          </p:ext>
        </pc:extLst>
      </pc:sldChg>
      <pc:sldChg chg="addCm">
        <pc:chgData name="Annemarija Apine (LV)" userId="546f5c59-3b8d-47fd-b739-a8fadc631053" providerId="ADAL" clId="{B76076CE-B521-447B-97B8-8379237862AA}" dt="2024-05-15T13:52:05.577" v="10"/>
        <pc:sldMkLst>
          <pc:docMk/>
          <pc:sldMk cId="1076096228" sldId="2147481883"/>
        </pc:sldMkLst>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B76076CE-B521-447B-97B8-8379237862AA}" dt="2024-05-15T13:52:05.577" v="10"/>
              <pc2:cmMkLst xmlns:pc2="http://schemas.microsoft.com/office/powerpoint/2019/9/main/command">
                <pc:docMk/>
                <pc:sldMk cId="1076096228" sldId="2147481883"/>
                <pc2:cmMk id="{90D166C6-4DDA-4102-8794-4FDCD0687F57}"/>
              </pc2:cmMkLst>
            </pc226:cmChg>
          </p:ext>
        </pc:extLst>
      </pc:sldChg>
      <pc:sldChg chg="add del">
        <pc:chgData name="Annemarija Apine (LV)" userId="546f5c59-3b8d-47fd-b739-a8fadc631053" providerId="ADAL" clId="{B76076CE-B521-447B-97B8-8379237862AA}" dt="2024-05-15T14:08:58.902" v="95"/>
        <pc:sldMkLst>
          <pc:docMk/>
          <pc:sldMk cId="4260349440" sldId="2147481886"/>
        </pc:sldMkLst>
      </pc:sldChg>
      <pc:sldChg chg="add del">
        <pc:chgData name="Annemarija Apine (LV)" userId="546f5c59-3b8d-47fd-b739-a8fadc631053" providerId="ADAL" clId="{B76076CE-B521-447B-97B8-8379237862AA}" dt="2024-05-15T14:08:58.902" v="95"/>
        <pc:sldMkLst>
          <pc:docMk/>
          <pc:sldMk cId="2647739992" sldId="2147481887"/>
        </pc:sldMkLst>
      </pc:sldChg>
      <pc:sldChg chg="mod modShow addCm">
        <pc:chgData name="Annemarija Apine (LV)" userId="546f5c59-3b8d-47fd-b739-a8fadc631053" providerId="ADAL" clId="{B76076CE-B521-447B-97B8-8379237862AA}" dt="2024-05-16T14:13:09.232" v="141"/>
        <pc:sldMkLst>
          <pc:docMk/>
          <pc:sldMk cId="59703751" sldId="2147481888"/>
        </pc:sldMkLst>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B76076CE-B521-447B-97B8-8379237862AA}" dt="2024-05-16T14:13:09.232" v="141"/>
              <pc2:cmMkLst xmlns:pc2="http://schemas.microsoft.com/office/powerpoint/2019/9/main/command">
                <pc:docMk/>
                <pc:sldMk cId="59703751" sldId="2147481888"/>
                <pc2:cmMk id="{4B62BA8B-4351-4CD1-8070-6A6DD6FEFD97}"/>
              </pc2:cmMkLst>
            </pc226:cmChg>
          </p:ext>
        </pc:extLst>
      </pc:sldChg>
      <pc:sldChg chg="addCm">
        <pc:chgData name="Annemarija Apine (LV)" userId="546f5c59-3b8d-47fd-b739-a8fadc631053" providerId="ADAL" clId="{B76076CE-B521-447B-97B8-8379237862AA}" dt="2024-05-15T13:53:27.706" v="55"/>
        <pc:sldMkLst>
          <pc:docMk/>
          <pc:sldMk cId="3901568867" sldId="2147481894"/>
        </pc:sldMkLst>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B76076CE-B521-447B-97B8-8379237862AA}" dt="2024-05-15T13:53:27.706" v="55"/>
              <pc2:cmMkLst xmlns:pc2="http://schemas.microsoft.com/office/powerpoint/2019/9/main/command">
                <pc:docMk/>
                <pc:sldMk cId="3901568867" sldId="2147481894"/>
                <pc2:cmMk id="{7D101C78-32AD-477F-A62D-0DD70598011E}"/>
              </pc2:cmMkLst>
            </pc226:cmChg>
          </p:ext>
        </pc:extLst>
      </pc:sldChg>
      <pc:sldChg chg="add">
        <pc:chgData name="Annemarija Apine (LV)" userId="546f5c59-3b8d-47fd-b739-a8fadc631053" providerId="ADAL" clId="{B76076CE-B521-447B-97B8-8379237862AA}" dt="2024-05-15T14:08:58.902" v="95"/>
        <pc:sldMkLst>
          <pc:docMk/>
          <pc:sldMk cId="2731229360" sldId="2147481895"/>
        </pc:sldMkLst>
      </pc:sldChg>
      <pc:sldChg chg="del">
        <pc:chgData name="Annemarija Apine (LV)" userId="546f5c59-3b8d-47fd-b739-a8fadc631053" providerId="ADAL" clId="{B76076CE-B521-447B-97B8-8379237862AA}" dt="2024-05-15T14:08:55.073" v="92" actId="47"/>
        <pc:sldMkLst>
          <pc:docMk/>
          <pc:sldMk cId="3740993330" sldId="2147481895"/>
        </pc:sldMkLst>
      </pc:sldChg>
      <pc:sldChg chg="del">
        <pc:chgData name="Annemarija Apine (LV)" userId="546f5c59-3b8d-47fd-b739-a8fadc631053" providerId="ADAL" clId="{B76076CE-B521-447B-97B8-8379237862AA}" dt="2024-05-15T14:08:55.073" v="92" actId="47"/>
        <pc:sldMkLst>
          <pc:docMk/>
          <pc:sldMk cId="1527957037" sldId="2147481898"/>
        </pc:sldMkLst>
      </pc:sldChg>
      <pc:sldChg chg="add">
        <pc:chgData name="Annemarija Apine (LV)" userId="546f5c59-3b8d-47fd-b739-a8fadc631053" providerId="ADAL" clId="{B76076CE-B521-447B-97B8-8379237862AA}" dt="2024-05-15T14:08:58.902" v="95"/>
        <pc:sldMkLst>
          <pc:docMk/>
          <pc:sldMk cId="3817097256" sldId="2147481898"/>
        </pc:sldMkLst>
      </pc:sldChg>
      <pc:sldChg chg="addCm">
        <pc:chgData name="Annemarija Apine (LV)" userId="546f5c59-3b8d-47fd-b739-a8fadc631053" providerId="ADAL" clId="{B76076CE-B521-447B-97B8-8379237862AA}" dt="2024-05-15T21:24:52.700" v="107"/>
        <pc:sldMkLst>
          <pc:docMk/>
          <pc:sldMk cId="310194463" sldId="2147481903"/>
        </pc:sldMkLst>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B76076CE-B521-447B-97B8-8379237862AA}" dt="2024-05-15T21:24:52.700" v="107"/>
              <pc2:cmMkLst xmlns:pc2="http://schemas.microsoft.com/office/powerpoint/2019/9/main/command">
                <pc:docMk/>
                <pc:sldMk cId="310194463" sldId="2147481903"/>
                <pc2:cmMk id="{51CCB069-B79D-4161-A90E-D2A6C3151363}"/>
              </pc2:cmMkLst>
            </pc226:cmChg>
          </p:ext>
        </pc:extLst>
      </pc:sldChg>
      <pc:sldChg chg="addCm">
        <pc:chgData name="Annemarija Apine (LV)" userId="546f5c59-3b8d-47fd-b739-a8fadc631053" providerId="ADAL" clId="{B76076CE-B521-447B-97B8-8379237862AA}" dt="2024-05-16T14:12:05.835" v="127"/>
        <pc:sldMkLst>
          <pc:docMk/>
          <pc:sldMk cId="2829430444" sldId="2147481906"/>
        </pc:sldMkLst>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B76076CE-B521-447B-97B8-8379237862AA}" dt="2024-05-16T14:12:05.835" v="127"/>
              <pc2:cmMkLst xmlns:pc2="http://schemas.microsoft.com/office/powerpoint/2019/9/main/command">
                <pc:docMk/>
                <pc:sldMk cId="2829430444" sldId="2147481906"/>
                <pc2:cmMk id="{1DB3209B-44DF-4971-85FB-B9884D31D252}"/>
              </pc2:cmMkLst>
            </pc226:cmChg>
          </p:ext>
        </pc:extLst>
      </pc:sldChg>
      <pc:sldChg chg="add">
        <pc:chgData name="Annemarija Apine (LV)" userId="546f5c59-3b8d-47fd-b739-a8fadc631053" providerId="ADAL" clId="{B76076CE-B521-447B-97B8-8379237862AA}" dt="2024-05-15T14:08:58.902" v="95"/>
        <pc:sldMkLst>
          <pc:docMk/>
          <pc:sldMk cId="3128847407" sldId="2147481907"/>
        </pc:sldMkLst>
      </pc:sldChg>
      <pc:sldChg chg="del">
        <pc:chgData name="Annemarija Apine (LV)" userId="546f5c59-3b8d-47fd-b739-a8fadc631053" providerId="ADAL" clId="{B76076CE-B521-447B-97B8-8379237862AA}" dt="2024-05-15T14:08:55.073" v="92" actId="47"/>
        <pc:sldMkLst>
          <pc:docMk/>
          <pc:sldMk cId="3335811587" sldId="2147481907"/>
        </pc:sldMkLst>
      </pc:sldChg>
      <pc:sldChg chg="del">
        <pc:chgData name="Annemarija Apine (LV)" userId="546f5c59-3b8d-47fd-b739-a8fadc631053" providerId="ADAL" clId="{B76076CE-B521-447B-97B8-8379237862AA}" dt="2024-05-15T14:08:55.073" v="92" actId="47"/>
        <pc:sldMkLst>
          <pc:docMk/>
          <pc:sldMk cId="3725367256" sldId="2147481913"/>
        </pc:sldMkLst>
      </pc:sldChg>
      <pc:sldChg chg="add">
        <pc:chgData name="Annemarija Apine (LV)" userId="546f5c59-3b8d-47fd-b739-a8fadc631053" providerId="ADAL" clId="{B76076CE-B521-447B-97B8-8379237862AA}" dt="2024-05-15T13:51:51.218" v="5"/>
        <pc:sldMkLst>
          <pc:docMk/>
          <pc:sldMk cId="2160348050" sldId="2147481944"/>
        </pc:sldMkLst>
      </pc:sldChg>
      <pc:sldChg chg="add">
        <pc:chgData name="Annemarija Apine (LV)" userId="546f5c59-3b8d-47fd-b739-a8fadc631053" providerId="ADAL" clId="{B76076CE-B521-447B-97B8-8379237862AA}" dt="2024-05-15T13:51:51.218" v="5"/>
        <pc:sldMkLst>
          <pc:docMk/>
          <pc:sldMk cId="2967609754" sldId="2147481945"/>
        </pc:sldMkLst>
      </pc:sldChg>
      <pc:sldChg chg="add">
        <pc:chgData name="Annemarija Apine (LV)" userId="546f5c59-3b8d-47fd-b739-a8fadc631053" providerId="ADAL" clId="{B76076CE-B521-447B-97B8-8379237862AA}" dt="2024-05-15T13:51:51.218" v="5"/>
        <pc:sldMkLst>
          <pc:docMk/>
          <pc:sldMk cId="790851881" sldId="2147481946"/>
        </pc:sldMkLst>
      </pc:sldChg>
      <pc:sldChg chg="add">
        <pc:chgData name="Annemarija Apine (LV)" userId="546f5c59-3b8d-47fd-b739-a8fadc631053" providerId="ADAL" clId="{B76076CE-B521-447B-97B8-8379237862AA}" dt="2024-05-15T13:51:51.218" v="5"/>
        <pc:sldMkLst>
          <pc:docMk/>
          <pc:sldMk cId="972494666" sldId="2147481947"/>
        </pc:sldMkLst>
      </pc:sldChg>
      <pc:sldChg chg="add">
        <pc:chgData name="Annemarija Apine (LV)" userId="546f5c59-3b8d-47fd-b739-a8fadc631053" providerId="ADAL" clId="{B76076CE-B521-447B-97B8-8379237862AA}" dt="2024-05-15T14:08:58.902" v="95"/>
        <pc:sldMkLst>
          <pc:docMk/>
          <pc:sldMk cId="1254450771" sldId="2147481948"/>
        </pc:sldMkLst>
      </pc:sldChg>
      <pc:sldChg chg="add">
        <pc:chgData name="Annemarija Apine (LV)" userId="546f5c59-3b8d-47fd-b739-a8fadc631053" providerId="ADAL" clId="{B76076CE-B521-447B-97B8-8379237862AA}" dt="2024-05-15T14:08:58.902" v="95"/>
        <pc:sldMkLst>
          <pc:docMk/>
          <pc:sldMk cId="4049782693" sldId="2147481949"/>
        </pc:sldMkLst>
      </pc:sldChg>
      <pc:sldChg chg="add">
        <pc:chgData name="Annemarija Apine (LV)" userId="546f5c59-3b8d-47fd-b739-a8fadc631053" providerId="ADAL" clId="{B76076CE-B521-447B-97B8-8379237862AA}" dt="2024-05-15T14:08:58.902" v="95"/>
        <pc:sldMkLst>
          <pc:docMk/>
          <pc:sldMk cId="3702537864" sldId="2147481950"/>
        </pc:sldMkLst>
      </pc:sldChg>
      <pc:sldChg chg="add">
        <pc:chgData name="Annemarija Apine (LV)" userId="546f5c59-3b8d-47fd-b739-a8fadc631053" providerId="ADAL" clId="{B76076CE-B521-447B-97B8-8379237862AA}" dt="2024-05-15T14:08:58.902" v="95"/>
        <pc:sldMkLst>
          <pc:docMk/>
          <pc:sldMk cId="3939567711" sldId="2147481951"/>
        </pc:sldMkLst>
      </pc:sldChg>
      <pc:sldChg chg="add del">
        <pc:chgData name="Annemarija Apine (LV)" userId="546f5c59-3b8d-47fd-b739-a8fadc631053" providerId="ADAL" clId="{B76076CE-B521-447B-97B8-8379237862AA}" dt="2024-05-16T14:12:31.290" v="136" actId="47"/>
        <pc:sldMkLst>
          <pc:docMk/>
          <pc:sldMk cId="4245330847" sldId="2147482056"/>
        </pc:sldMkLst>
      </pc:sldChg>
      <pc:sldChg chg="add del">
        <pc:chgData name="Annemarija Apine (LV)" userId="546f5c59-3b8d-47fd-b739-a8fadc631053" providerId="ADAL" clId="{B76076CE-B521-447B-97B8-8379237862AA}" dt="2024-05-16T14:12:31.290" v="136" actId="47"/>
        <pc:sldMkLst>
          <pc:docMk/>
          <pc:sldMk cId="4241092910" sldId="2147482059"/>
        </pc:sldMkLst>
      </pc:sldChg>
      <pc:sldChg chg="add del">
        <pc:chgData name="Annemarija Apine (LV)" userId="546f5c59-3b8d-47fd-b739-a8fadc631053" providerId="ADAL" clId="{B76076CE-B521-447B-97B8-8379237862AA}" dt="2024-05-16T14:12:31.290" v="136" actId="47"/>
        <pc:sldMkLst>
          <pc:docMk/>
          <pc:sldMk cId="1153818150" sldId="2147482060"/>
        </pc:sldMkLst>
      </pc:sldChg>
      <pc:sldChg chg="add del">
        <pc:chgData name="Annemarija Apine (LV)" userId="546f5c59-3b8d-47fd-b739-a8fadc631053" providerId="ADAL" clId="{B76076CE-B521-447B-97B8-8379237862AA}" dt="2024-05-16T14:12:31.290" v="136" actId="47"/>
        <pc:sldMkLst>
          <pc:docMk/>
          <pc:sldMk cId="3181295916" sldId="2147482061"/>
        </pc:sldMkLst>
      </pc:sldChg>
      <pc:sldChg chg="add del">
        <pc:chgData name="Annemarija Apine (LV)" userId="546f5c59-3b8d-47fd-b739-a8fadc631053" providerId="ADAL" clId="{B76076CE-B521-447B-97B8-8379237862AA}" dt="2024-05-16T14:12:31.290" v="136" actId="47"/>
        <pc:sldMkLst>
          <pc:docMk/>
          <pc:sldMk cId="1561713822" sldId="2147482069"/>
        </pc:sldMkLst>
      </pc:sldChg>
      <pc:sldChg chg="add del">
        <pc:chgData name="Annemarija Apine (LV)" userId="546f5c59-3b8d-47fd-b739-a8fadc631053" providerId="ADAL" clId="{B76076CE-B521-447B-97B8-8379237862AA}" dt="2024-05-16T14:12:31.290" v="136" actId="47"/>
        <pc:sldMkLst>
          <pc:docMk/>
          <pc:sldMk cId="1124360578" sldId="2147482079"/>
        </pc:sldMkLst>
      </pc:sldChg>
      <pc:sldChg chg="add del">
        <pc:chgData name="Annemarija Apine (LV)" userId="546f5c59-3b8d-47fd-b739-a8fadc631053" providerId="ADAL" clId="{B76076CE-B521-447B-97B8-8379237862AA}" dt="2024-05-16T14:12:31.290" v="136" actId="47"/>
        <pc:sldMkLst>
          <pc:docMk/>
          <pc:sldMk cId="1327582453" sldId="2147482080"/>
        </pc:sldMkLst>
      </pc:sldChg>
    </pc:docChg>
  </pc:docChgLst>
  <pc:docChgLst>
    <pc:chgData name="Sindija Kirsteine (LV)" userId="5f25501a-2215-4bb3-9d9c-8d1484ffa7c1" providerId="ADAL" clId="{51789BE2-0055-4F4A-9AAB-B67B2FFB34E0}"/>
    <pc:docChg chg="undo custSel addSld modSld sldOrd replTag">
      <pc:chgData name="Sindija Kirsteine (LV)" userId="5f25501a-2215-4bb3-9d9c-8d1484ffa7c1" providerId="ADAL" clId="{51789BE2-0055-4F4A-9AAB-B67B2FFB34E0}" dt="2024-06-03T15:15:22.551" v="3573"/>
      <pc:docMkLst>
        <pc:docMk/>
      </pc:docMkLst>
      <pc:sldChg chg="modSp mod">
        <pc:chgData name="Sindija Kirsteine (LV)" userId="5f25501a-2215-4bb3-9d9c-8d1484ffa7c1" providerId="ADAL" clId="{51789BE2-0055-4F4A-9AAB-B67B2FFB34E0}" dt="2024-05-28T13:00:48.763" v="174" actId="20577"/>
        <pc:sldMkLst>
          <pc:docMk/>
          <pc:sldMk cId="0" sldId="257"/>
        </pc:sldMkLst>
        <pc:spChg chg="mod">
          <ac:chgData name="Sindija Kirsteine (LV)" userId="5f25501a-2215-4bb3-9d9c-8d1484ffa7c1" providerId="ADAL" clId="{51789BE2-0055-4F4A-9AAB-B67B2FFB34E0}" dt="2024-05-28T13:00:48.763" v="174" actId="20577"/>
          <ac:spMkLst>
            <pc:docMk/>
            <pc:sldMk cId="0" sldId="257"/>
            <ac:spMk id="5" creationId="{00000000-0000-0000-0000-000000000000}"/>
          </ac:spMkLst>
        </pc:spChg>
        <pc:spChg chg="mod">
          <ac:chgData name="Sindija Kirsteine (LV)" userId="5f25501a-2215-4bb3-9d9c-8d1484ffa7c1" providerId="ADAL" clId="{51789BE2-0055-4F4A-9AAB-B67B2FFB34E0}" dt="2024-05-28T13:00:44.366" v="168" actId="20577"/>
          <ac:spMkLst>
            <pc:docMk/>
            <pc:sldMk cId="0" sldId="257"/>
            <ac:spMk id="27" creationId="{FE4065D5-5844-92B0-D2CC-BCC509607FB4}"/>
          </ac:spMkLst>
        </pc:spChg>
      </pc:sldChg>
      <pc:sldChg chg="addSp delSp modSp mod delCm modCm">
        <pc:chgData name="Sindija Kirsteine (LV)" userId="5f25501a-2215-4bb3-9d9c-8d1484ffa7c1" providerId="ADAL" clId="{51789BE2-0055-4F4A-9AAB-B67B2FFB34E0}" dt="2024-06-03T15:14:50.829" v="3568" actId="20577"/>
        <pc:sldMkLst>
          <pc:docMk/>
          <pc:sldMk cId="192098022" sldId="2147481877"/>
        </pc:sldMkLst>
        <pc:spChg chg="add mod">
          <ac:chgData name="Sindija Kirsteine (LV)" userId="5f25501a-2215-4bb3-9d9c-8d1484ffa7c1" providerId="ADAL" clId="{51789BE2-0055-4F4A-9AAB-B67B2FFB34E0}" dt="2024-05-28T13:50:01.412" v="925"/>
          <ac:spMkLst>
            <pc:docMk/>
            <pc:sldMk cId="192098022" sldId="2147481877"/>
            <ac:spMk id="3" creationId="{6A355E03-E3D4-57E7-8E5C-EA6D87D67D07}"/>
          </ac:spMkLst>
        </pc:spChg>
        <pc:spChg chg="add mod">
          <ac:chgData name="Sindija Kirsteine (LV)" userId="5f25501a-2215-4bb3-9d9c-8d1484ffa7c1" providerId="ADAL" clId="{51789BE2-0055-4F4A-9AAB-B67B2FFB34E0}" dt="2024-05-28T13:51:09.730" v="964" actId="20577"/>
          <ac:spMkLst>
            <pc:docMk/>
            <pc:sldMk cId="192098022" sldId="2147481877"/>
            <ac:spMk id="4" creationId="{5D11349D-67E6-D358-56A1-2A641284DFB5}"/>
          </ac:spMkLst>
        </pc:spChg>
        <pc:spChg chg="del mod">
          <ac:chgData name="Sindija Kirsteine (LV)" userId="5f25501a-2215-4bb3-9d9c-8d1484ffa7c1" providerId="ADAL" clId="{51789BE2-0055-4F4A-9AAB-B67B2FFB34E0}" dt="2024-05-28T13:49:57.499" v="922" actId="478"/>
          <ac:spMkLst>
            <pc:docMk/>
            <pc:sldMk cId="192098022" sldId="2147481877"/>
            <ac:spMk id="6" creationId="{2CB3F9F5-858C-1D21-4D13-EAEDABE2E74A}"/>
          </ac:spMkLst>
        </pc:spChg>
        <pc:spChg chg="add mod">
          <ac:chgData name="Sindija Kirsteine (LV)" userId="5f25501a-2215-4bb3-9d9c-8d1484ffa7c1" providerId="ADAL" clId="{51789BE2-0055-4F4A-9AAB-B67B2FFB34E0}" dt="2024-05-29T07:11:01.146" v="1008" actId="207"/>
          <ac:spMkLst>
            <pc:docMk/>
            <pc:sldMk cId="192098022" sldId="2147481877"/>
            <ac:spMk id="6" creationId="{847F1DA5-4E0E-C3BD-946C-125801C6EDE8}"/>
          </ac:spMkLst>
        </pc:spChg>
        <pc:spChg chg="add mod">
          <ac:chgData name="Sindija Kirsteine (LV)" userId="5f25501a-2215-4bb3-9d9c-8d1484ffa7c1" providerId="ADAL" clId="{51789BE2-0055-4F4A-9AAB-B67B2FFB34E0}" dt="2024-06-03T15:14:50.829" v="3568" actId="20577"/>
          <ac:spMkLst>
            <pc:docMk/>
            <pc:sldMk cId="192098022" sldId="2147481877"/>
            <ac:spMk id="7" creationId="{BC65054A-3879-FD6A-5856-AC5CA0045C75}"/>
          </ac:spMkLst>
        </pc:spChg>
        <pc:extLst>
          <p:ext xmlns:p="http://schemas.openxmlformats.org/presentationml/2006/main" uri="{D6D511B9-2390-475A-947B-AFAB55BFBCF1}">
            <pc226:cmChg xmlns:pc226="http://schemas.microsoft.com/office/powerpoint/2022/06/main/command" chg="del mod">
              <pc226:chgData name="Sindija Kirsteine (LV)" userId="5f25501a-2215-4bb3-9d9c-8d1484ffa7c1" providerId="ADAL" clId="{51789BE2-0055-4F4A-9AAB-B67B2FFB34E0}" dt="2024-05-28T13:51:16.410" v="965"/>
              <pc2:cmMkLst xmlns:pc2="http://schemas.microsoft.com/office/powerpoint/2019/9/main/command">
                <pc:docMk/>
                <pc:sldMk cId="192098022" sldId="2147481877"/>
                <pc2:cmMk id="{63417D5C-4FE2-488C-B107-C45FAA1739A4}"/>
              </pc2:cmMkLst>
            </pc226:cmChg>
          </p:ext>
        </pc:extLst>
      </pc:sldChg>
      <pc:sldChg chg="modSp mod">
        <pc:chgData name="Sindija Kirsteine (LV)" userId="5f25501a-2215-4bb3-9d9c-8d1484ffa7c1" providerId="ADAL" clId="{51789BE2-0055-4F4A-9AAB-B67B2FFB34E0}" dt="2024-05-27T11:12:34.140" v="50" actId="20577"/>
        <pc:sldMkLst>
          <pc:docMk/>
          <pc:sldMk cId="1498590892" sldId="2147481885"/>
        </pc:sldMkLst>
        <pc:spChg chg="mod">
          <ac:chgData name="Sindija Kirsteine (LV)" userId="5f25501a-2215-4bb3-9d9c-8d1484ffa7c1" providerId="ADAL" clId="{51789BE2-0055-4F4A-9AAB-B67B2FFB34E0}" dt="2024-05-27T11:12:34.140" v="50" actId="20577"/>
          <ac:spMkLst>
            <pc:docMk/>
            <pc:sldMk cId="1498590892" sldId="2147481885"/>
            <ac:spMk id="4" creationId="{B1CBE399-95B1-4855-23E2-3019CA5A03DE}"/>
          </ac:spMkLst>
        </pc:spChg>
      </pc:sldChg>
      <pc:sldChg chg="modSp mod">
        <pc:chgData name="Sindija Kirsteine (LV)" userId="5f25501a-2215-4bb3-9d9c-8d1484ffa7c1" providerId="ADAL" clId="{51789BE2-0055-4F4A-9AAB-B67B2FFB34E0}" dt="2024-05-27T11:13:20.072" v="76" actId="20577"/>
        <pc:sldMkLst>
          <pc:docMk/>
          <pc:sldMk cId="4260349440" sldId="2147481886"/>
        </pc:sldMkLst>
        <pc:spChg chg="mod">
          <ac:chgData name="Sindija Kirsteine (LV)" userId="5f25501a-2215-4bb3-9d9c-8d1484ffa7c1" providerId="ADAL" clId="{51789BE2-0055-4F4A-9AAB-B67B2FFB34E0}" dt="2024-05-27T11:13:20.072" v="76" actId="20577"/>
          <ac:spMkLst>
            <pc:docMk/>
            <pc:sldMk cId="4260349440" sldId="2147481886"/>
            <ac:spMk id="4" creationId="{B1CBE399-95B1-4855-23E2-3019CA5A03DE}"/>
          </ac:spMkLst>
        </pc:spChg>
      </pc:sldChg>
      <pc:sldChg chg="modSp mod">
        <pc:chgData name="Sindija Kirsteine (LV)" userId="5f25501a-2215-4bb3-9d9c-8d1484ffa7c1" providerId="ADAL" clId="{51789BE2-0055-4F4A-9AAB-B67B2FFB34E0}" dt="2024-05-27T11:14:40.579" v="103"/>
        <pc:sldMkLst>
          <pc:docMk/>
          <pc:sldMk cId="2647739992" sldId="2147481887"/>
        </pc:sldMkLst>
        <pc:spChg chg="mod">
          <ac:chgData name="Sindija Kirsteine (LV)" userId="5f25501a-2215-4bb3-9d9c-8d1484ffa7c1" providerId="ADAL" clId="{51789BE2-0055-4F4A-9AAB-B67B2FFB34E0}" dt="2024-05-27T11:14:40.579" v="103"/>
          <ac:spMkLst>
            <pc:docMk/>
            <pc:sldMk cId="2647739992" sldId="2147481887"/>
            <ac:spMk id="4" creationId="{B1CBE399-95B1-4855-23E2-3019CA5A03DE}"/>
          </ac:spMkLst>
        </pc:spChg>
      </pc:sldChg>
      <pc:sldChg chg="modSp mod">
        <pc:chgData name="Sindija Kirsteine (LV)" userId="5f25501a-2215-4bb3-9d9c-8d1484ffa7c1" providerId="ADAL" clId="{51789BE2-0055-4F4A-9AAB-B67B2FFB34E0}" dt="2024-05-27T11:15:09.927" v="116" actId="20577"/>
        <pc:sldMkLst>
          <pc:docMk/>
          <pc:sldMk cId="449992976" sldId="2147481889"/>
        </pc:sldMkLst>
        <pc:spChg chg="mod">
          <ac:chgData name="Sindija Kirsteine (LV)" userId="5f25501a-2215-4bb3-9d9c-8d1484ffa7c1" providerId="ADAL" clId="{51789BE2-0055-4F4A-9AAB-B67B2FFB34E0}" dt="2024-05-27T11:15:09.927" v="116" actId="20577"/>
          <ac:spMkLst>
            <pc:docMk/>
            <pc:sldMk cId="449992976" sldId="2147481889"/>
            <ac:spMk id="4" creationId="{B1CBE399-95B1-4855-23E2-3019CA5A03DE}"/>
          </ac:spMkLst>
        </pc:spChg>
      </pc:sldChg>
      <pc:sldChg chg="modSp mod delCm">
        <pc:chgData name="Sindija Kirsteine (LV)" userId="5f25501a-2215-4bb3-9d9c-8d1484ffa7c1" providerId="ADAL" clId="{51789BE2-0055-4F4A-9AAB-B67B2FFB34E0}" dt="2024-06-03T15:12:51.854" v="3505"/>
        <pc:sldMkLst>
          <pc:docMk/>
          <pc:sldMk cId="3901568867" sldId="2147481894"/>
        </pc:sldMkLst>
        <pc:spChg chg="mod">
          <ac:chgData name="Sindija Kirsteine (LV)" userId="5f25501a-2215-4bb3-9d9c-8d1484ffa7c1" providerId="ADAL" clId="{51789BE2-0055-4F4A-9AAB-B67B2FFB34E0}" dt="2024-05-27T11:12:15.727" v="45" actId="20577"/>
          <ac:spMkLst>
            <pc:docMk/>
            <pc:sldMk cId="3901568867" sldId="2147481894"/>
            <ac:spMk id="2" creationId="{00000000-0000-0000-0000-000000000000}"/>
          </ac:spMkLst>
        </pc:spChg>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51789BE2-0055-4F4A-9AAB-B67B2FFB34E0}" dt="2024-06-03T15:12:51.854" v="3505"/>
              <pc2:cmMkLst xmlns:pc2="http://schemas.microsoft.com/office/powerpoint/2019/9/main/command">
                <pc:docMk/>
                <pc:sldMk cId="3901568867" sldId="2147481894"/>
                <pc2:cmMk id="{7D101C78-32AD-477F-A62D-0DD70598011E}"/>
              </pc2:cmMkLst>
            </pc226:cmChg>
          </p:ext>
        </pc:extLst>
      </pc:sldChg>
      <pc:sldChg chg="delCm">
        <pc:chgData name="Sindija Kirsteine (LV)" userId="5f25501a-2215-4bb3-9d9c-8d1484ffa7c1" providerId="ADAL" clId="{51789BE2-0055-4F4A-9AAB-B67B2FFB34E0}" dt="2024-05-29T07:10:01.619" v="974"/>
        <pc:sldMkLst>
          <pc:docMk/>
          <pc:sldMk cId="310194463" sldId="2147481903"/>
        </pc:sldMkLst>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51789BE2-0055-4F4A-9AAB-B67B2FFB34E0}" dt="2024-05-29T07:10:01.619" v="974"/>
              <pc2:cmMkLst xmlns:pc2="http://schemas.microsoft.com/office/powerpoint/2019/9/main/command">
                <pc:docMk/>
                <pc:sldMk cId="310194463" sldId="2147481903"/>
                <pc2:cmMk id="{51CCB069-B79D-4161-A90E-D2A6C3151363}"/>
              </pc2:cmMkLst>
            </pc226:cmChg>
          </p:ext>
        </pc:extLst>
      </pc:sldChg>
      <pc:sldChg chg="mod modShow">
        <pc:chgData name="Sindija Kirsteine (LV)" userId="5f25501a-2215-4bb3-9d9c-8d1484ffa7c1" providerId="ADAL" clId="{51789BE2-0055-4F4A-9AAB-B67B2FFB34E0}" dt="2024-05-29T08:38:41.623" v="3475" actId="729"/>
        <pc:sldMkLst>
          <pc:docMk/>
          <pc:sldMk cId="2829430444" sldId="2147481906"/>
        </pc:sldMkLst>
      </pc:sldChg>
      <pc:sldChg chg="mod modShow">
        <pc:chgData name="Sindija Kirsteine (LV)" userId="5f25501a-2215-4bb3-9d9c-8d1484ffa7c1" providerId="ADAL" clId="{51789BE2-0055-4F4A-9AAB-B67B2FFB34E0}" dt="2024-05-29T08:38:43.497" v="3477" actId="729"/>
        <pc:sldMkLst>
          <pc:docMk/>
          <pc:sldMk cId="2443351344" sldId="2147481921"/>
        </pc:sldMkLst>
      </pc:sldChg>
      <pc:sldChg chg="addCm delCm">
        <pc:chgData name="Sindija Kirsteine (LV)" userId="5f25501a-2215-4bb3-9d9c-8d1484ffa7c1" providerId="ADAL" clId="{51789BE2-0055-4F4A-9AAB-B67B2FFB34E0}" dt="2024-05-29T08:14:17.487" v="3151"/>
        <pc:sldMkLst>
          <pc:docMk/>
          <pc:sldMk cId="4049782693" sldId="2147481949"/>
        </pc:sldMkLst>
        <pc:extLst>
          <p:ext xmlns:p="http://schemas.openxmlformats.org/presentationml/2006/main" uri="{D6D511B9-2390-475A-947B-AFAB55BFBCF1}">
            <pc226:cmChg xmlns:pc226="http://schemas.microsoft.com/office/powerpoint/2022/06/main/command" chg="add del">
              <pc226:chgData name="Sindija Kirsteine (LV)" userId="5f25501a-2215-4bb3-9d9c-8d1484ffa7c1" providerId="ADAL" clId="{51789BE2-0055-4F4A-9AAB-B67B2FFB34E0}" dt="2024-05-29T08:14:17.487" v="3151"/>
              <pc2:cmMkLst xmlns:pc2="http://schemas.microsoft.com/office/powerpoint/2019/9/main/command">
                <pc:docMk/>
                <pc:sldMk cId="4049782693" sldId="2147481949"/>
                <pc2:cmMk id="{62F949C9-F81A-4195-8469-115A593566CA}"/>
              </pc2:cmMkLst>
            </pc226:cmChg>
          </p:ext>
        </pc:extLst>
      </pc:sldChg>
      <pc:sldChg chg="addSp delSp modSp new mod ord addCm delCm modCm">
        <pc:chgData name="Sindija Kirsteine (LV)" userId="5f25501a-2215-4bb3-9d9c-8d1484ffa7c1" providerId="ADAL" clId="{51789BE2-0055-4F4A-9AAB-B67B2FFB34E0}" dt="2024-06-03T15:14:11.767" v="3535" actId="1076"/>
        <pc:sldMkLst>
          <pc:docMk/>
          <pc:sldMk cId="8764514" sldId="2147481952"/>
        </pc:sldMkLst>
        <pc:spChg chg="add mod">
          <ac:chgData name="Sindija Kirsteine (LV)" userId="5f25501a-2215-4bb3-9d9c-8d1484ffa7c1" providerId="ADAL" clId="{51789BE2-0055-4F4A-9AAB-B67B2FFB34E0}" dt="2024-05-29T08:12:01.396" v="3116" actId="1076"/>
          <ac:spMkLst>
            <pc:docMk/>
            <pc:sldMk cId="8764514" sldId="2147481952"/>
            <ac:spMk id="2" creationId="{1299C1A8-38BE-9556-5CBE-67D0E693F9D9}"/>
          </ac:spMkLst>
        </pc:spChg>
        <pc:spChg chg="del mod">
          <ac:chgData name="Sindija Kirsteine (LV)" userId="5f25501a-2215-4bb3-9d9c-8d1484ffa7c1" providerId="ADAL" clId="{51789BE2-0055-4F4A-9AAB-B67B2FFB34E0}" dt="2024-05-28T12:57:13.991" v="157" actId="478"/>
          <ac:spMkLst>
            <pc:docMk/>
            <pc:sldMk cId="8764514" sldId="2147481952"/>
            <ac:spMk id="2" creationId="{64592CFF-5E63-94E1-B303-8FA71DB1D0DD}"/>
          </ac:spMkLst>
        </pc:spChg>
        <pc:spChg chg="add mod">
          <ac:chgData name="Sindija Kirsteine (LV)" userId="5f25501a-2215-4bb3-9d9c-8d1484ffa7c1" providerId="ADAL" clId="{51789BE2-0055-4F4A-9AAB-B67B2FFB34E0}" dt="2024-05-29T08:12:37.274" v="3128" actId="1076"/>
          <ac:spMkLst>
            <pc:docMk/>
            <pc:sldMk cId="8764514" sldId="2147481952"/>
            <ac:spMk id="4" creationId="{044CED17-0DEE-4EF2-DBA6-CA96B5379582}"/>
          </ac:spMkLst>
        </pc:spChg>
        <pc:spChg chg="del">
          <ac:chgData name="Sindija Kirsteine (LV)" userId="5f25501a-2215-4bb3-9d9c-8d1484ffa7c1" providerId="ADAL" clId="{51789BE2-0055-4F4A-9AAB-B67B2FFB34E0}" dt="2024-05-28T12:58:19.177" v="163" actId="478"/>
          <ac:spMkLst>
            <pc:docMk/>
            <pc:sldMk cId="8764514" sldId="2147481952"/>
            <ac:spMk id="4" creationId="{11AC193C-FA2B-0CE6-FEEA-C1813372FFB3}"/>
          </ac:spMkLst>
        </pc:spChg>
        <pc:spChg chg="del">
          <ac:chgData name="Sindija Kirsteine (LV)" userId="5f25501a-2215-4bb3-9d9c-8d1484ffa7c1" providerId="ADAL" clId="{51789BE2-0055-4F4A-9AAB-B67B2FFB34E0}" dt="2024-05-28T12:58:17.183" v="162" actId="478"/>
          <ac:spMkLst>
            <pc:docMk/>
            <pc:sldMk cId="8764514" sldId="2147481952"/>
            <ac:spMk id="5" creationId="{59EBE925-995F-6A2D-B741-59901C8320BF}"/>
          </ac:spMkLst>
        </pc:spChg>
        <pc:spChg chg="add mod">
          <ac:chgData name="Sindija Kirsteine (LV)" userId="5f25501a-2215-4bb3-9d9c-8d1484ffa7c1" providerId="ADAL" clId="{51789BE2-0055-4F4A-9AAB-B67B2FFB34E0}" dt="2024-05-29T08:23:11.128" v="3235" actId="1035"/>
          <ac:spMkLst>
            <pc:docMk/>
            <pc:sldMk cId="8764514" sldId="2147481952"/>
            <ac:spMk id="5" creationId="{78E2C0FC-63C3-7920-0F0A-031A1C50B2A8}"/>
          </ac:spMkLst>
        </pc:spChg>
        <pc:spChg chg="add mod">
          <ac:chgData name="Sindija Kirsteine (LV)" userId="5f25501a-2215-4bb3-9d9c-8d1484ffa7c1" providerId="ADAL" clId="{51789BE2-0055-4F4A-9AAB-B67B2FFB34E0}" dt="2024-05-29T08:12:43.929" v="3129" actId="1076"/>
          <ac:spMkLst>
            <pc:docMk/>
            <pc:sldMk cId="8764514" sldId="2147481952"/>
            <ac:spMk id="6" creationId="{D3EBD2C9-4A14-6860-4948-2EF442A78DA7}"/>
          </ac:spMkLst>
        </pc:spChg>
        <pc:spChg chg="add mod">
          <ac:chgData name="Sindija Kirsteine (LV)" userId="5f25501a-2215-4bb3-9d9c-8d1484ffa7c1" providerId="ADAL" clId="{51789BE2-0055-4F4A-9AAB-B67B2FFB34E0}" dt="2024-05-29T08:23:20.166" v="3254" actId="1076"/>
          <ac:spMkLst>
            <pc:docMk/>
            <pc:sldMk cId="8764514" sldId="2147481952"/>
            <ac:spMk id="7" creationId="{3C135BF1-68FD-E187-6474-C89224402F84}"/>
          </ac:spMkLst>
        </pc:spChg>
        <pc:spChg chg="add mod">
          <ac:chgData name="Sindija Kirsteine (LV)" userId="5f25501a-2215-4bb3-9d9c-8d1484ffa7c1" providerId="ADAL" clId="{51789BE2-0055-4F4A-9AAB-B67B2FFB34E0}" dt="2024-06-03T15:14:11.767" v="3535" actId="1076"/>
          <ac:spMkLst>
            <pc:docMk/>
            <pc:sldMk cId="8764514" sldId="2147481952"/>
            <ac:spMk id="8" creationId="{11C621BF-C088-E999-27EF-06E360CED235}"/>
          </ac:spMkLst>
        </pc:spChg>
        <pc:spChg chg="add del mod">
          <ac:chgData name="Sindija Kirsteine (LV)" userId="5f25501a-2215-4bb3-9d9c-8d1484ffa7c1" providerId="ADAL" clId="{51789BE2-0055-4F4A-9AAB-B67B2FFB34E0}" dt="2024-05-29T08:04:21.999" v="2834" actId="21"/>
          <ac:spMkLst>
            <pc:docMk/>
            <pc:sldMk cId="8764514" sldId="2147481952"/>
            <ac:spMk id="8" creationId="{7D59F934-F36E-FE04-C1FC-01D76C89BDFD}"/>
          </ac:spMkLst>
        </pc:spChg>
        <pc:spChg chg="add del mod">
          <ac:chgData name="Sindija Kirsteine (LV)" userId="5f25501a-2215-4bb3-9d9c-8d1484ffa7c1" providerId="ADAL" clId="{51789BE2-0055-4F4A-9AAB-B67B2FFB34E0}" dt="2024-05-29T07:45:14.511" v="2060" actId="478"/>
          <ac:spMkLst>
            <pc:docMk/>
            <pc:sldMk cId="8764514" sldId="2147481952"/>
            <ac:spMk id="9" creationId="{3305B4F0-B855-BBB7-7851-AF127C52AB18}"/>
          </ac:spMkLst>
        </pc:spChg>
        <pc:spChg chg="add del mod">
          <ac:chgData name="Sindija Kirsteine (LV)" userId="5f25501a-2215-4bb3-9d9c-8d1484ffa7c1" providerId="ADAL" clId="{51789BE2-0055-4F4A-9AAB-B67B2FFB34E0}" dt="2024-05-29T07:45:31.487" v="2063" actId="478"/>
          <ac:spMkLst>
            <pc:docMk/>
            <pc:sldMk cId="8764514" sldId="2147481952"/>
            <ac:spMk id="10" creationId="{358030F2-054C-E298-7B8A-17892F8C5B15}"/>
          </ac:spMkLst>
        </pc:spChg>
        <pc:spChg chg="add del mod">
          <ac:chgData name="Sindija Kirsteine (LV)" userId="5f25501a-2215-4bb3-9d9c-8d1484ffa7c1" providerId="ADAL" clId="{51789BE2-0055-4F4A-9AAB-B67B2FFB34E0}" dt="2024-05-29T08:04:21.999" v="2834" actId="21"/>
          <ac:spMkLst>
            <pc:docMk/>
            <pc:sldMk cId="8764514" sldId="2147481952"/>
            <ac:spMk id="11" creationId="{FA63416C-CD82-8E70-2EB0-BF1BB41CB8A6}"/>
          </ac:spMkLst>
        </pc:spChg>
        <pc:spChg chg="add del mod">
          <ac:chgData name="Sindija Kirsteine (LV)" userId="5f25501a-2215-4bb3-9d9c-8d1484ffa7c1" providerId="ADAL" clId="{51789BE2-0055-4F4A-9AAB-B67B2FFB34E0}" dt="2024-05-29T08:12:32.536" v="3127"/>
          <ac:spMkLst>
            <pc:docMk/>
            <pc:sldMk cId="8764514" sldId="2147481952"/>
            <ac:spMk id="13" creationId="{9C22EFB0-A35C-69BD-2438-77D0188045DF}"/>
          </ac:spMkLst>
        </pc:spChg>
        <pc:spChg chg="add mod">
          <ac:chgData name="Sindija Kirsteine (LV)" userId="5f25501a-2215-4bb3-9d9c-8d1484ffa7c1" providerId="ADAL" clId="{51789BE2-0055-4F4A-9AAB-B67B2FFB34E0}" dt="2024-05-29T08:22:42.101" v="3180" actId="14100"/>
          <ac:spMkLst>
            <pc:docMk/>
            <pc:sldMk cId="8764514" sldId="2147481952"/>
            <ac:spMk id="14" creationId="{9FD14EA1-5F55-4208-B044-621497B14600}"/>
          </ac:spMkLst>
        </pc:spChg>
        <pc:spChg chg="add mod">
          <ac:chgData name="Sindija Kirsteine (LV)" userId="5f25501a-2215-4bb3-9d9c-8d1484ffa7c1" providerId="ADAL" clId="{51789BE2-0055-4F4A-9AAB-B67B2FFB34E0}" dt="2024-05-29T08:22:51.152" v="3193" actId="1035"/>
          <ac:spMkLst>
            <pc:docMk/>
            <pc:sldMk cId="8764514" sldId="2147481952"/>
            <ac:spMk id="15" creationId="{D94CBB10-3D88-8D99-A508-25320F8BC0AE}"/>
          </ac:spMkLst>
        </pc:spChg>
        <pc:spChg chg="add mod">
          <ac:chgData name="Sindija Kirsteine (LV)" userId="5f25501a-2215-4bb3-9d9c-8d1484ffa7c1" providerId="ADAL" clId="{51789BE2-0055-4F4A-9AAB-B67B2FFB34E0}" dt="2024-05-29T08:22:58.731" v="3208" actId="1035"/>
          <ac:spMkLst>
            <pc:docMk/>
            <pc:sldMk cId="8764514" sldId="2147481952"/>
            <ac:spMk id="16" creationId="{CA061F35-E025-EC98-466B-1A5CDADF26EF}"/>
          </ac:spMkLst>
        </pc:spChg>
        <pc:spChg chg="add mod">
          <ac:chgData name="Sindija Kirsteine (LV)" userId="5f25501a-2215-4bb3-9d9c-8d1484ffa7c1" providerId="ADAL" clId="{51789BE2-0055-4F4A-9AAB-B67B2FFB34E0}" dt="2024-05-29T08:23:02.569" v="3222" actId="1035"/>
          <ac:spMkLst>
            <pc:docMk/>
            <pc:sldMk cId="8764514" sldId="2147481952"/>
            <ac:spMk id="17" creationId="{7E19FA06-400B-67CA-FA4B-3971DB1E3B31}"/>
          </ac:spMkLst>
        </pc:spChg>
        <pc:extLst>
          <p:ext xmlns:p="http://schemas.openxmlformats.org/presentationml/2006/main" uri="{D6D511B9-2390-475A-947B-AFAB55BFBCF1}">
            <pc226:cmChg xmlns:pc226="http://schemas.microsoft.com/office/powerpoint/2022/06/main/command" chg="add del mod">
              <pc226:chgData name="Sindija Kirsteine (LV)" userId="5f25501a-2215-4bb3-9d9c-8d1484ffa7c1" providerId="ADAL" clId="{51789BE2-0055-4F4A-9AAB-B67B2FFB34E0}" dt="2024-05-29T08:14:00.729" v="3149"/>
              <pc2:cmMkLst xmlns:pc2="http://schemas.microsoft.com/office/powerpoint/2019/9/main/command">
                <pc:docMk/>
                <pc:sldMk cId="8764514" sldId="2147481952"/>
                <pc2:cmMk id="{506015B4-4F9D-4D2A-85BF-9C97461C5710}"/>
              </pc2:cmMkLst>
            </pc226:cmChg>
          </p:ext>
        </pc:extLst>
      </pc:sldChg>
      <pc:sldChg chg="addSp delSp modSp new mod modNotesTx">
        <pc:chgData name="Sindija Kirsteine (LV)" userId="5f25501a-2215-4bb3-9d9c-8d1484ffa7c1" providerId="ADAL" clId="{51789BE2-0055-4F4A-9AAB-B67B2FFB34E0}" dt="2024-06-03T15:14:01.203" v="3529" actId="207"/>
        <pc:sldMkLst>
          <pc:docMk/>
          <pc:sldMk cId="1261692589" sldId="2147481953"/>
        </pc:sldMkLst>
        <pc:spChg chg="mod">
          <ac:chgData name="Sindija Kirsteine (LV)" userId="5f25501a-2215-4bb3-9d9c-8d1484ffa7c1" providerId="ADAL" clId="{51789BE2-0055-4F4A-9AAB-B67B2FFB34E0}" dt="2024-05-28T13:18:22.481" v="507" actId="20577"/>
          <ac:spMkLst>
            <pc:docMk/>
            <pc:sldMk cId="1261692589" sldId="2147481953"/>
            <ac:spMk id="2" creationId="{1A6103D8-B23D-68A9-5B86-59618E4C749F}"/>
          </ac:spMkLst>
        </pc:spChg>
        <pc:spChg chg="del">
          <ac:chgData name="Sindija Kirsteine (LV)" userId="5f25501a-2215-4bb3-9d9c-8d1484ffa7c1" providerId="ADAL" clId="{51789BE2-0055-4F4A-9AAB-B67B2FFB34E0}" dt="2024-05-28T13:31:31.715" v="653" actId="478"/>
          <ac:spMkLst>
            <pc:docMk/>
            <pc:sldMk cId="1261692589" sldId="2147481953"/>
            <ac:spMk id="4" creationId="{30596CEE-A1FC-B324-D7B7-4529E3464A5C}"/>
          </ac:spMkLst>
        </pc:spChg>
        <pc:spChg chg="del">
          <ac:chgData name="Sindija Kirsteine (LV)" userId="5f25501a-2215-4bb3-9d9c-8d1484ffa7c1" providerId="ADAL" clId="{51789BE2-0055-4F4A-9AAB-B67B2FFB34E0}" dt="2024-05-28T13:31:29.916" v="652" actId="478"/>
          <ac:spMkLst>
            <pc:docMk/>
            <pc:sldMk cId="1261692589" sldId="2147481953"/>
            <ac:spMk id="5" creationId="{44D30788-5A0F-A3D2-8479-BE5B3B50E994}"/>
          </ac:spMkLst>
        </pc:spChg>
        <pc:spChg chg="add mod">
          <ac:chgData name="Sindija Kirsteine (LV)" userId="5f25501a-2215-4bb3-9d9c-8d1484ffa7c1" providerId="ADAL" clId="{51789BE2-0055-4F4A-9AAB-B67B2FFB34E0}" dt="2024-05-28T13:30:01.566" v="514" actId="1076"/>
          <ac:spMkLst>
            <pc:docMk/>
            <pc:sldMk cId="1261692589" sldId="2147481953"/>
            <ac:spMk id="6" creationId="{2A93ECFE-047D-FE79-AC0E-1E327CF30CB5}"/>
          </ac:spMkLst>
        </pc:spChg>
        <pc:spChg chg="add del mod">
          <ac:chgData name="Sindija Kirsteine (LV)" userId="5f25501a-2215-4bb3-9d9c-8d1484ffa7c1" providerId="ADAL" clId="{51789BE2-0055-4F4A-9AAB-B67B2FFB34E0}" dt="2024-05-28T13:29:44.052" v="513" actId="478"/>
          <ac:spMkLst>
            <pc:docMk/>
            <pc:sldMk cId="1261692589" sldId="2147481953"/>
            <ac:spMk id="7" creationId="{E09C387E-F76B-19A0-43C3-DB692A89A322}"/>
          </ac:spMkLst>
        </pc:spChg>
        <pc:spChg chg="add mod">
          <ac:chgData name="Sindija Kirsteine (LV)" userId="5f25501a-2215-4bb3-9d9c-8d1484ffa7c1" providerId="ADAL" clId="{51789BE2-0055-4F4A-9AAB-B67B2FFB34E0}" dt="2024-05-28T13:30:05.046" v="515" actId="404"/>
          <ac:spMkLst>
            <pc:docMk/>
            <pc:sldMk cId="1261692589" sldId="2147481953"/>
            <ac:spMk id="8" creationId="{CA0659F6-2E5A-9FEB-BFB9-89801B19FC51}"/>
          </ac:spMkLst>
        </pc:spChg>
        <pc:spChg chg="add mod">
          <ac:chgData name="Sindija Kirsteine (LV)" userId="5f25501a-2215-4bb3-9d9c-8d1484ffa7c1" providerId="ADAL" clId="{51789BE2-0055-4F4A-9AAB-B67B2FFB34E0}" dt="2024-05-28T13:32:59.743" v="846" actId="20577"/>
          <ac:spMkLst>
            <pc:docMk/>
            <pc:sldMk cId="1261692589" sldId="2147481953"/>
            <ac:spMk id="9" creationId="{E70D858B-428A-ADD7-5B09-7380EC7EFD50}"/>
          </ac:spMkLst>
        </pc:spChg>
        <pc:spChg chg="add mod">
          <ac:chgData name="Sindija Kirsteine (LV)" userId="5f25501a-2215-4bb3-9d9c-8d1484ffa7c1" providerId="ADAL" clId="{51789BE2-0055-4F4A-9AAB-B67B2FFB34E0}" dt="2024-05-28T13:34:23.590" v="885" actId="1076"/>
          <ac:spMkLst>
            <pc:docMk/>
            <pc:sldMk cId="1261692589" sldId="2147481953"/>
            <ac:spMk id="10" creationId="{C3D2E68C-7695-C8CF-32A8-F802E8A57B43}"/>
          </ac:spMkLst>
        </pc:spChg>
        <pc:spChg chg="add del mod">
          <ac:chgData name="Sindija Kirsteine (LV)" userId="5f25501a-2215-4bb3-9d9c-8d1484ffa7c1" providerId="ADAL" clId="{51789BE2-0055-4F4A-9AAB-B67B2FFB34E0}" dt="2024-05-28T13:30:45.255" v="606"/>
          <ac:spMkLst>
            <pc:docMk/>
            <pc:sldMk cId="1261692589" sldId="2147481953"/>
            <ac:spMk id="11" creationId="{853E15F1-78CC-6986-C7A2-AB2C13E71BD5}"/>
          </ac:spMkLst>
        </pc:spChg>
        <pc:spChg chg="add mod">
          <ac:chgData name="Sindija Kirsteine (LV)" userId="5f25501a-2215-4bb3-9d9c-8d1484ffa7c1" providerId="ADAL" clId="{51789BE2-0055-4F4A-9AAB-B67B2FFB34E0}" dt="2024-05-28T13:35:02.784" v="912" actId="20577"/>
          <ac:spMkLst>
            <pc:docMk/>
            <pc:sldMk cId="1261692589" sldId="2147481953"/>
            <ac:spMk id="12" creationId="{66F4610F-EE20-E0C2-F3B8-E87C3A8C009E}"/>
          </ac:spMkLst>
        </pc:spChg>
        <pc:spChg chg="add mod">
          <ac:chgData name="Sindija Kirsteine (LV)" userId="5f25501a-2215-4bb3-9d9c-8d1484ffa7c1" providerId="ADAL" clId="{51789BE2-0055-4F4A-9AAB-B67B2FFB34E0}" dt="2024-06-03T15:14:01.203" v="3529" actId="207"/>
          <ac:spMkLst>
            <pc:docMk/>
            <pc:sldMk cId="1261692589" sldId="2147481953"/>
            <ac:spMk id="13" creationId="{1C2FEEA4-3DB9-8804-6107-D903A534DA74}"/>
          </ac:spMkLst>
        </pc:spChg>
      </pc:sldChg>
      <pc:sldChg chg="addSp delSp modSp new mod">
        <pc:chgData name="Sindija Kirsteine (LV)" userId="5f25501a-2215-4bb3-9d9c-8d1484ffa7c1" providerId="ADAL" clId="{51789BE2-0055-4F4A-9AAB-B67B2FFB34E0}" dt="2024-06-03T15:14:08.948" v="3532" actId="1076"/>
        <pc:sldMkLst>
          <pc:docMk/>
          <pc:sldMk cId="4214794587" sldId="2147481954"/>
        </pc:sldMkLst>
        <pc:spChg chg="mod">
          <ac:chgData name="Sindija Kirsteine (LV)" userId="5f25501a-2215-4bb3-9d9c-8d1484ffa7c1" providerId="ADAL" clId="{51789BE2-0055-4F4A-9AAB-B67B2FFB34E0}" dt="2024-05-29T08:04:29.147" v="2839"/>
          <ac:spMkLst>
            <pc:docMk/>
            <pc:sldMk cId="4214794587" sldId="2147481954"/>
            <ac:spMk id="2" creationId="{E442B2BF-6A0E-0723-F844-7CC43A351D70}"/>
          </ac:spMkLst>
        </pc:spChg>
        <pc:spChg chg="add mod">
          <ac:chgData name="Sindija Kirsteine (LV)" userId="5f25501a-2215-4bb3-9d9c-8d1484ffa7c1" providerId="ADAL" clId="{51789BE2-0055-4F4A-9AAB-B67B2FFB34E0}" dt="2024-06-03T15:14:08.948" v="3532" actId="1076"/>
          <ac:spMkLst>
            <pc:docMk/>
            <pc:sldMk cId="4214794587" sldId="2147481954"/>
            <ac:spMk id="4" creationId="{1D6E78E0-0AF1-46A2-A137-937245CB364E}"/>
          </ac:spMkLst>
        </pc:spChg>
        <pc:spChg chg="del">
          <ac:chgData name="Sindija Kirsteine (LV)" userId="5f25501a-2215-4bb3-9d9c-8d1484ffa7c1" providerId="ADAL" clId="{51789BE2-0055-4F4A-9AAB-B67B2FFB34E0}" dt="2024-05-29T08:29:59.054" v="3423" actId="478"/>
          <ac:spMkLst>
            <pc:docMk/>
            <pc:sldMk cId="4214794587" sldId="2147481954"/>
            <ac:spMk id="4" creationId="{FC75F671-93DC-D1EE-BD19-2D3A84DB2D8C}"/>
          </ac:spMkLst>
        </pc:spChg>
        <pc:spChg chg="del">
          <ac:chgData name="Sindija Kirsteine (LV)" userId="5f25501a-2215-4bb3-9d9c-8d1484ffa7c1" providerId="ADAL" clId="{51789BE2-0055-4F4A-9AAB-B67B2FFB34E0}" dt="2024-05-29T08:29:56.632" v="3422" actId="478"/>
          <ac:spMkLst>
            <pc:docMk/>
            <pc:sldMk cId="4214794587" sldId="2147481954"/>
            <ac:spMk id="5" creationId="{7AA24A7F-2D17-AE30-8516-255ADE1B9FAC}"/>
          </ac:spMkLst>
        </pc:spChg>
        <pc:spChg chg="add mod">
          <ac:chgData name="Sindija Kirsteine (LV)" userId="5f25501a-2215-4bb3-9d9c-8d1484ffa7c1" providerId="ADAL" clId="{51789BE2-0055-4F4A-9AAB-B67B2FFB34E0}" dt="2024-05-29T08:04:41.384" v="2843" actId="1076"/>
          <ac:spMkLst>
            <pc:docMk/>
            <pc:sldMk cId="4214794587" sldId="2147481954"/>
            <ac:spMk id="6" creationId="{3D0BF9BF-BE99-C84D-89CA-76702B55E9C0}"/>
          </ac:spMkLst>
        </pc:spChg>
        <pc:spChg chg="add mod">
          <ac:chgData name="Sindija Kirsteine (LV)" userId="5f25501a-2215-4bb3-9d9c-8d1484ffa7c1" providerId="ADAL" clId="{51789BE2-0055-4F4A-9AAB-B67B2FFB34E0}" dt="2024-05-29T08:37:52.860" v="3467" actId="20577"/>
          <ac:spMkLst>
            <pc:docMk/>
            <pc:sldMk cId="4214794587" sldId="2147481954"/>
            <ac:spMk id="7" creationId="{10F436D6-8BC8-7BB4-C2A4-4C06130EDD14}"/>
          </ac:spMkLst>
        </pc:spChg>
        <pc:spChg chg="add mod">
          <ac:chgData name="Sindija Kirsteine (LV)" userId="5f25501a-2215-4bb3-9d9c-8d1484ffa7c1" providerId="ADAL" clId="{51789BE2-0055-4F4A-9AAB-B67B2FFB34E0}" dt="2024-05-29T08:07:02.676" v="2938" actId="20577"/>
          <ac:spMkLst>
            <pc:docMk/>
            <pc:sldMk cId="4214794587" sldId="2147481954"/>
            <ac:spMk id="8" creationId="{4865A21B-00A0-572B-9B28-960EC5DCF2FD}"/>
          </ac:spMkLst>
        </pc:spChg>
        <pc:spChg chg="add del mod">
          <ac:chgData name="Sindija Kirsteine (LV)" userId="5f25501a-2215-4bb3-9d9c-8d1484ffa7c1" providerId="ADAL" clId="{51789BE2-0055-4F4A-9AAB-B67B2FFB34E0}" dt="2024-05-29T08:07:07.844" v="2940"/>
          <ac:spMkLst>
            <pc:docMk/>
            <pc:sldMk cId="4214794587" sldId="2147481954"/>
            <ac:spMk id="9" creationId="{7E9EE44E-C67D-C3C6-E581-014D6ACDD608}"/>
          </ac:spMkLst>
        </pc:spChg>
        <pc:spChg chg="add mod">
          <ac:chgData name="Sindija Kirsteine (LV)" userId="5f25501a-2215-4bb3-9d9c-8d1484ffa7c1" providerId="ADAL" clId="{51789BE2-0055-4F4A-9AAB-B67B2FFB34E0}" dt="2024-05-29T08:32:05.216" v="3463" actId="1035"/>
          <ac:spMkLst>
            <pc:docMk/>
            <pc:sldMk cId="4214794587" sldId="2147481954"/>
            <ac:spMk id="10" creationId="{99D6EF62-2630-0BB2-8E6C-20717351CD4D}"/>
          </ac:spMkLst>
        </pc:spChg>
        <pc:spChg chg="add mod">
          <ac:chgData name="Sindija Kirsteine (LV)" userId="5f25501a-2215-4bb3-9d9c-8d1484ffa7c1" providerId="ADAL" clId="{51789BE2-0055-4F4A-9AAB-B67B2FFB34E0}" dt="2024-05-29T08:31:52.895" v="3453" actId="1035"/>
          <ac:spMkLst>
            <pc:docMk/>
            <pc:sldMk cId="4214794587" sldId="2147481954"/>
            <ac:spMk id="11" creationId="{C615D56D-5BBC-4F81-A0A7-DB7F19A49CBD}"/>
          </ac:spMkLst>
        </pc:spChg>
        <pc:spChg chg="add mod">
          <ac:chgData name="Sindija Kirsteine (LV)" userId="5f25501a-2215-4bb3-9d9c-8d1484ffa7c1" providerId="ADAL" clId="{51789BE2-0055-4F4A-9AAB-B67B2FFB34E0}" dt="2024-05-29T08:32:00.187" v="3457" actId="1035"/>
          <ac:spMkLst>
            <pc:docMk/>
            <pc:sldMk cId="4214794587" sldId="2147481954"/>
            <ac:spMk id="12" creationId="{CBE41A2F-A676-4FF6-3579-10C49EC9A399}"/>
          </ac:spMkLst>
        </pc:spChg>
        <pc:spChg chg="add mod">
          <ac:chgData name="Sindija Kirsteine (LV)" userId="5f25501a-2215-4bb3-9d9c-8d1484ffa7c1" providerId="ADAL" clId="{51789BE2-0055-4F4A-9AAB-B67B2FFB34E0}" dt="2024-05-29T08:32:00.187" v="3457" actId="1035"/>
          <ac:spMkLst>
            <pc:docMk/>
            <pc:sldMk cId="4214794587" sldId="2147481954"/>
            <ac:spMk id="13" creationId="{9B18E6C6-9A0F-F183-E978-FE1DECFD2678}"/>
          </ac:spMkLst>
        </pc:spChg>
        <pc:spChg chg="add mod">
          <ac:chgData name="Sindija Kirsteine (LV)" userId="5f25501a-2215-4bb3-9d9c-8d1484ffa7c1" providerId="ADAL" clId="{51789BE2-0055-4F4A-9AAB-B67B2FFB34E0}" dt="2024-05-29T08:32:00.187" v="3457" actId="1035"/>
          <ac:spMkLst>
            <pc:docMk/>
            <pc:sldMk cId="4214794587" sldId="2147481954"/>
            <ac:spMk id="14" creationId="{5BB2A929-F312-8298-A089-7F87B9744742}"/>
          </ac:spMkLst>
        </pc:spChg>
        <pc:spChg chg="add mod">
          <ac:chgData name="Sindija Kirsteine (LV)" userId="5f25501a-2215-4bb3-9d9c-8d1484ffa7c1" providerId="ADAL" clId="{51789BE2-0055-4F4A-9AAB-B67B2FFB34E0}" dt="2024-05-29T08:32:00.187" v="3457" actId="1035"/>
          <ac:spMkLst>
            <pc:docMk/>
            <pc:sldMk cId="4214794587" sldId="2147481954"/>
            <ac:spMk id="15" creationId="{78CA85A6-0BBA-CDF3-CE14-3320461325ED}"/>
          </ac:spMkLst>
        </pc:spChg>
        <pc:spChg chg="add mod">
          <ac:chgData name="Sindija Kirsteine (LV)" userId="5f25501a-2215-4bb3-9d9c-8d1484ffa7c1" providerId="ADAL" clId="{51789BE2-0055-4F4A-9AAB-B67B2FFB34E0}" dt="2024-05-29T08:32:00.187" v="3457" actId="1035"/>
          <ac:spMkLst>
            <pc:docMk/>
            <pc:sldMk cId="4214794587" sldId="2147481954"/>
            <ac:spMk id="16" creationId="{7A63B605-0B8F-4DE8-F7A3-7B60B9B4BA96}"/>
          </ac:spMkLst>
        </pc:spChg>
      </pc:sldChg>
    </pc:docChg>
  </pc:docChgLst>
  <pc:docChgLst>
    <pc:chgData name="Annemarija Apine (LV)" userId="546f5c59-3b8d-47fd-b739-a8fadc631053" providerId="ADAL" clId="{723CBA6F-63A8-4DEA-AF6A-BB4DBBECAA91}"/>
    <pc:docChg chg="custSel replTag">
      <pc:chgData name="Annemarija Apine (LV)" userId="546f5c59-3b8d-47fd-b739-a8fadc631053" providerId="ADAL" clId="{723CBA6F-63A8-4DEA-AF6A-BB4DBBECAA91}" dt="2024-07-08T20:21:55.839" v="31"/>
      <pc:docMkLst>
        <pc:docMk/>
      </pc:docMkLst>
    </pc:docChg>
  </pc:docChgLst>
  <pc:docChgLst>
    <pc:chgData name="Olha Perminova (UA)" userId="3a6a8ff4-9418-475a-a23d-87d0c5689c66" providerId="ADAL" clId="{B242C7FF-03BF-4447-BB10-06B94514047C}"/>
    <pc:docChg chg="undo custSel addSld delSld modSld replTag">
      <pc:chgData name="Olha Perminova (UA)" userId="3a6a8ff4-9418-475a-a23d-87d0c5689c66" providerId="ADAL" clId="{B242C7FF-03BF-4447-BB10-06B94514047C}" dt="2024-06-10T08:32:52.642" v="1186" actId="1076"/>
      <pc:docMkLst>
        <pc:docMk/>
      </pc:docMkLst>
      <pc:sldChg chg="addSp delSp modSp mod">
        <pc:chgData name="Olha Perminova (UA)" userId="3a6a8ff4-9418-475a-a23d-87d0c5689c66" providerId="ADAL" clId="{B242C7FF-03BF-4447-BB10-06B94514047C}" dt="2024-06-05T07:44:12.701" v="976"/>
        <pc:sldMkLst>
          <pc:docMk/>
          <pc:sldMk cId="3910420445" sldId="318"/>
        </pc:sldMkLst>
        <pc:spChg chg="del">
          <ac:chgData name="Olha Perminova (UA)" userId="3a6a8ff4-9418-475a-a23d-87d0c5689c66" providerId="ADAL" clId="{B242C7FF-03BF-4447-BB10-06B94514047C}" dt="2024-06-05T07:43:42.601" v="971" actId="478"/>
          <ac:spMkLst>
            <pc:docMk/>
            <pc:sldMk cId="3910420445" sldId="318"/>
            <ac:spMk id="2" creationId="{A292D6D7-B0A2-D116-C31E-108DB0C8DE30}"/>
          </ac:spMkLst>
        </pc:spChg>
        <pc:spChg chg="add del mod">
          <ac:chgData name="Olha Perminova (UA)" userId="3a6a8ff4-9418-475a-a23d-87d0c5689c66" providerId="ADAL" clId="{B242C7FF-03BF-4447-BB10-06B94514047C}" dt="2024-06-05T07:44:11.952" v="975" actId="478"/>
          <ac:spMkLst>
            <pc:docMk/>
            <pc:sldMk cId="3910420445" sldId="318"/>
            <ac:spMk id="8" creationId="{265A62A4-F4D0-B821-8CFA-E225F281E7E5}"/>
          </ac:spMkLst>
        </pc:spChg>
        <pc:spChg chg="add mod">
          <ac:chgData name="Olha Perminova (UA)" userId="3a6a8ff4-9418-475a-a23d-87d0c5689c66" providerId="ADAL" clId="{B242C7FF-03BF-4447-BB10-06B94514047C}" dt="2024-06-05T07:44:12.701" v="976"/>
          <ac:spMkLst>
            <pc:docMk/>
            <pc:sldMk cId="3910420445" sldId="318"/>
            <ac:spMk id="17" creationId="{693F9EAE-8F0B-929A-77B9-1CA5A84FA7A6}"/>
          </ac:spMkLst>
        </pc:spChg>
      </pc:sldChg>
      <pc:sldChg chg="modSp mod">
        <pc:chgData name="Olha Perminova (UA)" userId="3a6a8ff4-9418-475a-a23d-87d0c5689c66" providerId="ADAL" clId="{B242C7FF-03BF-4447-BB10-06B94514047C}" dt="2024-06-04T10:01:21.836" v="962" actId="20577"/>
        <pc:sldMkLst>
          <pc:docMk/>
          <pc:sldMk cId="301651023" sldId="6887"/>
        </pc:sldMkLst>
        <pc:spChg chg="mod">
          <ac:chgData name="Olha Perminova (UA)" userId="3a6a8ff4-9418-475a-a23d-87d0c5689c66" providerId="ADAL" clId="{B242C7FF-03BF-4447-BB10-06B94514047C}" dt="2024-06-04T10:00:51.492" v="958" actId="14100"/>
          <ac:spMkLst>
            <pc:docMk/>
            <pc:sldMk cId="301651023" sldId="6887"/>
            <ac:spMk id="8" creationId="{9714DF9C-D08D-B0FB-D2FA-7190468C2C79}"/>
          </ac:spMkLst>
        </pc:spChg>
        <pc:spChg chg="mod">
          <ac:chgData name="Olha Perminova (UA)" userId="3a6a8ff4-9418-475a-a23d-87d0c5689c66" providerId="ADAL" clId="{B242C7FF-03BF-4447-BB10-06B94514047C}" dt="2024-06-04T10:01:01.602" v="959" actId="14100"/>
          <ac:spMkLst>
            <pc:docMk/>
            <pc:sldMk cId="301651023" sldId="6887"/>
            <ac:spMk id="36" creationId="{0E8CC5B0-4FA5-2BE8-F743-005DF962D7C9}"/>
          </ac:spMkLst>
        </pc:spChg>
        <pc:spChg chg="mod">
          <ac:chgData name="Olha Perminova (UA)" userId="3a6a8ff4-9418-475a-a23d-87d0c5689c66" providerId="ADAL" clId="{B242C7FF-03BF-4447-BB10-06B94514047C}" dt="2024-06-04T10:01:01.602" v="959" actId="14100"/>
          <ac:spMkLst>
            <pc:docMk/>
            <pc:sldMk cId="301651023" sldId="6887"/>
            <ac:spMk id="37" creationId="{32162E6B-2E36-0CFA-B3AF-A60D2D9C580A}"/>
          </ac:spMkLst>
        </pc:spChg>
        <pc:spChg chg="mod">
          <ac:chgData name="Olha Perminova (UA)" userId="3a6a8ff4-9418-475a-a23d-87d0c5689c66" providerId="ADAL" clId="{B242C7FF-03BF-4447-BB10-06B94514047C}" dt="2024-06-04T10:01:01.602" v="959" actId="14100"/>
          <ac:spMkLst>
            <pc:docMk/>
            <pc:sldMk cId="301651023" sldId="6887"/>
            <ac:spMk id="39" creationId="{71F33C03-5033-9CBD-E45B-E91812DECF9C}"/>
          </ac:spMkLst>
        </pc:spChg>
        <pc:spChg chg="mod">
          <ac:chgData name="Olha Perminova (UA)" userId="3a6a8ff4-9418-475a-a23d-87d0c5689c66" providerId="ADAL" clId="{B242C7FF-03BF-4447-BB10-06B94514047C}" dt="2024-06-04T10:01:01.602" v="959" actId="14100"/>
          <ac:spMkLst>
            <pc:docMk/>
            <pc:sldMk cId="301651023" sldId="6887"/>
            <ac:spMk id="40" creationId="{4416A52D-7C1D-1DAF-84A8-DDC8D9A30B48}"/>
          </ac:spMkLst>
        </pc:spChg>
        <pc:spChg chg="mod">
          <ac:chgData name="Olha Perminova (UA)" userId="3a6a8ff4-9418-475a-a23d-87d0c5689c66" providerId="ADAL" clId="{B242C7FF-03BF-4447-BB10-06B94514047C}" dt="2024-06-04T10:01:01.602" v="959" actId="14100"/>
          <ac:spMkLst>
            <pc:docMk/>
            <pc:sldMk cId="301651023" sldId="6887"/>
            <ac:spMk id="42" creationId="{3D9A8B35-A1F5-CDCF-A6F7-9A79D765C66D}"/>
          </ac:spMkLst>
        </pc:spChg>
        <pc:spChg chg="mod">
          <ac:chgData name="Olha Perminova (UA)" userId="3a6a8ff4-9418-475a-a23d-87d0c5689c66" providerId="ADAL" clId="{B242C7FF-03BF-4447-BB10-06B94514047C}" dt="2024-06-04T10:01:18.214" v="961" actId="20577"/>
          <ac:spMkLst>
            <pc:docMk/>
            <pc:sldMk cId="301651023" sldId="6887"/>
            <ac:spMk id="43" creationId="{B248A7D2-F961-B7C1-6F32-6F141F3D8D30}"/>
          </ac:spMkLst>
        </pc:spChg>
        <pc:spChg chg="mod">
          <ac:chgData name="Olha Perminova (UA)" userId="3a6a8ff4-9418-475a-a23d-87d0c5689c66" providerId="ADAL" clId="{B242C7FF-03BF-4447-BB10-06B94514047C}" dt="2024-06-04T10:01:01.602" v="959" actId="14100"/>
          <ac:spMkLst>
            <pc:docMk/>
            <pc:sldMk cId="301651023" sldId="6887"/>
            <ac:spMk id="45" creationId="{FD973CC9-7E88-EA3B-D55D-552350DB11DC}"/>
          </ac:spMkLst>
        </pc:spChg>
        <pc:spChg chg="mod">
          <ac:chgData name="Olha Perminova (UA)" userId="3a6a8ff4-9418-475a-a23d-87d0c5689c66" providerId="ADAL" clId="{B242C7FF-03BF-4447-BB10-06B94514047C}" dt="2024-06-04T10:01:21.836" v="962" actId="20577"/>
          <ac:spMkLst>
            <pc:docMk/>
            <pc:sldMk cId="301651023" sldId="6887"/>
            <ac:spMk id="46" creationId="{E1B5312D-1B4F-6A17-4790-28066D72CBD0}"/>
          </ac:spMkLst>
        </pc:spChg>
        <pc:spChg chg="mod">
          <ac:chgData name="Olha Perminova (UA)" userId="3a6a8ff4-9418-475a-a23d-87d0c5689c66" providerId="ADAL" clId="{B242C7FF-03BF-4447-BB10-06B94514047C}" dt="2024-06-04T10:01:04.940" v="960" actId="14100"/>
          <ac:spMkLst>
            <pc:docMk/>
            <pc:sldMk cId="301651023" sldId="6887"/>
            <ac:spMk id="79" creationId="{4A81787E-5AC3-6613-53E6-49E6F0A57B40}"/>
          </ac:spMkLst>
        </pc:spChg>
      </pc:sldChg>
      <pc:sldChg chg="addSp delSp modSp mod">
        <pc:chgData name="Olha Perminova (UA)" userId="3a6a8ff4-9418-475a-a23d-87d0c5689c66" providerId="ADAL" clId="{B242C7FF-03BF-4447-BB10-06B94514047C}" dt="2024-06-05T07:44:19.347" v="978"/>
        <pc:sldMkLst>
          <pc:docMk/>
          <pc:sldMk cId="192098022" sldId="2147481877"/>
        </pc:sldMkLst>
        <pc:spChg chg="del mod">
          <ac:chgData name="Olha Perminova (UA)" userId="3a6a8ff4-9418-475a-a23d-87d0c5689c66" providerId="ADAL" clId="{B242C7FF-03BF-4447-BB10-06B94514047C}" dt="2024-06-05T07:44:18.702" v="977" actId="478"/>
          <ac:spMkLst>
            <pc:docMk/>
            <pc:sldMk cId="192098022" sldId="2147481877"/>
            <ac:spMk id="5" creationId="{5C78A69E-83C0-4CFE-9FA1-B152EFD9AAEE}"/>
          </ac:spMkLst>
        </pc:spChg>
        <pc:spChg chg="add mod">
          <ac:chgData name="Olha Perminova (UA)" userId="3a6a8ff4-9418-475a-a23d-87d0c5689c66" providerId="ADAL" clId="{B242C7FF-03BF-4447-BB10-06B94514047C}" dt="2024-06-05T07:44:19.347" v="978"/>
          <ac:spMkLst>
            <pc:docMk/>
            <pc:sldMk cId="192098022" sldId="2147481877"/>
            <ac:spMk id="7" creationId="{99589C5F-A268-A9F2-6268-411BE0E28F8C}"/>
          </ac:spMkLst>
        </pc:spChg>
        <pc:spChg chg="del">
          <ac:chgData name="Olha Perminova (UA)" userId="3a6a8ff4-9418-475a-a23d-87d0c5689c66" providerId="ADAL" clId="{B242C7FF-03BF-4447-BB10-06B94514047C}" dt="2024-06-04T09:27:19.594" v="0" actId="478"/>
          <ac:spMkLst>
            <pc:docMk/>
            <pc:sldMk cId="192098022" sldId="2147481877"/>
            <ac:spMk id="7" creationId="{BC65054A-3879-FD6A-5856-AC5CA0045C75}"/>
          </ac:spMkLst>
        </pc:spChg>
        <pc:picChg chg="add mod modCrop">
          <ac:chgData name="Olha Perminova (UA)" userId="3a6a8ff4-9418-475a-a23d-87d0c5689c66" providerId="ADAL" clId="{B242C7FF-03BF-4447-BB10-06B94514047C}" dt="2024-06-04T09:28:49.615" v="6" actId="18131"/>
          <ac:picMkLst>
            <pc:docMk/>
            <pc:sldMk cId="192098022" sldId="2147481877"/>
            <ac:picMk id="9" creationId="{07AB9A9E-8F8D-8F87-4358-87E23AF3C102}"/>
          </ac:picMkLst>
        </pc:picChg>
      </pc:sldChg>
      <pc:sldChg chg="modSp mod">
        <pc:chgData name="Olha Perminova (UA)" userId="3a6a8ff4-9418-475a-a23d-87d0c5689c66" providerId="ADAL" clId="{B242C7FF-03BF-4447-BB10-06B94514047C}" dt="2024-06-05T07:44:28.526" v="980" actId="20577"/>
        <pc:sldMkLst>
          <pc:docMk/>
          <pc:sldMk cId="839732171" sldId="2147481882"/>
        </pc:sldMkLst>
        <pc:spChg chg="mod">
          <ac:chgData name="Olha Perminova (UA)" userId="3a6a8ff4-9418-475a-a23d-87d0c5689c66" providerId="ADAL" clId="{B242C7FF-03BF-4447-BB10-06B94514047C}" dt="2024-06-05T07:44:28.526" v="980" actId="20577"/>
          <ac:spMkLst>
            <pc:docMk/>
            <pc:sldMk cId="839732171" sldId="2147481882"/>
            <ac:spMk id="10" creationId="{A4023E8B-2A57-59A4-3BAA-367FEF6C1A6B}"/>
          </ac:spMkLst>
        </pc:spChg>
      </pc:sldChg>
      <pc:sldChg chg="addSp delSp modSp mod">
        <pc:chgData name="Olha Perminova (UA)" userId="3a6a8ff4-9418-475a-a23d-87d0c5689c66" providerId="ADAL" clId="{B242C7FF-03BF-4447-BB10-06B94514047C}" dt="2024-06-05T07:44:07.349" v="974"/>
        <pc:sldMkLst>
          <pc:docMk/>
          <pc:sldMk cId="1076096228" sldId="2147481883"/>
        </pc:sldMkLst>
        <pc:spChg chg="add del mod">
          <ac:chgData name="Olha Perminova (UA)" userId="3a6a8ff4-9418-475a-a23d-87d0c5689c66" providerId="ADAL" clId="{B242C7FF-03BF-4447-BB10-06B94514047C}" dt="2024-06-05T07:44:06.693" v="973" actId="478"/>
          <ac:spMkLst>
            <pc:docMk/>
            <pc:sldMk cId="1076096228" sldId="2147481883"/>
            <ac:spMk id="2" creationId="{FD25F6A6-878D-886A-4159-5918226E3548}"/>
          </ac:spMkLst>
        </pc:spChg>
        <pc:spChg chg="del">
          <ac:chgData name="Olha Perminova (UA)" userId="3a6a8ff4-9418-475a-a23d-87d0c5689c66" providerId="ADAL" clId="{B242C7FF-03BF-4447-BB10-06B94514047C}" dt="2024-06-05T07:43:34.321" v="969" actId="478"/>
          <ac:spMkLst>
            <pc:docMk/>
            <pc:sldMk cId="1076096228" sldId="2147481883"/>
            <ac:spMk id="3" creationId="{F38D3739-5FBA-4E82-6EF0-6C560696B58C}"/>
          </ac:spMkLst>
        </pc:spChg>
        <pc:spChg chg="add mod">
          <ac:chgData name="Olha Perminova (UA)" userId="3a6a8ff4-9418-475a-a23d-87d0c5689c66" providerId="ADAL" clId="{B242C7FF-03BF-4447-BB10-06B94514047C}" dt="2024-06-05T07:44:07.349" v="974"/>
          <ac:spMkLst>
            <pc:docMk/>
            <pc:sldMk cId="1076096228" sldId="2147481883"/>
            <ac:spMk id="5" creationId="{77809E40-37CF-33A7-7901-D1413BC4E7D9}"/>
          </ac:spMkLst>
        </pc:spChg>
      </pc:sldChg>
      <pc:sldChg chg="modSp mod">
        <pc:chgData name="Olha Perminova (UA)" userId="3a6a8ff4-9418-475a-a23d-87d0c5689c66" providerId="ADAL" clId="{B242C7FF-03BF-4447-BB10-06B94514047C}" dt="2024-06-04T09:30:57.627" v="26" actId="14100"/>
        <pc:sldMkLst>
          <pc:docMk/>
          <pc:sldMk cId="2785126703" sldId="2147481904"/>
        </pc:sldMkLst>
        <pc:spChg chg="mod">
          <ac:chgData name="Olha Perminova (UA)" userId="3a6a8ff4-9418-475a-a23d-87d0c5689c66" providerId="ADAL" clId="{B242C7FF-03BF-4447-BB10-06B94514047C}" dt="2024-06-04T09:30:25.974" v="20" actId="14100"/>
          <ac:spMkLst>
            <pc:docMk/>
            <pc:sldMk cId="2785126703" sldId="2147481904"/>
            <ac:spMk id="2" creationId="{99EBE929-5086-509F-AD07-D08D5C033061}"/>
          </ac:spMkLst>
        </pc:spChg>
        <pc:spChg chg="mod">
          <ac:chgData name="Olha Perminova (UA)" userId="3a6a8ff4-9418-475a-a23d-87d0c5689c66" providerId="ADAL" clId="{B242C7FF-03BF-4447-BB10-06B94514047C}" dt="2024-06-04T09:30:15.815" v="19" actId="553"/>
          <ac:spMkLst>
            <pc:docMk/>
            <pc:sldMk cId="2785126703" sldId="2147481904"/>
            <ac:spMk id="5" creationId="{F2A86895-E746-0EF0-DFA0-62FD03AC488C}"/>
          </ac:spMkLst>
        </pc:spChg>
        <pc:spChg chg="mod">
          <ac:chgData name="Olha Perminova (UA)" userId="3a6a8ff4-9418-475a-a23d-87d0c5689c66" providerId="ADAL" clId="{B242C7FF-03BF-4447-BB10-06B94514047C}" dt="2024-06-04T09:30:51.585" v="25" actId="20577"/>
          <ac:spMkLst>
            <pc:docMk/>
            <pc:sldMk cId="2785126703" sldId="2147481904"/>
            <ac:spMk id="27" creationId="{2D6405CD-2499-573E-A031-A68FA08F053E}"/>
          </ac:spMkLst>
        </pc:spChg>
        <pc:spChg chg="mod">
          <ac:chgData name="Olha Perminova (UA)" userId="3a6a8ff4-9418-475a-a23d-87d0c5689c66" providerId="ADAL" clId="{B242C7FF-03BF-4447-BB10-06B94514047C}" dt="2024-06-04T09:30:15.815" v="19" actId="553"/>
          <ac:spMkLst>
            <pc:docMk/>
            <pc:sldMk cId="2785126703" sldId="2147481904"/>
            <ac:spMk id="28" creationId="{4B436DA1-5D6D-C5CA-FF35-B921088B411A}"/>
          </ac:spMkLst>
        </pc:spChg>
        <pc:cxnChg chg="mod">
          <ac:chgData name="Olha Perminova (UA)" userId="3a6a8ff4-9418-475a-a23d-87d0c5689c66" providerId="ADAL" clId="{B242C7FF-03BF-4447-BB10-06B94514047C}" dt="2024-06-04T09:30:57.627" v="26" actId="14100"/>
          <ac:cxnSpMkLst>
            <pc:docMk/>
            <pc:sldMk cId="2785126703" sldId="2147481904"/>
            <ac:cxnSpMk id="61" creationId="{8433502C-E95C-B6B5-2437-C9AAD24998E4}"/>
          </ac:cxnSpMkLst>
        </pc:cxnChg>
      </pc:sldChg>
      <pc:sldChg chg="addSp delSp modSp mod">
        <pc:chgData name="Olha Perminova (UA)" userId="3a6a8ff4-9418-475a-a23d-87d0c5689c66" providerId="ADAL" clId="{B242C7FF-03BF-4447-BB10-06B94514047C}" dt="2024-06-10T08:32:40.966" v="1185" actId="1076"/>
        <pc:sldMkLst>
          <pc:docMk/>
          <pc:sldMk cId="8764514" sldId="2147481952"/>
        </pc:sldMkLst>
        <pc:spChg chg="mod ord">
          <ac:chgData name="Olha Perminova (UA)" userId="3a6a8ff4-9418-475a-a23d-87d0c5689c66" providerId="ADAL" clId="{B242C7FF-03BF-4447-BB10-06B94514047C}" dt="2024-06-04T09:54:14.689" v="655" actId="948"/>
          <ac:spMkLst>
            <pc:docMk/>
            <pc:sldMk cId="8764514" sldId="2147481952"/>
            <ac:spMk id="2" creationId="{1299C1A8-38BE-9556-5CBE-67D0E693F9D9}"/>
          </ac:spMkLst>
        </pc:spChg>
        <pc:spChg chg="mod ord">
          <ac:chgData name="Olha Perminova (UA)" userId="3a6a8ff4-9418-475a-a23d-87d0c5689c66" providerId="ADAL" clId="{B242C7FF-03BF-4447-BB10-06B94514047C}" dt="2024-06-04T09:38:01.704" v="180"/>
          <ac:spMkLst>
            <pc:docMk/>
            <pc:sldMk cId="8764514" sldId="2147481952"/>
            <ac:spMk id="3" creationId="{8F80B32A-55E9-507D-78BC-6113B4CE3EB1}"/>
          </ac:spMkLst>
        </pc:spChg>
        <pc:spChg chg="add del mod ord">
          <ac:chgData name="Olha Perminova (UA)" userId="3a6a8ff4-9418-475a-a23d-87d0c5689c66" providerId="ADAL" clId="{B242C7FF-03BF-4447-BB10-06B94514047C}" dt="2024-06-04T09:32:32.582" v="124" actId="478"/>
          <ac:spMkLst>
            <pc:docMk/>
            <pc:sldMk cId="8764514" sldId="2147481952"/>
            <ac:spMk id="4" creationId="{044CED17-0DEE-4EF2-DBA6-CA96B5379582}"/>
          </ac:spMkLst>
        </pc:spChg>
        <pc:spChg chg="del mod ord">
          <ac:chgData name="Olha Perminova (UA)" userId="3a6a8ff4-9418-475a-a23d-87d0c5689c66" providerId="ADAL" clId="{B242C7FF-03BF-4447-BB10-06B94514047C}" dt="2024-06-04T09:37:50.895" v="168" actId="478"/>
          <ac:spMkLst>
            <pc:docMk/>
            <pc:sldMk cId="8764514" sldId="2147481952"/>
            <ac:spMk id="5" creationId="{78E2C0FC-63C3-7920-0F0A-031A1C50B2A8}"/>
          </ac:spMkLst>
        </pc:spChg>
        <pc:spChg chg="mod">
          <ac:chgData name="Olha Perminova (UA)" userId="3a6a8ff4-9418-475a-a23d-87d0c5689c66" providerId="ADAL" clId="{B242C7FF-03BF-4447-BB10-06B94514047C}" dt="2024-06-10T08:32:40.966" v="1185" actId="1076"/>
          <ac:spMkLst>
            <pc:docMk/>
            <pc:sldMk cId="8764514" sldId="2147481952"/>
            <ac:spMk id="6" creationId="{9E46D0B5-F361-0943-4454-3E5586C21CCA}"/>
          </ac:spMkLst>
        </pc:spChg>
        <pc:spChg chg="add del mod">
          <ac:chgData name="Olha Perminova (UA)" userId="3a6a8ff4-9418-475a-a23d-87d0c5689c66" providerId="ADAL" clId="{B242C7FF-03BF-4447-BB10-06B94514047C}" dt="2024-06-06T08:25:12.163" v="1172" actId="478"/>
          <ac:spMkLst>
            <pc:docMk/>
            <pc:sldMk cId="8764514" sldId="2147481952"/>
            <ac:spMk id="6" creationId="{D1DAFBCC-1953-4B35-AE50-0E70A02E7C67}"/>
          </ac:spMkLst>
        </pc:spChg>
        <pc:spChg chg="del mod ord">
          <ac:chgData name="Olha Perminova (UA)" userId="3a6a8ff4-9418-475a-a23d-87d0c5689c66" providerId="ADAL" clId="{B242C7FF-03BF-4447-BB10-06B94514047C}" dt="2024-06-04T09:32:32.582" v="124" actId="478"/>
          <ac:spMkLst>
            <pc:docMk/>
            <pc:sldMk cId="8764514" sldId="2147481952"/>
            <ac:spMk id="6" creationId="{D3EBD2C9-4A14-6860-4948-2EF442A78DA7}"/>
          </ac:spMkLst>
        </pc:spChg>
        <pc:spChg chg="del mod ord">
          <ac:chgData name="Olha Perminova (UA)" userId="3a6a8ff4-9418-475a-a23d-87d0c5689c66" providerId="ADAL" clId="{B242C7FF-03BF-4447-BB10-06B94514047C}" dt="2024-06-04T09:38:07.747" v="203" actId="478"/>
          <ac:spMkLst>
            <pc:docMk/>
            <pc:sldMk cId="8764514" sldId="2147481952"/>
            <ac:spMk id="7" creationId="{3C135BF1-68FD-E187-6474-C89224402F84}"/>
          </ac:spMkLst>
        </pc:spChg>
        <pc:spChg chg="del">
          <ac:chgData name="Olha Perminova (UA)" userId="3a6a8ff4-9418-475a-a23d-87d0c5689c66" providerId="ADAL" clId="{B242C7FF-03BF-4447-BB10-06B94514047C}" dt="2024-06-04T09:31:11.220" v="27" actId="478"/>
          <ac:spMkLst>
            <pc:docMk/>
            <pc:sldMk cId="8764514" sldId="2147481952"/>
            <ac:spMk id="8" creationId="{11C621BF-C088-E999-27EF-06E360CED235}"/>
          </ac:spMkLst>
        </pc:spChg>
        <pc:spChg chg="add del mod ord">
          <ac:chgData name="Olha Perminova (UA)" userId="3a6a8ff4-9418-475a-a23d-87d0c5689c66" providerId="ADAL" clId="{B242C7FF-03BF-4447-BB10-06B94514047C}" dt="2024-06-06T08:24:49.729" v="1167" actId="552"/>
          <ac:spMkLst>
            <pc:docMk/>
            <pc:sldMk cId="8764514" sldId="2147481952"/>
            <ac:spMk id="9" creationId="{E60771D5-36B1-5846-E0FD-EE10BA67E143}"/>
          </ac:spMkLst>
        </pc:spChg>
        <pc:spChg chg="add mod ord">
          <ac:chgData name="Olha Perminova (UA)" userId="3a6a8ff4-9418-475a-a23d-87d0c5689c66" providerId="ADAL" clId="{B242C7FF-03BF-4447-BB10-06B94514047C}" dt="2024-06-06T08:24:41.783" v="1165" actId="14100"/>
          <ac:spMkLst>
            <pc:docMk/>
            <pc:sldMk cId="8764514" sldId="2147481952"/>
            <ac:spMk id="10" creationId="{0E3AF958-70C4-357F-D986-53A75E5CF63B}"/>
          </ac:spMkLst>
        </pc:spChg>
        <pc:spChg chg="add mod ord">
          <ac:chgData name="Olha Perminova (UA)" userId="3a6a8ff4-9418-475a-a23d-87d0c5689c66" providerId="ADAL" clId="{B242C7FF-03BF-4447-BB10-06B94514047C}" dt="2024-06-04T09:54:05.587" v="624" actId="552"/>
          <ac:spMkLst>
            <pc:docMk/>
            <pc:sldMk cId="8764514" sldId="2147481952"/>
            <ac:spMk id="11" creationId="{70513DFC-D897-87EB-EF6A-D4829E31C2D1}"/>
          </ac:spMkLst>
        </pc:spChg>
        <pc:spChg chg="add mod ord">
          <ac:chgData name="Olha Perminova (UA)" userId="3a6a8ff4-9418-475a-a23d-87d0c5689c66" providerId="ADAL" clId="{B242C7FF-03BF-4447-BB10-06B94514047C}" dt="2024-06-06T08:24:49.729" v="1167" actId="552"/>
          <ac:spMkLst>
            <pc:docMk/>
            <pc:sldMk cId="8764514" sldId="2147481952"/>
            <ac:spMk id="12" creationId="{9FE544F4-5FE9-EB4A-60A5-5DB0C11FA6FA}"/>
          </ac:spMkLst>
        </pc:spChg>
        <pc:spChg chg="add del mod modVis">
          <ac:chgData name="Olha Perminova (UA)" userId="3a6a8ff4-9418-475a-a23d-87d0c5689c66" providerId="ADAL" clId="{B242C7FF-03BF-4447-BB10-06B94514047C}" dt="2024-06-04T09:32:05.878" v="101"/>
          <ac:spMkLst>
            <pc:docMk/>
            <pc:sldMk cId="8764514" sldId="2147481952"/>
            <ac:spMk id="13" creationId="{D3B4EADD-B220-1C4C-5C18-EF51E91EE33D}"/>
          </ac:spMkLst>
        </pc:spChg>
        <pc:spChg chg="mod ord">
          <ac:chgData name="Olha Perminova (UA)" userId="3a6a8ff4-9418-475a-a23d-87d0c5689c66" providerId="ADAL" clId="{B242C7FF-03BF-4447-BB10-06B94514047C}" dt="2024-06-04T09:38:01.704" v="186"/>
          <ac:spMkLst>
            <pc:docMk/>
            <pc:sldMk cId="8764514" sldId="2147481952"/>
            <ac:spMk id="14" creationId="{9FD14EA1-5F55-4208-B044-621497B14600}"/>
          </ac:spMkLst>
        </pc:spChg>
        <pc:spChg chg="mod ord">
          <ac:chgData name="Olha Perminova (UA)" userId="3a6a8ff4-9418-475a-a23d-87d0c5689c66" providerId="ADAL" clId="{B242C7FF-03BF-4447-BB10-06B94514047C}" dt="2024-06-04T09:38:01.704" v="188"/>
          <ac:spMkLst>
            <pc:docMk/>
            <pc:sldMk cId="8764514" sldId="2147481952"/>
            <ac:spMk id="15" creationId="{D94CBB10-3D88-8D99-A508-25320F8BC0AE}"/>
          </ac:spMkLst>
        </pc:spChg>
        <pc:spChg chg="mod ord">
          <ac:chgData name="Olha Perminova (UA)" userId="3a6a8ff4-9418-475a-a23d-87d0c5689c66" providerId="ADAL" clId="{B242C7FF-03BF-4447-BB10-06B94514047C}" dt="2024-06-04T09:38:01.704" v="190"/>
          <ac:spMkLst>
            <pc:docMk/>
            <pc:sldMk cId="8764514" sldId="2147481952"/>
            <ac:spMk id="16" creationId="{CA061F35-E025-EC98-466B-1A5CDADF26EF}"/>
          </ac:spMkLst>
        </pc:spChg>
        <pc:spChg chg="add del mod ord">
          <ac:chgData name="Olha Perminova (UA)" userId="3a6a8ff4-9418-475a-a23d-87d0c5689c66" providerId="ADAL" clId="{B242C7FF-03BF-4447-BB10-06B94514047C}" dt="2024-06-04T09:38:01.704" v="192"/>
          <ac:spMkLst>
            <pc:docMk/>
            <pc:sldMk cId="8764514" sldId="2147481952"/>
            <ac:spMk id="17" creationId="{7E19FA06-400B-67CA-FA4B-3971DB1E3B31}"/>
          </ac:spMkLst>
        </pc:spChg>
        <pc:spChg chg="add mod ord">
          <ac:chgData name="Olha Perminova (UA)" userId="3a6a8ff4-9418-475a-a23d-87d0c5689c66" providerId="ADAL" clId="{B242C7FF-03BF-4447-BB10-06B94514047C}" dt="2024-06-06T08:24:58.093" v="1170" actId="14100"/>
          <ac:spMkLst>
            <pc:docMk/>
            <pc:sldMk cId="8764514" sldId="2147481952"/>
            <ac:spMk id="19" creationId="{3A07BD72-5576-53C1-BD24-E93959AEEC0C}"/>
          </ac:spMkLst>
        </pc:spChg>
        <pc:spChg chg="add mod ord">
          <ac:chgData name="Olha Perminova (UA)" userId="3a6a8ff4-9418-475a-a23d-87d0c5689c66" providerId="ADAL" clId="{B242C7FF-03BF-4447-BB10-06B94514047C}" dt="2024-06-06T08:25:01.053" v="1171" actId="14100"/>
          <ac:spMkLst>
            <pc:docMk/>
            <pc:sldMk cId="8764514" sldId="2147481952"/>
            <ac:spMk id="20" creationId="{65DB62E6-BFFA-886D-687D-AC30DD6D33FB}"/>
          </ac:spMkLst>
        </pc:spChg>
        <pc:spChg chg="add del mod modVis">
          <ac:chgData name="Olha Perminova (UA)" userId="3a6a8ff4-9418-475a-a23d-87d0c5689c66" providerId="ADAL" clId="{B242C7FF-03BF-4447-BB10-06B94514047C}" dt="2024-06-04T09:54:05.210" v="621"/>
          <ac:spMkLst>
            <pc:docMk/>
            <pc:sldMk cId="8764514" sldId="2147481952"/>
            <ac:spMk id="21" creationId="{BCD87D2C-FA5A-C700-2C9A-D28D50137C9E}"/>
          </ac:spMkLst>
        </pc:spChg>
        <pc:spChg chg="add del mod modVis">
          <ac:chgData name="Olha Perminova (UA)" userId="3a6a8ff4-9418-475a-a23d-87d0c5689c66" providerId="ADAL" clId="{B242C7FF-03BF-4447-BB10-06B94514047C}" dt="2024-06-04T09:54:06.123" v="648"/>
          <ac:spMkLst>
            <pc:docMk/>
            <pc:sldMk cId="8764514" sldId="2147481952"/>
            <ac:spMk id="22" creationId="{CD79CAEE-B2DE-6CFA-BE6E-C2DA8369F234}"/>
          </ac:spMkLst>
        </pc:spChg>
        <pc:spChg chg="add del mod modVis">
          <ac:chgData name="Olha Perminova (UA)" userId="3a6a8ff4-9418-475a-a23d-87d0c5689c66" providerId="ADAL" clId="{B242C7FF-03BF-4447-BB10-06B94514047C}" dt="2024-06-04T09:54:14.717" v="678"/>
          <ac:spMkLst>
            <pc:docMk/>
            <pc:sldMk cId="8764514" sldId="2147481952"/>
            <ac:spMk id="23" creationId="{85653100-E8A3-05E9-C130-73854EC3F66E}"/>
          </ac:spMkLst>
        </pc:spChg>
        <pc:graphicFrameChg chg="add mod ord modVis replST">
          <ac:chgData name="Olha Perminova (UA)" userId="3a6a8ff4-9418-475a-a23d-87d0c5689c66" providerId="ADAL" clId="{B242C7FF-03BF-4447-BB10-06B94514047C}" dt="2024-06-04T09:54:14.717" v="680"/>
          <ac:graphicFrameMkLst>
            <pc:docMk/>
            <pc:sldMk cId="8764514" sldId="2147481952"/>
            <ac:graphicFrameMk id="18" creationId="{B17D7669-20A3-7481-8F23-CD69449C9745}"/>
          </ac:graphicFrameMkLst>
        </pc:graphicFrameChg>
      </pc:sldChg>
      <pc:sldChg chg="addSp delSp modSp mod">
        <pc:chgData name="Olha Perminova (UA)" userId="3a6a8ff4-9418-475a-a23d-87d0c5689c66" providerId="ADAL" clId="{B242C7FF-03BF-4447-BB10-06B94514047C}" dt="2024-06-04T10:00:15.904" v="914" actId="478"/>
        <pc:sldMkLst>
          <pc:docMk/>
          <pc:sldMk cId="1261692589" sldId="2147481953"/>
        </pc:sldMkLst>
        <pc:spChg chg="mod ord">
          <ac:chgData name="Olha Perminova (UA)" userId="3a6a8ff4-9418-475a-a23d-87d0c5689c66" providerId="ADAL" clId="{B242C7FF-03BF-4447-BB10-06B94514047C}" dt="2024-06-04T09:59:57.710" v="896" actId="948"/>
          <ac:spMkLst>
            <pc:docMk/>
            <pc:sldMk cId="1261692589" sldId="2147481953"/>
            <ac:spMk id="2" creationId="{1A6103D8-B23D-68A9-5B86-59618E4C749F}"/>
          </ac:spMkLst>
        </pc:spChg>
        <pc:spChg chg="mod ord">
          <ac:chgData name="Olha Perminova (UA)" userId="3a6a8ff4-9418-475a-a23d-87d0c5689c66" providerId="ADAL" clId="{B242C7FF-03BF-4447-BB10-06B94514047C}" dt="2024-06-04T09:52:40.742" v="525"/>
          <ac:spMkLst>
            <pc:docMk/>
            <pc:sldMk cId="1261692589" sldId="2147481953"/>
            <ac:spMk id="3" creationId="{3E016C9A-A74E-283F-DCE3-468564AB624D}"/>
          </ac:spMkLst>
        </pc:spChg>
        <pc:spChg chg="add mod ord">
          <ac:chgData name="Olha Perminova (UA)" userId="3a6a8ff4-9418-475a-a23d-87d0c5689c66" providerId="ADAL" clId="{B242C7FF-03BF-4447-BB10-06B94514047C}" dt="2024-06-04T09:53:48.371" v="568" actId="553"/>
          <ac:spMkLst>
            <pc:docMk/>
            <pc:sldMk cId="1261692589" sldId="2147481953"/>
            <ac:spMk id="4" creationId="{5270752D-6805-08D5-4A17-17E858268133}"/>
          </ac:spMkLst>
        </pc:spChg>
        <pc:spChg chg="add mod ord">
          <ac:chgData name="Olha Perminova (UA)" userId="3a6a8ff4-9418-475a-a23d-87d0c5689c66" providerId="ADAL" clId="{B242C7FF-03BF-4447-BB10-06B94514047C}" dt="2024-06-04T09:53:55.724" v="570" actId="552"/>
          <ac:spMkLst>
            <pc:docMk/>
            <pc:sldMk cId="1261692589" sldId="2147481953"/>
            <ac:spMk id="5" creationId="{96F1D933-B161-2303-3ABE-670BE51B9FA8}"/>
          </ac:spMkLst>
        </pc:spChg>
        <pc:spChg chg="del">
          <ac:chgData name="Olha Perminova (UA)" userId="3a6a8ff4-9418-475a-a23d-87d0c5689c66" providerId="ADAL" clId="{B242C7FF-03BF-4447-BB10-06B94514047C}" dt="2024-06-04T09:50:24.080" v="432" actId="478"/>
          <ac:spMkLst>
            <pc:docMk/>
            <pc:sldMk cId="1261692589" sldId="2147481953"/>
            <ac:spMk id="6" creationId="{2A93ECFE-047D-FE79-AC0E-1E327CF30CB5}"/>
          </ac:spMkLst>
        </pc:spChg>
        <pc:spChg chg="add mod ord">
          <ac:chgData name="Olha Perminova (UA)" userId="3a6a8ff4-9418-475a-a23d-87d0c5689c66" providerId="ADAL" clId="{B242C7FF-03BF-4447-BB10-06B94514047C}" dt="2024-06-04T09:58:07.130" v="876" actId="12789"/>
          <ac:spMkLst>
            <pc:docMk/>
            <pc:sldMk cId="1261692589" sldId="2147481953"/>
            <ac:spMk id="7" creationId="{FC9C2756-276E-3CD7-D125-F6309598F451}"/>
          </ac:spMkLst>
        </pc:spChg>
        <pc:spChg chg="del">
          <ac:chgData name="Olha Perminova (UA)" userId="3a6a8ff4-9418-475a-a23d-87d0c5689c66" providerId="ADAL" clId="{B242C7FF-03BF-4447-BB10-06B94514047C}" dt="2024-06-04T09:50:24.080" v="432" actId="478"/>
          <ac:spMkLst>
            <pc:docMk/>
            <pc:sldMk cId="1261692589" sldId="2147481953"/>
            <ac:spMk id="8" creationId="{CA0659F6-2E5A-9FEB-BFB9-89801B19FC51}"/>
          </ac:spMkLst>
        </pc:spChg>
        <pc:spChg chg="del">
          <ac:chgData name="Olha Perminova (UA)" userId="3a6a8ff4-9418-475a-a23d-87d0c5689c66" providerId="ADAL" clId="{B242C7FF-03BF-4447-BB10-06B94514047C}" dt="2024-06-04T09:50:24.080" v="432" actId="478"/>
          <ac:spMkLst>
            <pc:docMk/>
            <pc:sldMk cId="1261692589" sldId="2147481953"/>
            <ac:spMk id="9" creationId="{E70D858B-428A-ADD7-5B09-7380EC7EFD50}"/>
          </ac:spMkLst>
        </pc:spChg>
        <pc:spChg chg="del mod ord">
          <ac:chgData name="Olha Perminova (UA)" userId="3a6a8ff4-9418-475a-a23d-87d0c5689c66" providerId="ADAL" clId="{B242C7FF-03BF-4447-BB10-06B94514047C}" dt="2024-06-04T09:52:43.975" v="554" actId="478"/>
          <ac:spMkLst>
            <pc:docMk/>
            <pc:sldMk cId="1261692589" sldId="2147481953"/>
            <ac:spMk id="10" creationId="{C3D2E68C-7695-C8CF-32A8-F802E8A57B43}"/>
          </ac:spMkLst>
        </pc:spChg>
        <pc:spChg chg="add mod ord">
          <ac:chgData name="Olha Perminova (UA)" userId="3a6a8ff4-9418-475a-a23d-87d0c5689c66" providerId="ADAL" clId="{B242C7FF-03BF-4447-BB10-06B94514047C}" dt="2024-06-04T09:55:22.889" v="830" actId="1035"/>
          <ac:spMkLst>
            <pc:docMk/>
            <pc:sldMk cId="1261692589" sldId="2147481953"/>
            <ac:spMk id="11" creationId="{C46E4268-9DBB-C04E-896F-37A0A95B4601}"/>
          </ac:spMkLst>
        </pc:spChg>
        <pc:spChg chg="del mod ord">
          <ac:chgData name="Olha Perminova (UA)" userId="3a6a8ff4-9418-475a-a23d-87d0c5689c66" providerId="ADAL" clId="{B242C7FF-03BF-4447-BB10-06B94514047C}" dt="2024-06-04T09:56:00.174" v="845" actId="478"/>
          <ac:spMkLst>
            <pc:docMk/>
            <pc:sldMk cId="1261692589" sldId="2147481953"/>
            <ac:spMk id="12" creationId="{66F4610F-EE20-E0C2-F3B8-E87C3A8C009E}"/>
          </ac:spMkLst>
        </pc:spChg>
        <pc:spChg chg="del mod ord">
          <ac:chgData name="Olha Perminova (UA)" userId="3a6a8ff4-9418-475a-a23d-87d0c5689c66" providerId="ADAL" clId="{B242C7FF-03BF-4447-BB10-06B94514047C}" dt="2024-06-04T10:00:15.904" v="914" actId="478"/>
          <ac:spMkLst>
            <pc:docMk/>
            <pc:sldMk cId="1261692589" sldId="2147481953"/>
            <ac:spMk id="13" creationId="{1C2FEEA4-3DB9-8804-6107-D903A534DA74}"/>
          </ac:spMkLst>
        </pc:spChg>
        <pc:spChg chg="add del mod ord">
          <ac:chgData name="Olha Perminova (UA)" userId="3a6a8ff4-9418-475a-a23d-87d0c5689c66" providerId="ADAL" clId="{B242C7FF-03BF-4447-BB10-06B94514047C}" dt="2024-06-04T09:58:00.047" v="875" actId="478"/>
          <ac:spMkLst>
            <pc:docMk/>
            <pc:sldMk cId="1261692589" sldId="2147481953"/>
            <ac:spMk id="14" creationId="{987EC973-E5A4-F9DF-6BDE-E260991DBAFB}"/>
          </ac:spMkLst>
        </pc:spChg>
        <pc:spChg chg="add del mod modVis">
          <ac:chgData name="Olha Perminova (UA)" userId="3a6a8ff4-9418-475a-a23d-87d0c5689c66" providerId="ADAL" clId="{B242C7FF-03BF-4447-BB10-06B94514047C}" dt="2024-06-04T09:51:34.525" v="494"/>
          <ac:spMkLst>
            <pc:docMk/>
            <pc:sldMk cId="1261692589" sldId="2147481953"/>
            <ac:spMk id="15" creationId="{9FD30664-9215-FD96-CC1C-E0D8A97E8E43}"/>
          </ac:spMkLst>
        </pc:spChg>
        <pc:spChg chg="add mod ord">
          <ac:chgData name="Olha Perminova (UA)" userId="3a6a8ff4-9418-475a-a23d-87d0c5689c66" providerId="ADAL" clId="{B242C7FF-03BF-4447-BB10-06B94514047C}" dt="2024-06-04T09:59:07.437" v="894" actId="12789"/>
          <ac:spMkLst>
            <pc:docMk/>
            <pc:sldMk cId="1261692589" sldId="2147481953"/>
            <ac:spMk id="17" creationId="{A2BDBBB8-FB11-B6D7-73C9-74BD055790B7}"/>
          </ac:spMkLst>
        </pc:spChg>
        <pc:spChg chg="add mod ord">
          <ac:chgData name="Olha Perminova (UA)" userId="3a6a8ff4-9418-475a-a23d-87d0c5689c66" providerId="ADAL" clId="{B242C7FF-03BF-4447-BB10-06B94514047C}" dt="2024-06-04T09:52:40.742" v="545"/>
          <ac:spMkLst>
            <pc:docMk/>
            <pc:sldMk cId="1261692589" sldId="2147481953"/>
            <ac:spMk id="18" creationId="{6838115D-EFEA-AED5-4B28-CA55F6419EBE}"/>
          </ac:spMkLst>
        </pc:spChg>
        <pc:spChg chg="add del mod ord">
          <ac:chgData name="Olha Perminova (UA)" userId="3a6a8ff4-9418-475a-a23d-87d0c5689c66" providerId="ADAL" clId="{B242C7FF-03BF-4447-BB10-06B94514047C}" dt="2024-06-04T09:59:04.268" v="892" actId="478"/>
          <ac:spMkLst>
            <pc:docMk/>
            <pc:sldMk cId="1261692589" sldId="2147481953"/>
            <ac:spMk id="19" creationId="{4599B26C-DEF0-3D33-53BA-BEFB6E500905}"/>
          </ac:spMkLst>
        </pc:spChg>
        <pc:spChg chg="add mod ord">
          <ac:chgData name="Olha Perminova (UA)" userId="3a6a8ff4-9418-475a-a23d-87d0c5689c66" providerId="ADAL" clId="{B242C7FF-03BF-4447-BB10-06B94514047C}" dt="2024-06-04T09:55:40.402" v="841" actId="1035"/>
          <ac:spMkLst>
            <pc:docMk/>
            <pc:sldMk cId="1261692589" sldId="2147481953"/>
            <ac:spMk id="20" creationId="{BB0F0F4A-5AA2-41C2-4789-9D6F4634CD3D}"/>
          </ac:spMkLst>
        </pc:spChg>
        <pc:spChg chg="add mod ord">
          <ac:chgData name="Olha Perminova (UA)" userId="3a6a8ff4-9418-475a-a23d-87d0c5689c66" providerId="ADAL" clId="{B242C7FF-03BF-4447-BB10-06B94514047C}" dt="2024-06-04T09:55:40.402" v="841" actId="1035"/>
          <ac:spMkLst>
            <pc:docMk/>
            <pc:sldMk cId="1261692589" sldId="2147481953"/>
            <ac:spMk id="21" creationId="{F513C2EE-BD14-9D4D-F57C-E1B744071893}"/>
          </ac:spMkLst>
        </pc:spChg>
        <pc:spChg chg="add del mod">
          <ac:chgData name="Olha Perminova (UA)" userId="3a6a8ff4-9418-475a-a23d-87d0c5689c66" providerId="ADAL" clId="{B242C7FF-03BF-4447-BB10-06B94514047C}" dt="2024-06-04T10:00:13.509" v="913" actId="478"/>
          <ac:spMkLst>
            <pc:docMk/>
            <pc:sldMk cId="1261692589" sldId="2147481953"/>
            <ac:spMk id="22" creationId="{6BA8ECD5-0F8E-385B-8AF2-453B7BA9DA19}"/>
          </ac:spMkLst>
        </pc:spChg>
        <pc:spChg chg="add del mod modVis">
          <ac:chgData name="Olha Perminova (UA)" userId="3a6a8ff4-9418-475a-a23d-87d0c5689c66" providerId="ADAL" clId="{B242C7FF-03BF-4447-BB10-06B94514047C}" dt="2024-06-04T09:53:56.263" v="594"/>
          <ac:spMkLst>
            <pc:docMk/>
            <pc:sldMk cId="1261692589" sldId="2147481953"/>
            <ac:spMk id="23" creationId="{94677722-8D16-0773-3139-A0C34DB46FDD}"/>
          </ac:spMkLst>
        </pc:spChg>
        <pc:spChg chg="add del mod modVis">
          <ac:chgData name="Olha Perminova (UA)" userId="3a6a8ff4-9418-475a-a23d-87d0c5689c66" providerId="ADAL" clId="{B242C7FF-03BF-4447-BB10-06B94514047C}" dt="2024-06-04T09:54:49.924" v="816"/>
          <ac:spMkLst>
            <pc:docMk/>
            <pc:sldMk cId="1261692589" sldId="2147481953"/>
            <ac:spMk id="24" creationId="{E7724AD0-36F4-956F-703D-0F1372B4225D}"/>
          </ac:spMkLst>
        </pc:spChg>
        <pc:spChg chg="add del mod">
          <ac:chgData name="Olha Perminova (UA)" userId="3a6a8ff4-9418-475a-a23d-87d0c5689c66" providerId="ADAL" clId="{B242C7FF-03BF-4447-BB10-06B94514047C}" dt="2024-06-04T10:00:13.509" v="913" actId="478"/>
          <ac:spMkLst>
            <pc:docMk/>
            <pc:sldMk cId="1261692589" sldId="2147481953"/>
            <ac:spMk id="25" creationId="{C86F08DE-F056-9DC4-4ED9-8F57973FF8D0}"/>
          </ac:spMkLst>
        </pc:spChg>
        <pc:spChg chg="add mod">
          <ac:chgData name="Olha Perminova (UA)" userId="3a6a8ff4-9418-475a-a23d-87d0c5689c66" providerId="ADAL" clId="{B242C7FF-03BF-4447-BB10-06B94514047C}" dt="2024-06-04T10:00:03.414" v="911" actId="12789"/>
          <ac:spMkLst>
            <pc:docMk/>
            <pc:sldMk cId="1261692589" sldId="2147481953"/>
            <ac:spMk id="26" creationId="{F06C2866-0437-45D9-7622-C6CA45B1BF3D}"/>
          </ac:spMkLst>
        </pc:spChg>
        <pc:spChg chg="add mod">
          <ac:chgData name="Olha Perminova (UA)" userId="3a6a8ff4-9418-475a-a23d-87d0c5689c66" providerId="ADAL" clId="{B242C7FF-03BF-4447-BB10-06B94514047C}" dt="2024-06-04T09:56:22.124" v="857" actId="14100"/>
          <ac:spMkLst>
            <pc:docMk/>
            <pc:sldMk cId="1261692589" sldId="2147481953"/>
            <ac:spMk id="27" creationId="{AFAD9AAC-B02A-97A5-E95A-8652AF0255C0}"/>
          </ac:spMkLst>
        </pc:spChg>
        <pc:spChg chg="add mod">
          <ac:chgData name="Olha Perminova (UA)" userId="3a6a8ff4-9418-475a-a23d-87d0c5689c66" providerId="ADAL" clId="{B242C7FF-03BF-4447-BB10-06B94514047C}" dt="2024-06-04T09:59:59.454" v="909" actId="553"/>
          <ac:spMkLst>
            <pc:docMk/>
            <pc:sldMk cId="1261692589" sldId="2147481953"/>
            <ac:spMk id="28" creationId="{D51056DB-0577-BA23-535E-1C4041463F8E}"/>
          </ac:spMkLst>
        </pc:spChg>
        <pc:spChg chg="add mod">
          <ac:chgData name="Olha Perminova (UA)" userId="3a6a8ff4-9418-475a-a23d-87d0c5689c66" providerId="ADAL" clId="{B242C7FF-03BF-4447-BB10-06B94514047C}" dt="2024-06-04T09:59:07.437" v="894" actId="12789"/>
          <ac:spMkLst>
            <pc:docMk/>
            <pc:sldMk cId="1261692589" sldId="2147481953"/>
            <ac:spMk id="29" creationId="{6D3F4643-2CC9-6EA0-7693-6A21F5AC4723}"/>
          </ac:spMkLst>
        </pc:spChg>
        <pc:spChg chg="mod">
          <ac:chgData name="Olha Perminova (UA)" userId="3a6a8ff4-9418-475a-a23d-87d0c5689c66" providerId="ADAL" clId="{B242C7FF-03BF-4447-BB10-06B94514047C}" dt="2024-06-04T10:00:08.582" v="912" actId="207"/>
          <ac:spMkLst>
            <pc:docMk/>
            <pc:sldMk cId="1261692589" sldId="2147481953"/>
            <ac:spMk id="31" creationId="{C5FB9EAD-3DA9-9BBE-7C49-C2E226C1C315}"/>
          </ac:spMkLst>
        </pc:spChg>
        <pc:spChg chg="mod">
          <ac:chgData name="Olha Perminova (UA)" userId="3a6a8ff4-9418-475a-a23d-87d0c5689c66" providerId="ADAL" clId="{B242C7FF-03BF-4447-BB10-06B94514047C}" dt="2024-06-04T10:00:08.582" v="912" actId="207"/>
          <ac:spMkLst>
            <pc:docMk/>
            <pc:sldMk cId="1261692589" sldId="2147481953"/>
            <ac:spMk id="32" creationId="{22327C81-AF41-5520-561B-30694C2D1FD2}"/>
          </ac:spMkLst>
        </pc:spChg>
        <pc:grpChg chg="add mod">
          <ac:chgData name="Olha Perminova (UA)" userId="3a6a8ff4-9418-475a-a23d-87d0c5689c66" providerId="ADAL" clId="{B242C7FF-03BF-4447-BB10-06B94514047C}" dt="2024-06-04T10:00:08.582" v="912" actId="207"/>
          <ac:grpSpMkLst>
            <pc:docMk/>
            <pc:sldMk cId="1261692589" sldId="2147481953"/>
            <ac:grpSpMk id="30" creationId="{DA3DB08F-271A-12B2-3E90-F818BA93CDBE}"/>
          </ac:grpSpMkLst>
        </pc:grpChg>
        <pc:graphicFrameChg chg="add mod ord modVis replST">
          <ac:chgData name="Olha Perminova (UA)" userId="3a6a8ff4-9418-475a-a23d-87d0c5689c66" providerId="ADAL" clId="{B242C7FF-03BF-4447-BB10-06B94514047C}" dt="2024-06-04T09:59:57.726" v="908"/>
          <ac:graphicFrameMkLst>
            <pc:docMk/>
            <pc:sldMk cId="1261692589" sldId="2147481953"/>
            <ac:graphicFrameMk id="16" creationId="{C4E3E1FC-F21E-7096-D595-CEBA46159E6D}"/>
          </ac:graphicFrameMkLst>
        </pc:graphicFrameChg>
      </pc:sldChg>
      <pc:sldChg chg="del">
        <pc:chgData name="Olha Perminova (UA)" userId="3a6a8ff4-9418-475a-a23d-87d0c5689c66" providerId="ADAL" clId="{B242C7FF-03BF-4447-BB10-06B94514047C}" dt="2024-06-04T09:43:02.946" v="430" actId="2696"/>
        <pc:sldMkLst>
          <pc:docMk/>
          <pc:sldMk cId="4214794587" sldId="2147481954"/>
        </pc:sldMkLst>
      </pc:sldChg>
      <pc:sldChg chg="add del">
        <pc:chgData name="Olha Perminova (UA)" userId="3a6a8ff4-9418-475a-a23d-87d0c5689c66" providerId="ADAL" clId="{B242C7FF-03BF-4447-BB10-06B94514047C}" dt="2024-06-04T09:38:53.952" v="215" actId="2696"/>
        <pc:sldMkLst>
          <pc:docMk/>
          <pc:sldMk cId="3619168405" sldId="2147481955"/>
        </pc:sldMkLst>
      </pc:sldChg>
      <pc:sldChg chg="addSp delSp modSp add mod">
        <pc:chgData name="Olha Perminova (UA)" userId="3a6a8ff4-9418-475a-a23d-87d0c5689c66" providerId="ADAL" clId="{B242C7FF-03BF-4447-BB10-06B94514047C}" dt="2024-06-10T08:32:52.642" v="1186" actId="1076"/>
        <pc:sldMkLst>
          <pc:docMk/>
          <pc:sldMk cId="2037616446" sldId="2147481956"/>
        </pc:sldMkLst>
        <pc:spChg chg="mod ord">
          <ac:chgData name="Olha Perminova (UA)" userId="3a6a8ff4-9418-475a-a23d-87d0c5689c66" providerId="ADAL" clId="{B242C7FF-03BF-4447-BB10-06B94514047C}" dt="2024-06-05T07:46:48.973" v="1094"/>
          <ac:spMkLst>
            <pc:docMk/>
            <pc:sldMk cId="2037616446" sldId="2147481956"/>
            <ac:spMk id="2" creationId="{1299C1A8-38BE-9556-5CBE-67D0E693F9D9}"/>
          </ac:spMkLst>
        </pc:spChg>
        <pc:spChg chg="mod ord">
          <ac:chgData name="Olha Perminova (UA)" userId="3a6a8ff4-9418-475a-a23d-87d0c5689c66" providerId="ADAL" clId="{B242C7FF-03BF-4447-BB10-06B94514047C}" dt="2024-06-05T07:46:48.973" v="1092"/>
          <ac:spMkLst>
            <pc:docMk/>
            <pc:sldMk cId="2037616446" sldId="2147481956"/>
            <ac:spMk id="3" creationId="{8F80B32A-55E9-507D-78BC-6113B4CE3EB1}"/>
          </ac:spMkLst>
        </pc:spChg>
        <pc:spChg chg="add del mod modVis">
          <ac:chgData name="Olha Perminova (UA)" userId="3a6a8ff4-9418-475a-a23d-87d0c5689c66" providerId="ADAL" clId="{B242C7FF-03BF-4447-BB10-06B94514047C}" dt="2024-06-04T09:39:02.756" v="240"/>
          <ac:spMkLst>
            <pc:docMk/>
            <pc:sldMk cId="2037616446" sldId="2147481956"/>
            <ac:spMk id="4" creationId="{5BAC0172-E4CA-F40D-9568-616A551CC362}"/>
          </ac:spMkLst>
        </pc:spChg>
        <pc:spChg chg="add mod ord">
          <ac:chgData name="Olha Perminova (UA)" userId="3a6a8ff4-9418-475a-a23d-87d0c5689c66" providerId="ADAL" clId="{B242C7FF-03BF-4447-BB10-06B94514047C}" dt="2024-06-06T08:25:25.413" v="1176" actId="14100"/>
          <ac:spMkLst>
            <pc:docMk/>
            <pc:sldMk cId="2037616446" sldId="2147481956"/>
            <ac:spMk id="4" creationId="{90309381-2350-E32A-D998-0DE68AD8DA4A}"/>
          </ac:spMkLst>
        </pc:spChg>
        <pc:spChg chg="add mod ord">
          <ac:chgData name="Olha Perminova (UA)" userId="3a6a8ff4-9418-475a-a23d-87d0c5689c66" providerId="ADAL" clId="{B242C7FF-03BF-4447-BB10-06B94514047C}" dt="2024-06-05T07:46:48.973" v="1084"/>
          <ac:spMkLst>
            <pc:docMk/>
            <pc:sldMk cId="2037616446" sldId="2147481956"/>
            <ac:spMk id="5" creationId="{EB70CDAA-B400-12D0-4931-7878309E90AD}"/>
          </ac:spMkLst>
        </pc:spChg>
        <pc:spChg chg="add mod ord">
          <ac:chgData name="Olha Perminova (UA)" userId="3a6a8ff4-9418-475a-a23d-87d0c5689c66" providerId="ADAL" clId="{B242C7FF-03BF-4447-BB10-06B94514047C}" dt="2024-06-05T07:46:48.981" v="1102"/>
          <ac:spMkLst>
            <pc:docMk/>
            <pc:sldMk cId="2037616446" sldId="2147481956"/>
            <ac:spMk id="6" creationId="{976F9164-18B5-7B30-6C9E-4C5AC2AFB251}"/>
          </ac:spMkLst>
        </pc:spChg>
        <pc:spChg chg="add mod ord">
          <ac:chgData name="Olha Perminova (UA)" userId="3a6a8ff4-9418-475a-a23d-87d0c5689c66" providerId="ADAL" clId="{B242C7FF-03BF-4447-BB10-06B94514047C}" dt="2024-06-05T07:46:48.981" v="1104"/>
          <ac:spMkLst>
            <pc:docMk/>
            <pc:sldMk cId="2037616446" sldId="2147481956"/>
            <ac:spMk id="7" creationId="{95F2504B-3C54-3ABF-D5FC-BF2DA17554A4}"/>
          </ac:spMkLst>
        </pc:spChg>
        <pc:spChg chg="add mod ord">
          <ac:chgData name="Olha Perminova (UA)" userId="3a6a8ff4-9418-475a-a23d-87d0c5689c66" providerId="ADAL" clId="{B242C7FF-03BF-4447-BB10-06B94514047C}" dt="2024-06-05T07:46:48.982" v="1106"/>
          <ac:spMkLst>
            <pc:docMk/>
            <pc:sldMk cId="2037616446" sldId="2147481956"/>
            <ac:spMk id="8" creationId="{7783C402-0517-A40D-5AD3-C7B8CD89F746}"/>
          </ac:spMkLst>
        </pc:spChg>
        <pc:spChg chg="mod ord">
          <ac:chgData name="Olha Perminova (UA)" userId="3a6a8ff4-9418-475a-a23d-87d0c5689c66" providerId="ADAL" clId="{B242C7FF-03BF-4447-BB10-06B94514047C}" dt="2024-06-06T08:25:39.443" v="1181" actId="552"/>
          <ac:spMkLst>
            <pc:docMk/>
            <pc:sldMk cId="2037616446" sldId="2147481956"/>
            <ac:spMk id="9" creationId="{E60771D5-36B1-5846-E0FD-EE10BA67E143}"/>
          </ac:spMkLst>
        </pc:spChg>
        <pc:spChg chg="mod ord">
          <ac:chgData name="Olha Perminova (UA)" userId="3a6a8ff4-9418-475a-a23d-87d0c5689c66" providerId="ADAL" clId="{B242C7FF-03BF-4447-BB10-06B94514047C}" dt="2024-06-06T08:25:35.944" v="1179" actId="14100"/>
          <ac:spMkLst>
            <pc:docMk/>
            <pc:sldMk cId="2037616446" sldId="2147481956"/>
            <ac:spMk id="10" creationId="{0E3AF958-70C4-357F-D986-53A75E5CF63B}"/>
          </ac:spMkLst>
        </pc:spChg>
        <pc:spChg chg="mod ord">
          <ac:chgData name="Olha Perminova (UA)" userId="3a6a8ff4-9418-475a-a23d-87d0c5689c66" providerId="ADAL" clId="{B242C7FF-03BF-4447-BB10-06B94514047C}" dt="2024-06-05T07:46:48.973" v="1096"/>
          <ac:spMkLst>
            <pc:docMk/>
            <pc:sldMk cId="2037616446" sldId="2147481956"/>
            <ac:spMk id="11" creationId="{70513DFC-D897-87EB-EF6A-D4829E31C2D1}"/>
          </ac:spMkLst>
        </pc:spChg>
        <pc:spChg chg="mod ord">
          <ac:chgData name="Olha Perminova (UA)" userId="3a6a8ff4-9418-475a-a23d-87d0c5689c66" providerId="ADAL" clId="{B242C7FF-03BF-4447-BB10-06B94514047C}" dt="2024-06-06T08:25:39.443" v="1181" actId="552"/>
          <ac:spMkLst>
            <pc:docMk/>
            <pc:sldMk cId="2037616446" sldId="2147481956"/>
            <ac:spMk id="12" creationId="{9FE544F4-5FE9-EB4A-60A5-5DB0C11FA6FA}"/>
          </ac:spMkLst>
        </pc:spChg>
        <pc:spChg chg="add mod ord">
          <ac:chgData name="Olha Perminova (UA)" userId="3a6a8ff4-9418-475a-a23d-87d0c5689c66" providerId="ADAL" clId="{B242C7FF-03BF-4447-BB10-06B94514047C}" dt="2024-06-05T07:46:48.982" v="1108"/>
          <ac:spMkLst>
            <pc:docMk/>
            <pc:sldMk cId="2037616446" sldId="2147481956"/>
            <ac:spMk id="13" creationId="{A6BE1D1D-3F01-1DF1-B44F-6D56DDF9CE64}"/>
          </ac:spMkLst>
        </pc:spChg>
        <pc:spChg chg="mod ord">
          <ac:chgData name="Olha Perminova (UA)" userId="3a6a8ff4-9418-475a-a23d-87d0c5689c66" providerId="ADAL" clId="{B242C7FF-03BF-4447-BB10-06B94514047C}" dt="2024-06-10T08:32:52.642" v="1186" actId="1076"/>
          <ac:spMkLst>
            <pc:docMk/>
            <pc:sldMk cId="2037616446" sldId="2147481956"/>
            <ac:spMk id="14" creationId="{5B5D085A-3398-3BD7-B8AA-EE3669531778}"/>
          </ac:spMkLst>
        </pc:spChg>
        <pc:spChg chg="del">
          <ac:chgData name="Olha Perminova (UA)" userId="3a6a8ff4-9418-475a-a23d-87d0c5689c66" providerId="ADAL" clId="{B242C7FF-03BF-4447-BB10-06B94514047C}" dt="2024-06-04T09:40:59.036" v="259" actId="478"/>
          <ac:spMkLst>
            <pc:docMk/>
            <pc:sldMk cId="2037616446" sldId="2147481956"/>
            <ac:spMk id="14" creationId="{9FD14EA1-5F55-4208-B044-621497B14600}"/>
          </ac:spMkLst>
        </pc:spChg>
        <pc:spChg chg="add del mod modVis">
          <ac:chgData name="Olha Perminova (UA)" userId="3a6a8ff4-9418-475a-a23d-87d0c5689c66" providerId="ADAL" clId="{B242C7FF-03BF-4447-BB10-06B94514047C}" dt="2024-06-05T07:46:38.852" v="1042"/>
          <ac:spMkLst>
            <pc:docMk/>
            <pc:sldMk cId="2037616446" sldId="2147481956"/>
            <ac:spMk id="15" creationId="{1FC18D2D-C9E7-8DDE-3BE6-5EC10C92F3CC}"/>
          </ac:spMkLst>
        </pc:spChg>
        <pc:spChg chg="del">
          <ac:chgData name="Olha Perminova (UA)" userId="3a6a8ff4-9418-475a-a23d-87d0c5689c66" providerId="ADAL" clId="{B242C7FF-03BF-4447-BB10-06B94514047C}" dt="2024-06-04T09:40:59.036" v="259" actId="478"/>
          <ac:spMkLst>
            <pc:docMk/>
            <pc:sldMk cId="2037616446" sldId="2147481956"/>
            <ac:spMk id="15" creationId="{D94CBB10-3D88-8D99-A508-25320F8BC0AE}"/>
          </ac:spMkLst>
        </pc:spChg>
        <pc:spChg chg="del">
          <ac:chgData name="Olha Perminova (UA)" userId="3a6a8ff4-9418-475a-a23d-87d0c5689c66" providerId="ADAL" clId="{B242C7FF-03BF-4447-BB10-06B94514047C}" dt="2024-06-04T09:40:59.036" v="259" actId="478"/>
          <ac:spMkLst>
            <pc:docMk/>
            <pc:sldMk cId="2037616446" sldId="2147481956"/>
            <ac:spMk id="16" creationId="{CA061F35-E025-EC98-466B-1A5CDADF26EF}"/>
          </ac:spMkLst>
        </pc:spChg>
        <pc:spChg chg="add del mod modVis">
          <ac:chgData name="Olha Perminova (UA)" userId="3a6a8ff4-9418-475a-a23d-87d0c5689c66" providerId="ADAL" clId="{B242C7FF-03BF-4447-BB10-06B94514047C}" dt="2024-06-05T07:46:41.773" v="1076"/>
          <ac:spMkLst>
            <pc:docMk/>
            <pc:sldMk cId="2037616446" sldId="2147481956"/>
            <ac:spMk id="16" creationId="{CA1FF851-423F-AFD5-F091-B18BAB0A47CC}"/>
          </ac:spMkLst>
        </pc:spChg>
        <pc:spChg chg="add del mod">
          <ac:chgData name="Olha Perminova (UA)" userId="3a6a8ff4-9418-475a-a23d-87d0c5689c66" providerId="ADAL" clId="{B242C7FF-03BF-4447-BB10-06B94514047C}" dt="2024-06-06T08:25:41.543" v="1182" actId="478"/>
          <ac:spMkLst>
            <pc:docMk/>
            <pc:sldMk cId="2037616446" sldId="2147481956"/>
            <ac:spMk id="16" creationId="{EB8ECF6F-DD86-D478-E9ED-E51FBD77184E}"/>
          </ac:spMkLst>
        </pc:spChg>
        <pc:spChg chg="del">
          <ac:chgData name="Olha Perminova (UA)" userId="3a6a8ff4-9418-475a-a23d-87d0c5689c66" providerId="ADAL" clId="{B242C7FF-03BF-4447-BB10-06B94514047C}" dt="2024-06-04T09:40:59.036" v="259" actId="478"/>
          <ac:spMkLst>
            <pc:docMk/>
            <pc:sldMk cId="2037616446" sldId="2147481956"/>
            <ac:spMk id="17" creationId="{7E19FA06-400B-67CA-FA4B-3971DB1E3B31}"/>
          </ac:spMkLst>
        </pc:spChg>
        <pc:spChg chg="del mod ord">
          <ac:chgData name="Olha Perminova (UA)" userId="3a6a8ff4-9418-475a-a23d-87d0c5689c66" providerId="ADAL" clId="{B242C7FF-03BF-4447-BB10-06B94514047C}" dt="2024-06-05T07:46:55.285" v="1117" actId="478"/>
          <ac:spMkLst>
            <pc:docMk/>
            <pc:sldMk cId="2037616446" sldId="2147481956"/>
            <ac:spMk id="19" creationId="{3A07BD72-5576-53C1-BD24-E93959AEEC0C}"/>
          </ac:spMkLst>
        </pc:spChg>
        <pc:spChg chg="mod ord">
          <ac:chgData name="Olha Perminova (UA)" userId="3a6a8ff4-9418-475a-a23d-87d0c5689c66" providerId="ADAL" clId="{B242C7FF-03BF-4447-BB10-06B94514047C}" dt="2024-06-06T08:25:27.173" v="1177" actId="14100"/>
          <ac:spMkLst>
            <pc:docMk/>
            <pc:sldMk cId="2037616446" sldId="2147481956"/>
            <ac:spMk id="20" creationId="{65DB62E6-BFFA-886D-687D-AC30DD6D33FB}"/>
          </ac:spMkLst>
        </pc:spChg>
        <pc:spChg chg="add mod ord">
          <ac:chgData name="Olha Perminova (UA)" userId="3a6a8ff4-9418-475a-a23d-87d0c5689c66" providerId="ADAL" clId="{B242C7FF-03BF-4447-BB10-06B94514047C}" dt="2024-06-05T07:46:48.982" v="1110"/>
          <ac:spMkLst>
            <pc:docMk/>
            <pc:sldMk cId="2037616446" sldId="2147481956"/>
            <ac:spMk id="21" creationId="{1118417F-5F3E-C322-3338-E4C7A4CDB1CE}"/>
          </ac:spMkLst>
        </pc:spChg>
        <pc:spChg chg="add del mod ord">
          <ac:chgData name="Olha Perminova (UA)" userId="3a6a8ff4-9418-475a-a23d-87d0c5689c66" providerId="ADAL" clId="{B242C7FF-03BF-4447-BB10-06B94514047C}" dt="2024-06-04T09:41:31.509" v="390" actId="478"/>
          <ac:spMkLst>
            <pc:docMk/>
            <pc:sldMk cId="2037616446" sldId="2147481956"/>
            <ac:spMk id="22" creationId="{E28F36AD-827F-D83C-F7B2-C53CD0E1A9C7}"/>
          </ac:spMkLst>
        </pc:spChg>
        <pc:spChg chg="add del mod modVis">
          <ac:chgData name="Olha Perminova (UA)" userId="3a6a8ff4-9418-475a-a23d-87d0c5689c66" providerId="ADAL" clId="{B242C7FF-03BF-4447-BB10-06B94514047C}" dt="2024-06-04T09:54:20.844" v="728" actId="962"/>
          <ac:spMkLst>
            <pc:docMk/>
            <pc:sldMk cId="2037616446" sldId="2147481956"/>
            <ac:spMk id="23" creationId="{436A525B-3CD4-7B90-469B-0953523FDD57}"/>
          </ac:spMkLst>
        </pc:spChg>
        <pc:spChg chg="add del mod modVis">
          <ac:chgData name="Olha Perminova (UA)" userId="3a6a8ff4-9418-475a-a23d-87d0c5689c66" providerId="ADAL" clId="{B242C7FF-03BF-4447-BB10-06B94514047C}" dt="2024-06-04T09:54:23.982" v="758"/>
          <ac:spMkLst>
            <pc:docMk/>
            <pc:sldMk cId="2037616446" sldId="2147481956"/>
            <ac:spMk id="24" creationId="{69028A27-21FC-4DC7-A100-831C5976C926}"/>
          </ac:spMkLst>
        </pc:spChg>
        <pc:spChg chg="add del mod modVis">
          <ac:chgData name="Olha Perminova (UA)" userId="3a6a8ff4-9418-475a-a23d-87d0c5689c66" providerId="ADAL" clId="{B242C7FF-03BF-4447-BB10-06B94514047C}" dt="2024-06-04T09:54:26.823" v="786"/>
          <ac:spMkLst>
            <pc:docMk/>
            <pc:sldMk cId="2037616446" sldId="2147481956"/>
            <ac:spMk id="25" creationId="{0590A125-C002-AEC6-7DFB-EBA08D103B21}"/>
          </ac:spMkLst>
        </pc:spChg>
        <pc:graphicFrameChg chg="mod">
          <ac:chgData name="Olha Perminova (UA)" userId="3a6a8ff4-9418-475a-a23d-87d0c5689c66" providerId="ADAL" clId="{B242C7FF-03BF-4447-BB10-06B94514047C}" dt="2024-06-05T07:46:48.987" v="1116"/>
          <ac:graphicFrameMkLst>
            <pc:docMk/>
            <pc:sldMk cId="2037616446" sldId="2147481956"/>
            <ac:graphicFrameMk id="18" creationId="{B17D7669-20A3-7481-8F23-CD69449C9745}"/>
          </ac:graphicFrameMkLst>
        </pc:graphicFrameChg>
      </pc:sldChg>
      <pc:sldChg chg="addSp delSp modSp add del mod chgLayout">
        <pc:chgData name="Olha Perminova (UA)" userId="3a6a8ff4-9418-475a-a23d-87d0c5689c66" providerId="ADAL" clId="{B242C7FF-03BF-4447-BB10-06B94514047C}" dt="2024-06-04T10:00:29.924" v="955" actId="2696"/>
        <pc:sldMkLst>
          <pc:docMk/>
          <pc:sldMk cId="192270410" sldId="2147481957"/>
        </pc:sldMkLst>
        <pc:spChg chg="mod ord">
          <ac:chgData name="Olha Perminova (UA)" userId="3a6a8ff4-9418-475a-a23d-87d0c5689c66" providerId="ADAL" clId="{B242C7FF-03BF-4447-BB10-06B94514047C}" dt="2024-06-04T10:00:25.781" v="916" actId="948"/>
          <ac:spMkLst>
            <pc:docMk/>
            <pc:sldMk cId="192270410" sldId="2147481957"/>
            <ac:spMk id="2" creationId="{1A6103D8-B23D-68A9-5B86-59618E4C749F}"/>
          </ac:spMkLst>
        </pc:spChg>
        <pc:spChg chg="mod ord">
          <ac:chgData name="Olha Perminova (UA)" userId="3a6a8ff4-9418-475a-a23d-87d0c5689c66" providerId="ADAL" clId="{B242C7FF-03BF-4447-BB10-06B94514047C}" dt="2024-06-04T10:00:25.240" v="915" actId="6264"/>
          <ac:spMkLst>
            <pc:docMk/>
            <pc:sldMk cId="192270410" sldId="2147481957"/>
            <ac:spMk id="3" creationId="{3E016C9A-A74E-283F-DCE3-468564AB624D}"/>
          </ac:spMkLst>
        </pc:spChg>
        <pc:spChg chg="add del mod">
          <ac:chgData name="Olha Perminova (UA)" userId="3a6a8ff4-9418-475a-a23d-87d0c5689c66" providerId="ADAL" clId="{B242C7FF-03BF-4447-BB10-06B94514047C}" dt="2024-06-04T10:00:25.240" v="915" actId="6264"/>
          <ac:spMkLst>
            <pc:docMk/>
            <pc:sldMk cId="192270410" sldId="2147481957"/>
            <ac:spMk id="4" creationId="{80F74B9A-DABD-FED5-AF39-DA65E8E2890B}"/>
          </ac:spMkLst>
        </pc:spChg>
        <pc:spChg chg="add del mod">
          <ac:chgData name="Olha Perminova (UA)" userId="3a6a8ff4-9418-475a-a23d-87d0c5689c66" providerId="ADAL" clId="{B242C7FF-03BF-4447-BB10-06B94514047C}" dt="2024-06-04T10:00:25.240" v="915" actId="6264"/>
          <ac:spMkLst>
            <pc:docMk/>
            <pc:sldMk cId="192270410" sldId="2147481957"/>
            <ac:spMk id="5" creationId="{D2D93E66-7B77-1846-8009-BD251727BBE6}"/>
          </ac:spMkLst>
        </pc:spChg>
        <pc:spChg chg="add del mod modVis">
          <ac:chgData name="Olha Perminova (UA)" userId="3a6a8ff4-9418-475a-a23d-87d0c5689c66" providerId="ADAL" clId="{B242C7FF-03BF-4447-BB10-06B94514047C}" dt="2024-06-04T10:00:25.853" v="939"/>
          <ac:spMkLst>
            <pc:docMk/>
            <pc:sldMk cId="192270410" sldId="2147481957"/>
            <ac:spMk id="7" creationId="{AA1F8F66-74B6-4094-B375-3F521355AA0E}"/>
          </ac:spMkLst>
        </pc:spChg>
        <pc:graphicFrameChg chg="add mod ord modVis replST">
          <ac:chgData name="Olha Perminova (UA)" userId="3a6a8ff4-9418-475a-a23d-87d0c5689c66" providerId="ADAL" clId="{B242C7FF-03BF-4447-BB10-06B94514047C}" dt="2024-06-04T10:00:25.876" v="954"/>
          <ac:graphicFrameMkLst>
            <pc:docMk/>
            <pc:sldMk cId="192270410" sldId="2147481957"/>
            <ac:graphicFrameMk id="11" creationId="{5728870A-F18A-6F9D-DC34-F389241DC8F0}"/>
          </ac:graphicFrameMkLst>
        </pc:graphicFrameChg>
      </pc:sldChg>
      <pc:sldChg chg="modSp mod">
        <pc:chgData name="Olha Perminova (UA)" userId="3a6a8ff4-9418-475a-a23d-87d0c5689c66" providerId="ADAL" clId="{B242C7FF-03BF-4447-BB10-06B94514047C}" dt="2024-06-10T08:30:04.374" v="1184" actId="122"/>
        <pc:sldMkLst>
          <pc:docMk/>
          <pc:sldMk cId="329214126" sldId="2147481959"/>
        </pc:sldMkLst>
        <pc:spChg chg="mod">
          <ac:chgData name="Olha Perminova (UA)" userId="3a6a8ff4-9418-475a-a23d-87d0c5689c66" providerId="ADAL" clId="{B242C7FF-03BF-4447-BB10-06B94514047C}" dt="2024-06-10T08:30:04.374" v="1184" actId="122"/>
          <ac:spMkLst>
            <pc:docMk/>
            <pc:sldMk cId="329214126" sldId="2147481959"/>
            <ac:spMk id="10" creationId="{E7620417-CA25-4C85-685A-F9654D084E1A}"/>
          </ac:spMkLst>
        </pc:spChg>
      </pc:sldChg>
    </pc:docChg>
  </pc:docChgLst>
  <pc:docChgLst>
    <pc:chgData name="Kateryna Levchuk (UA)" userId="5dbb0cbd-4dc1-41d4-910d-5f884aef466d" providerId="ADAL" clId="{3D0DB7AE-1BA7-45E8-B6C7-4A63B94ABB52}"/>
    <pc:docChg chg="undo custSel addSld delSld modSld">
      <pc:chgData name="Kateryna Levchuk (UA)" userId="5dbb0cbd-4dc1-41d4-910d-5f884aef466d" providerId="ADAL" clId="{3D0DB7AE-1BA7-45E8-B6C7-4A63B94ABB52}" dt="2024-06-10T14:03:06.942" v="1431" actId="478"/>
      <pc:docMkLst>
        <pc:docMk/>
      </pc:docMkLst>
      <pc:sldChg chg="addSp delSp modSp mod">
        <pc:chgData name="Kateryna Levchuk (UA)" userId="5dbb0cbd-4dc1-41d4-910d-5f884aef466d" providerId="ADAL" clId="{3D0DB7AE-1BA7-45E8-B6C7-4A63B94ABB52}" dt="2024-06-10T13:23:20.051" v="1026"/>
        <pc:sldMkLst>
          <pc:docMk/>
          <pc:sldMk cId="0" sldId="257"/>
        </pc:sldMkLst>
        <pc:spChg chg="mod topLvl">
          <ac:chgData name="Kateryna Levchuk (UA)" userId="5dbb0cbd-4dc1-41d4-910d-5f884aef466d" providerId="ADAL" clId="{3D0DB7AE-1BA7-45E8-B6C7-4A63B94ABB52}" dt="2024-06-10T11:53:06.491" v="977" actId="164"/>
          <ac:spMkLst>
            <pc:docMk/>
            <pc:sldMk cId="0" sldId="257"/>
            <ac:spMk id="7" creationId="{30D1B43A-6597-29BB-9D57-C9D983ADF0C4}"/>
          </ac:spMkLst>
        </pc:spChg>
        <pc:spChg chg="mod topLvl">
          <ac:chgData name="Kateryna Levchuk (UA)" userId="5dbb0cbd-4dc1-41d4-910d-5f884aef466d" providerId="ADAL" clId="{3D0DB7AE-1BA7-45E8-B6C7-4A63B94ABB52}" dt="2024-06-10T11:53:06.491" v="977" actId="164"/>
          <ac:spMkLst>
            <pc:docMk/>
            <pc:sldMk cId="0" sldId="257"/>
            <ac:spMk id="8" creationId="{572FA3EE-10F1-2F59-E83B-52ECFA9435CF}"/>
          </ac:spMkLst>
        </pc:spChg>
        <pc:spChg chg="mod topLvl">
          <ac:chgData name="Kateryna Levchuk (UA)" userId="5dbb0cbd-4dc1-41d4-910d-5f884aef466d" providerId="ADAL" clId="{3D0DB7AE-1BA7-45E8-B6C7-4A63B94ABB52}" dt="2024-06-10T11:53:06.491" v="977" actId="164"/>
          <ac:spMkLst>
            <pc:docMk/>
            <pc:sldMk cId="0" sldId="257"/>
            <ac:spMk id="12" creationId="{18820215-07D6-789F-3B1D-4087F7072595}"/>
          </ac:spMkLst>
        </pc:spChg>
        <pc:spChg chg="mod topLvl">
          <ac:chgData name="Kateryna Levchuk (UA)" userId="5dbb0cbd-4dc1-41d4-910d-5f884aef466d" providerId="ADAL" clId="{3D0DB7AE-1BA7-45E8-B6C7-4A63B94ABB52}" dt="2024-06-10T11:53:06.491" v="977" actId="164"/>
          <ac:spMkLst>
            <pc:docMk/>
            <pc:sldMk cId="0" sldId="257"/>
            <ac:spMk id="15" creationId="{F64A794A-E5BE-A3D2-654B-832FCF32E710}"/>
          </ac:spMkLst>
        </pc:spChg>
        <pc:spChg chg="mod topLvl">
          <ac:chgData name="Kateryna Levchuk (UA)" userId="5dbb0cbd-4dc1-41d4-910d-5f884aef466d" providerId="ADAL" clId="{3D0DB7AE-1BA7-45E8-B6C7-4A63B94ABB52}" dt="2024-06-10T11:53:06.491" v="977" actId="164"/>
          <ac:spMkLst>
            <pc:docMk/>
            <pc:sldMk cId="0" sldId="257"/>
            <ac:spMk id="17" creationId="{4BA13071-B2C7-5ADD-A501-4B2B94F0D224}"/>
          </ac:spMkLst>
        </pc:spChg>
        <pc:spChg chg="mod topLvl">
          <ac:chgData name="Kateryna Levchuk (UA)" userId="5dbb0cbd-4dc1-41d4-910d-5f884aef466d" providerId="ADAL" clId="{3D0DB7AE-1BA7-45E8-B6C7-4A63B94ABB52}" dt="2024-06-10T11:53:06.491" v="977" actId="164"/>
          <ac:spMkLst>
            <pc:docMk/>
            <pc:sldMk cId="0" sldId="257"/>
            <ac:spMk id="23" creationId="{7FAA788C-FCFE-16F5-98E6-E658725E398C}"/>
          </ac:spMkLst>
        </pc:spChg>
        <pc:spChg chg="mod topLvl">
          <ac:chgData name="Kateryna Levchuk (UA)" userId="5dbb0cbd-4dc1-41d4-910d-5f884aef466d" providerId="ADAL" clId="{3D0DB7AE-1BA7-45E8-B6C7-4A63B94ABB52}" dt="2024-06-10T11:53:06.491" v="977" actId="164"/>
          <ac:spMkLst>
            <pc:docMk/>
            <pc:sldMk cId="0" sldId="257"/>
            <ac:spMk id="28" creationId="{6142BD41-C81A-00E9-5DCC-C693F9E125CA}"/>
          </ac:spMkLst>
        </pc:spChg>
        <pc:spChg chg="mod">
          <ac:chgData name="Kateryna Levchuk (UA)" userId="5dbb0cbd-4dc1-41d4-910d-5f884aef466d" providerId="ADAL" clId="{3D0DB7AE-1BA7-45E8-B6C7-4A63B94ABB52}" dt="2024-06-10T11:53:09.334" v="979" actId="571"/>
          <ac:spMkLst>
            <pc:docMk/>
            <pc:sldMk cId="0" sldId="257"/>
            <ac:spMk id="50" creationId="{4BECE172-9815-893D-D2F3-9E90A1CB8B65}"/>
          </ac:spMkLst>
        </pc:spChg>
        <pc:spChg chg="mod">
          <ac:chgData name="Kateryna Levchuk (UA)" userId="5dbb0cbd-4dc1-41d4-910d-5f884aef466d" providerId="ADAL" clId="{3D0DB7AE-1BA7-45E8-B6C7-4A63B94ABB52}" dt="2024-06-10T11:53:09.334" v="979" actId="571"/>
          <ac:spMkLst>
            <pc:docMk/>
            <pc:sldMk cId="0" sldId="257"/>
            <ac:spMk id="52" creationId="{A777536E-155C-1DAF-18B0-7BD5A6B57A18}"/>
          </ac:spMkLst>
        </pc:spChg>
        <pc:spChg chg="mod">
          <ac:chgData name="Kateryna Levchuk (UA)" userId="5dbb0cbd-4dc1-41d4-910d-5f884aef466d" providerId="ADAL" clId="{3D0DB7AE-1BA7-45E8-B6C7-4A63B94ABB52}" dt="2024-06-10T11:53:09.334" v="979" actId="571"/>
          <ac:spMkLst>
            <pc:docMk/>
            <pc:sldMk cId="0" sldId="257"/>
            <ac:spMk id="57" creationId="{711E86A3-8414-ECAB-5FB5-E55B8AD39F3E}"/>
          </ac:spMkLst>
        </pc:spChg>
        <pc:spChg chg="mod">
          <ac:chgData name="Kateryna Levchuk (UA)" userId="5dbb0cbd-4dc1-41d4-910d-5f884aef466d" providerId="ADAL" clId="{3D0DB7AE-1BA7-45E8-B6C7-4A63B94ABB52}" dt="2024-06-10T11:53:09.334" v="979" actId="571"/>
          <ac:spMkLst>
            <pc:docMk/>
            <pc:sldMk cId="0" sldId="257"/>
            <ac:spMk id="58" creationId="{1F649AD2-F219-5E67-665B-098441AB7DC7}"/>
          </ac:spMkLst>
        </pc:spChg>
        <pc:spChg chg="mod">
          <ac:chgData name="Kateryna Levchuk (UA)" userId="5dbb0cbd-4dc1-41d4-910d-5f884aef466d" providerId="ADAL" clId="{3D0DB7AE-1BA7-45E8-B6C7-4A63B94ABB52}" dt="2024-06-10T11:53:09.334" v="979" actId="571"/>
          <ac:spMkLst>
            <pc:docMk/>
            <pc:sldMk cId="0" sldId="257"/>
            <ac:spMk id="59" creationId="{C5F06C2E-45D2-9CCE-99F1-2256B43D9A76}"/>
          </ac:spMkLst>
        </pc:spChg>
        <pc:spChg chg="mod">
          <ac:chgData name="Kateryna Levchuk (UA)" userId="5dbb0cbd-4dc1-41d4-910d-5f884aef466d" providerId="ADAL" clId="{3D0DB7AE-1BA7-45E8-B6C7-4A63B94ABB52}" dt="2024-06-10T11:53:09.334" v="979" actId="571"/>
          <ac:spMkLst>
            <pc:docMk/>
            <pc:sldMk cId="0" sldId="257"/>
            <ac:spMk id="60" creationId="{FA13A5C1-C7FB-8C0B-728A-22299521AA90}"/>
          </ac:spMkLst>
        </pc:spChg>
        <pc:spChg chg="mod">
          <ac:chgData name="Kateryna Levchuk (UA)" userId="5dbb0cbd-4dc1-41d4-910d-5f884aef466d" providerId="ADAL" clId="{3D0DB7AE-1BA7-45E8-B6C7-4A63B94ABB52}" dt="2024-06-10T11:53:09.334" v="979" actId="571"/>
          <ac:spMkLst>
            <pc:docMk/>
            <pc:sldMk cId="0" sldId="257"/>
            <ac:spMk id="61" creationId="{2932BBC9-5092-929B-D18F-A4FE84A58B80}"/>
          </ac:spMkLst>
        </pc:spChg>
        <pc:spChg chg="mod">
          <ac:chgData name="Kateryna Levchuk (UA)" userId="5dbb0cbd-4dc1-41d4-910d-5f884aef466d" providerId="ADAL" clId="{3D0DB7AE-1BA7-45E8-B6C7-4A63B94ABB52}" dt="2024-06-10T13:23:20.051" v="1026"/>
          <ac:spMkLst>
            <pc:docMk/>
            <pc:sldMk cId="0" sldId="257"/>
            <ac:spMk id="2053" creationId="{0ECD4AE9-C58A-7B4F-5776-2EDCB013787D}"/>
          </ac:spMkLst>
        </pc:spChg>
        <pc:spChg chg="mod">
          <ac:chgData name="Kateryna Levchuk (UA)" userId="5dbb0cbd-4dc1-41d4-910d-5f884aef466d" providerId="ADAL" clId="{3D0DB7AE-1BA7-45E8-B6C7-4A63B94ABB52}" dt="2024-06-10T13:23:20.051" v="1026"/>
          <ac:spMkLst>
            <pc:docMk/>
            <pc:sldMk cId="0" sldId="257"/>
            <ac:spMk id="2057" creationId="{85E05270-D33B-3CDD-CBB6-DCC9EEA5D7C9}"/>
          </ac:spMkLst>
        </pc:spChg>
        <pc:spChg chg="mod">
          <ac:chgData name="Kateryna Levchuk (UA)" userId="5dbb0cbd-4dc1-41d4-910d-5f884aef466d" providerId="ADAL" clId="{3D0DB7AE-1BA7-45E8-B6C7-4A63B94ABB52}" dt="2024-06-10T13:23:20.051" v="1026"/>
          <ac:spMkLst>
            <pc:docMk/>
            <pc:sldMk cId="0" sldId="257"/>
            <ac:spMk id="2061" creationId="{0AA84628-5C24-AB24-0C28-ED8473D48584}"/>
          </ac:spMkLst>
        </pc:spChg>
        <pc:spChg chg="mod">
          <ac:chgData name="Kateryna Levchuk (UA)" userId="5dbb0cbd-4dc1-41d4-910d-5f884aef466d" providerId="ADAL" clId="{3D0DB7AE-1BA7-45E8-B6C7-4A63B94ABB52}" dt="2024-06-10T13:23:20.051" v="1026"/>
          <ac:spMkLst>
            <pc:docMk/>
            <pc:sldMk cId="0" sldId="257"/>
            <ac:spMk id="2062" creationId="{6393887F-B9C8-6177-3D6A-6054B7E6C4EC}"/>
          </ac:spMkLst>
        </pc:spChg>
        <pc:spChg chg="mod">
          <ac:chgData name="Kateryna Levchuk (UA)" userId="5dbb0cbd-4dc1-41d4-910d-5f884aef466d" providerId="ADAL" clId="{3D0DB7AE-1BA7-45E8-B6C7-4A63B94ABB52}" dt="2024-06-10T13:23:20.051" v="1026"/>
          <ac:spMkLst>
            <pc:docMk/>
            <pc:sldMk cId="0" sldId="257"/>
            <ac:spMk id="2063" creationId="{FE8002F2-ACE3-DCE0-3364-ED45B33A50FB}"/>
          </ac:spMkLst>
        </pc:spChg>
        <pc:spChg chg="mod">
          <ac:chgData name="Kateryna Levchuk (UA)" userId="5dbb0cbd-4dc1-41d4-910d-5f884aef466d" providerId="ADAL" clId="{3D0DB7AE-1BA7-45E8-B6C7-4A63B94ABB52}" dt="2024-06-10T13:23:20.051" v="1026"/>
          <ac:spMkLst>
            <pc:docMk/>
            <pc:sldMk cId="0" sldId="257"/>
            <ac:spMk id="2064" creationId="{9FC49241-E7B5-17FF-0AA8-A83C82467E75}"/>
          </ac:spMkLst>
        </pc:spChg>
        <pc:grpChg chg="del">
          <ac:chgData name="Kateryna Levchuk (UA)" userId="5dbb0cbd-4dc1-41d4-910d-5f884aef466d" providerId="ADAL" clId="{3D0DB7AE-1BA7-45E8-B6C7-4A63B94ABB52}" dt="2024-06-10T11:50:28.731" v="963" actId="478"/>
          <ac:grpSpMkLst>
            <pc:docMk/>
            <pc:sldMk cId="0" sldId="257"/>
            <ac:grpSpMk id="2" creationId="{247F7C1D-6F39-44F5-1065-B4110986836C}"/>
          </ac:grpSpMkLst>
        </pc:grpChg>
        <pc:grpChg chg="add del mod">
          <ac:chgData name="Kateryna Levchuk (UA)" userId="5dbb0cbd-4dc1-41d4-910d-5f884aef466d" providerId="ADAL" clId="{3D0DB7AE-1BA7-45E8-B6C7-4A63B94ABB52}" dt="2024-06-10T11:51:16.970" v="965" actId="165"/>
          <ac:grpSpMkLst>
            <pc:docMk/>
            <pc:sldMk cId="0" sldId="257"/>
            <ac:grpSpMk id="6" creationId="{64C71CD5-56F8-D8C5-C4B5-A6FBB45C738D}"/>
          </ac:grpSpMkLst>
        </pc:grpChg>
        <pc:grpChg chg="add del mod">
          <ac:chgData name="Kateryna Levchuk (UA)" userId="5dbb0cbd-4dc1-41d4-910d-5f884aef466d" providerId="ADAL" clId="{3D0DB7AE-1BA7-45E8-B6C7-4A63B94ABB52}" dt="2024-06-10T13:22:46.351" v="1019" actId="478"/>
          <ac:grpSpMkLst>
            <pc:docMk/>
            <pc:sldMk cId="0" sldId="257"/>
            <ac:grpSpMk id="41" creationId="{640DFA4C-8F61-2EA3-8611-825DE87B6D95}"/>
          </ac:grpSpMkLst>
        </pc:grpChg>
        <pc:grpChg chg="add mod">
          <ac:chgData name="Kateryna Levchuk (UA)" userId="5dbb0cbd-4dc1-41d4-910d-5f884aef466d" providerId="ADAL" clId="{3D0DB7AE-1BA7-45E8-B6C7-4A63B94ABB52}" dt="2024-06-10T11:53:09.334" v="979" actId="571"/>
          <ac:grpSpMkLst>
            <pc:docMk/>
            <pc:sldMk cId="0" sldId="257"/>
            <ac:grpSpMk id="49" creationId="{165BC541-8694-1705-CC25-B78BBAAACA3B}"/>
          </ac:grpSpMkLst>
        </pc:grpChg>
        <pc:grpChg chg="add mod">
          <ac:chgData name="Kateryna Levchuk (UA)" userId="5dbb0cbd-4dc1-41d4-910d-5f884aef466d" providerId="ADAL" clId="{3D0DB7AE-1BA7-45E8-B6C7-4A63B94ABB52}" dt="2024-06-10T13:23:20.051" v="1026"/>
          <ac:grpSpMkLst>
            <pc:docMk/>
            <pc:sldMk cId="0" sldId="257"/>
            <ac:grpSpMk id="2049" creationId="{023AD1A3-AAC5-35A1-8F05-9ABB3C6C1DC1}"/>
          </ac:grpSpMkLst>
        </pc:grpChg>
      </pc:sldChg>
      <pc:sldChg chg="addSp delSp modSp mod">
        <pc:chgData name="Kateryna Levchuk (UA)" userId="5dbb0cbd-4dc1-41d4-910d-5f884aef466d" providerId="ADAL" clId="{3D0DB7AE-1BA7-45E8-B6C7-4A63B94ABB52}" dt="2024-06-10T13:29:15.323" v="1061"/>
        <pc:sldMkLst>
          <pc:docMk/>
          <pc:sldMk cId="0" sldId="317"/>
        </pc:sldMkLst>
        <pc:spChg chg="mod">
          <ac:chgData name="Kateryna Levchuk (UA)" userId="5dbb0cbd-4dc1-41d4-910d-5f884aef466d" providerId="ADAL" clId="{3D0DB7AE-1BA7-45E8-B6C7-4A63B94ABB52}" dt="2024-06-10T13:29:15.323" v="1061"/>
          <ac:spMkLst>
            <pc:docMk/>
            <pc:sldMk cId="0" sldId="317"/>
            <ac:spMk id="11" creationId="{5BE92CAA-EDE6-F4AF-FB23-F31CDB130AC1}"/>
          </ac:spMkLst>
        </pc:spChg>
        <pc:spChg chg="mod">
          <ac:chgData name="Kateryna Levchuk (UA)" userId="5dbb0cbd-4dc1-41d4-910d-5f884aef466d" providerId="ADAL" clId="{3D0DB7AE-1BA7-45E8-B6C7-4A63B94ABB52}" dt="2024-06-10T13:29:15.323" v="1061"/>
          <ac:spMkLst>
            <pc:docMk/>
            <pc:sldMk cId="0" sldId="317"/>
            <ac:spMk id="12" creationId="{6E18F87A-C27C-1BAB-22B5-795B1BF67D21}"/>
          </ac:spMkLst>
        </pc:spChg>
        <pc:spChg chg="mod">
          <ac:chgData name="Kateryna Levchuk (UA)" userId="5dbb0cbd-4dc1-41d4-910d-5f884aef466d" providerId="ADAL" clId="{3D0DB7AE-1BA7-45E8-B6C7-4A63B94ABB52}" dt="2024-06-10T13:29:15.323" v="1061"/>
          <ac:spMkLst>
            <pc:docMk/>
            <pc:sldMk cId="0" sldId="317"/>
            <ac:spMk id="13" creationId="{5FDC8150-2678-8B85-5535-F2F0BBC12734}"/>
          </ac:spMkLst>
        </pc:spChg>
        <pc:spChg chg="mod">
          <ac:chgData name="Kateryna Levchuk (UA)" userId="5dbb0cbd-4dc1-41d4-910d-5f884aef466d" providerId="ADAL" clId="{3D0DB7AE-1BA7-45E8-B6C7-4A63B94ABB52}" dt="2024-06-10T13:29:15.323" v="1061"/>
          <ac:spMkLst>
            <pc:docMk/>
            <pc:sldMk cId="0" sldId="317"/>
            <ac:spMk id="14" creationId="{5DEB0CF5-F797-927D-F3D0-BCEDF9ABC4F6}"/>
          </ac:spMkLst>
        </pc:spChg>
        <pc:spChg chg="mod">
          <ac:chgData name="Kateryna Levchuk (UA)" userId="5dbb0cbd-4dc1-41d4-910d-5f884aef466d" providerId="ADAL" clId="{3D0DB7AE-1BA7-45E8-B6C7-4A63B94ABB52}" dt="2024-06-10T13:29:15.323" v="1061"/>
          <ac:spMkLst>
            <pc:docMk/>
            <pc:sldMk cId="0" sldId="317"/>
            <ac:spMk id="17" creationId="{F0F7AD36-AB38-939A-E476-19D2025287C8}"/>
          </ac:spMkLst>
        </pc:spChg>
        <pc:spChg chg="mod">
          <ac:chgData name="Kateryna Levchuk (UA)" userId="5dbb0cbd-4dc1-41d4-910d-5f884aef466d" providerId="ADAL" clId="{3D0DB7AE-1BA7-45E8-B6C7-4A63B94ABB52}" dt="2024-06-10T13:29:15.323" v="1061"/>
          <ac:spMkLst>
            <pc:docMk/>
            <pc:sldMk cId="0" sldId="317"/>
            <ac:spMk id="18" creationId="{E2E756E9-934F-5477-9628-D3BA3BB58670}"/>
          </ac:spMkLst>
        </pc:spChg>
        <pc:grpChg chg="add mod">
          <ac:chgData name="Kateryna Levchuk (UA)" userId="5dbb0cbd-4dc1-41d4-910d-5f884aef466d" providerId="ADAL" clId="{3D0DB7AE-1BA7-45E8-B6C7-4A63B94ABB52}" dt="2024-06-10T13:29:15.323" v="1061"/>
          <ac:grpSpMkLst>
            <pc:docMk/>
            <pc:sldMk cId="0" sldId="317"/>
            <ac:grpSpMk id="2" creationId="{39FFEA93-42F4-AAB6-CEEE-C09A72CD053F}"/>
          </ac:grpSpMkLst>
        </pc:grpChg>
        <pc:grpChg chg="del">
          <ac:chgData name="Kateryna Levchuk (UA)" userId="5dbb0cbd-4dc1-41d4-910d-5f884aef466d" providerId="ADAL" clId="{3D0DB7AE-1BA7-45E8-B6C7-4A63B94ABB52}" dt="2024-06-10T13:29:02.589" v="1056" actId="478"/>
          <ac:grpSpMkLst>
            <pc:docMk/>
            <pc:sldMk cId="0" sldId="317"/>
            <ac:grpSpMk id="16" creationId="{4D2927F5-FDFD-6294-32A1-D2C0E893BC44}"/>
          </ac:grpSpMkLst>
        </pc:grpChg>
      </pc:sldChg>
      <pc:sldChg chg="addSp delSp modSp mod">
        <pc:chgData name="Kateryna Levchuk (UA)" userId="5dbb0cbd-4dc1-41d4-910d-5f884aef466d" providerId="ADAL" clId="{3D0DB7AE-1BA7-45E8-B6C7-4A63B94ABB52}" dt="2024-06-10T13:29:10.313" v="1058"/>
        <pc:sldMkLst>
          <pc:docMk/>
          <pc:sldMk cId="12612729" sldId="761"/>
        </pc:sldMkLst>
        <pc:spChg chg="mod">
          <ac:chgData name="Kateryna Levchuk (UA)" userId="5dbb0cbd-4dc1-41d4-910d-5f884aef466d" providerId="ADAL" clId="{3D0DB7AE-1BA7-45E8-B6C7-4A63B94ABB52}" dt="2024-06-10T13:29:10.313" v="1058"/>
          <ac:spMkLst>
            <pc:docMk/>
            <pc:sldMk cId="12612729" sldId="761"/>
            <ac:spMk id="12" creationId="{ADB7229B-1656-51E6-D2B7-B1FFAB6974A2}"/>
          </ac:spMkLst>
        </pc:spChg>
        <pc:spChg chg="mod">
          <ac:chgData name="Kateryna Levchuk (UA)" userId="5dbb0cbd-4dc1-41d4-910d-5f884aef466d" providerId="ADAL" clId="{3D0DB7AE-1BA7-45E8-B6C7-4A63B94ABB52}" dt="2024-06-10T13:29:10.313" v="1058"/>
          <ac:spMkLst>
            <pc:docMk/>
            <pc:sldMk cId="12612729" sldId="761"/>
            <ac:spMk id="13" creationId="{2F7016FE-50C9-E682-2D3B-8C8026B0D1F8}"/>
          </ac:spMkLst>
        </pc:spChg>
        <pc:spChg chg="mod">
          <ac:chgData name="Kateryna Levchuk (UA)" userId="5dbb0cbd-4dc1-41d4-910d-5f884aef466d" providerId="ADAL" clId="{3D0DB7AE-1BA7-45E8-B6C7-4A63B94ABB52}" dt="2024-06-10T13:29:10.313" v="1058"/>
          <ac:spMkLst>
            <pc:docMk/>
            <pc:sldMk cId="12612729" sldId="761"/>
            <ac:spMk id="14" creationId="{111AFAB0-E22C-A32F-7412-F3EDF0A7A303}"/>
          </ac:spMkLst>
        </pc:spChg>
        <pc:spChg chg="mod">
          <ac:chgData name="Kateryna Levchuk (UA)" userId="5dbb0cbd-4dc1-41d4-910d-5f884aef466d" providerId="ADAL" clId="{3D0DB7AE-1BA7-45E8-B6C7-4A63B94ABB52}" dt="2024-06-10T13:29:10.313" v="1058"/>
          <ac:spMkLst>
            <pc:docMk/>
            <pc:sldMk cId="12612729" sldId="761"/>
            <ac:spMk id="15" creationId="{8A3A4186-4E44-EA32-8B5B-99756C689102}"/>
          </ac:spMkLst>
        </pc:spChg>
        <pc:spChg chg="mod">
          <ac:chgData name="Kateryna Levchuk (UA)" userId="5dbb0cbd-4dc1-41d4-910d-5f884aef466d" providerId="ADAL" clId="{3D0DB7AE-1BA7-45E8-B6C7-4A63B94ABB52}" dt="2024-06-10T13:29:10.313" v="1058"/>
          <ac:spMkLst>
            <pc:docMk/>
            <pc:sldMk cId="12612729" sldId="761"/>
            <ac:spMk id="16" creationId="{027FE50E-4D68-2842-06A4-469AF0595303}"/>
          </ac:spMkLst>
        </pc:spChg>
        <pc:spChg chg="mod">
          <ac:chgData name="Kateryna Levchuk (UA)" userId="5dbb0cbd-4dc1-41d4-910d-5f884aef466d" providerId="ADAL" clId="{3D0DB7AE-1BA7-45E8-B6C7-4A63B94ABB52}" dt="2024-06-10T13:29:10.313" v="1058"/>
          <ac:spMkLst>
            <pc:docMk/>
            <pc:sldMk cId="12612729" sldId="761"/>
            <ac:spMk id="17" creationId="{BD35D8A8-CA0D-69BF-B2B6-9B0440E09756}"/>
          </ac:spMkLst>
        </pc:spChg>
        <pc:grpChg chg="add mod">
          <ac:chgData name="Kateryna Levchuk (UA)" userId="5dbb0cbd-4dc1-41d4-910d-5f884aef466d" providerId="ADAL" clId="{3D0DB7AE-1BA7-45E8-B6C7-4A63B94ABB52}" dt="2024-06-10T13:29:10.313" v="1058"/>
          <ac:grpSpMkLst>
            <pc:docMk/>
            <pc:sldMk cId="12612729" sldId="761"/>
            <ac:grpSpMk id="3" creationId="{DD56632E-A0F9-BD06-9385-50A438009C26}"/>
          </ac:grpSpMkLst>
        </pc:grpChg>
        <pc:grpChg chg="del">
          <ac:chgData name="Kateryna Levchuk (UA)" userId="5dbb0cbd-4dc1-41d4-910d-5f884aef466d" providerId="ADAL" clId="{3D0DB7AE-1BA7-45E8-B6C7-4A63B94ABB52}" dt="2024-06-10T13:28:52.512" v="1053" actId="478"/>
          <ac:grpSpMkLst>
            <pc:docMk/>
            <pc:sldMk cId="12612729" sldId="761"/>
            <ac:grpSpMk id="20" creationId="{FB3BEC61-025B-6D0D-E17D-745069E934D3}"/>
          </ac:grpSpMkLst>
        </pc:grpChg>
      </pc:sldChg>
      <pc:sldChg chg="addSp delSp modSp mod">
        <pc:chgData name="Kateryna Levchuk (UA)" userId="5dbb0cbd-4dc1-41d4-910d-5f884aef466d" providerId="ADAL" clId="{3D0DB7AE-1BA7-45E8-B6C7-4A63B94ABB52}" dt="2024-06-10T13:28:14.549" v="1051" actId="1076"/>
        <pc:sldMkLst>
          <pc:docMk/>
          <pc:sldMk cId="2326445928" sldId="764"/>
        </pc:sldMkLst>
        <pc:spChg chg="mod topLvl">
          <ac:chgData name="Kateryna Levchuk (UA)" userId="5dbb0cbd-4dc1-41d4-910d-5f884aef466d" providerId="ADAL" clId="{3D0DB7AE-1BA7-45E8-B6C7-4A63B94ABB52}" dt="2024-06-10T13:28:09.696" v="1050" actId="164"/>
          <ac:spMkLst>
            <pc:docMk/>
            <pc:sldMk cId="2326445928" sldId="764"/>
            <ac:spMk id="6" creationId="{8D54C20F-EC00-CC78-EDCD-414EC88CA9B2}"/>
          </ac:spMkLst>
        </pc:spChg>
        <pc:spChg chg="mod topLvl">
          <ac:chgData name="Kateryna Levchuk (UA)" userId="5dbb0cbd-4dc1-41d4-910d-5f884aef466d" providerId="ADAL" clId="{3D0DB7AE-1BA7-45E8-B6C7-4A63B94ABB52}" dt="2024-06-10T13:28:09.696" v="1050" actId="164"/>
          <ac:spMkLst>
            <pc:docMk/>
            <pc:sldMk cId="2326445928" sldId="764"/>
            <ac:spMk id="9" creationId="{779DED18-25AC-020D-E32A-089CA19A6BAC}"/>
          </ac:spMkLst>
        </pc:spChg>
        <pc:spChg chg="mod topLvl">
          <ac:chgData name="Kateryna Levchuk (UA)" userId="5dbb0cbd-4dc1-41d4-910d-5f884aef466d" providerId="ADAL" clId="{3D0DB7AE-1BA7-45E8-B6C7-4A63B94ABB52}" dt="2024-06-10T13:28:09.696" v="1050" actId="164"/>
          <ac:spMkLst>
            <pc:docMk/>
            <pc:sldMk cId="2326445928" sldId="764"/>
            <ac:spMk id="10" creationId="{C19C8E60-E507-0E28-19FF-18C5908B90B7}"/>
          </ac:spMkLst>
        </pc:spChg>
        <pc:spChg chg="mod topLvl">
          <ac:chgData name="Kateryna Levchuk (UA)" userId="5dbb0cbd-4dc1-41d4-910d-5f884aef466d" providerId="ADAL" clId="{3D0DB7AE-1BA7-45E8-B6C7-4A63B94ABB52}" dt="2024-06-10T13:28:09.696" v="1050" actId="164"/>
          <ac:spMkLst>
            <pc:docMk/>
            <pc:sldMk cId="2326445928" sldId="764"/>
            <ac:spMk id="11" creationId="{788C8956-F0DB-3883-9B42-E72F0804F32C}"/>
          </ac:spMkLst>
        </pc:spChg>
        <pc:spChg chg="mod topLvl">
          <ac:chgData name="Kateryna Levchuk (UA)" userId="5dbb0cbd-4dc1-41d4-910d-5f884aef466d" providerId="ADAL" clId="{3D0DB7AE-1BA7-45E8-B6C7-4A63B94ABB52}" dt="2024-06-10T13:28:09.696" v="1050" actId="164"/>
          <ac:spMkLst>
            <pc:docMk/>
            <pc:sldMk cId="2326445928" sldId="764"/>
            <ac:spMk id="12" creationId="{60CD0D91-362F-4F40-56CF-45E6720AA912}"/>
          </ac:spMkLst>
        </pc:spChg>
        <pc:spChg chg="del mod topLvl">
          <ac:chgData name="Kateryna Levchuk (UA)" userId="5dbb0cbd-4dc1-41d4-910d-5f884aef466d" providerId="ADAL" clId="{3D0DB7AE-1BA7-45E8-B6C7-4A63B94ABB52}" dt="2024-06-10T13:28:04.055" v="1049" actId="478"/>
          <ac:spMkLst>
            <pc:docMk/>
            <pc:sldMk cId="2326445928" sldId="764"/>
            <ac:spMk id="13" creationId="{92A783DB-1996-486B-569B-E1099C05844F}"/>
          </ac:spMkLst>
        </pc:spChg>
        <pc:spChg chg="mod topLvl">
          <ac:chgData name="Kateryna Levchuk (UA)" userId="5dbb0cbd-4dc1-41d4-910d-5f884aef466d" providerId="ADAL" clId="{3D0DB7AE-1BA7-45E8-B6C7-4A63B94ABB52}" dt="2024-06-10T13:28:09.696" v="1050" actId="164"/>
          <ac:spMkLst>
            <pc:docMk/>
            <pc:sldMk cId="2326445928" sldId="764"/>
            <ac:spMk id="14" creationId="{A60F58B6-E987-6472-2C0B-34EC0D5F48FA}"/>
          </ac:spMkLst>
        </pc:spChg>
        <pc:grpChg chg="add mod">
          <ac:chgData name="Kateryna Levchuk (UA)" userId="5dbb0cbd-4dc1-41d4-910d-5f884aef466d" providerId="ADAL" clId="{3D0DB7AE-1BA7-45E8-B6C7-4A63B94ABB52}" dt="2024-06-10T13:28:14.549" v="1051" actId="1076"/>
          <ac:grpSpMkLst>
            <pc:docMk/>
            <pc:sldMk cId="2326445928" sldId="764"/>
            <ac:grpSpMk id="3" creationId="{95453953-EF40-791A-A5B2-819782F0B643}"/>
          </ac:grpSpMkLst>
        </pc:grpChg>
        <pc:grpChg chg="del">
          <ac:chgData name="Kateryna Levchuk (UA)" userId="5dbb0cbd-4dc1-41d4-910d-5f884aef466d" providerId="ADAL" clId="{3D0DB7AE-1BA7-45E8-B6C7-4A63B94ABB52}" dt="2024-06-10T13:28:00.718" v="1048" actId="165"/>
          <ac:grpSpMkLst>
            <pc:docMk/>
            <pc:sldMk cId="2326445928" sldId="764"/>
            <ac:grpSpMk id="29" creationId="{4EF30B58-5B05-2B67-0AC2-1ECB4FBF171A}"/>
          </ac:grpSpMkLst>
        </pc:grpChg>
      </pc:sldChg>
      <pc:sldChg chg="addSp delSp modSp mod">
        <pc:chgData name="Kateryna Levchuk (UA)" userId="5dbb0cbd-4dc1-41d4-910d-5f884aef466d" providerId="ADAL" clId="{3D0DB7AE-1BA7-45E8-B6C7-4A63B94ABB52}" dt="2024-06-10T13:23:18.013" v="1025"/>
        <pc:sldMkLst>
          <pc:docMk/>
          <pc:sldMk cId="4204094504" sldId="769"/>
        </pc:sldMkLst>
        <pc:spChg chg="mod">
          <ac:chgData name="Kateryna Levchuk (UA)" userId="5dbb0cbd-4dc1-41d4-910d-5f884aef466d" providerId="ADAL" clId="{3D0DB7AE-1BA7-45E8-B6C7-4A63B94ABB52}" dt="2024-06-10T11:53:40.350" v="984"/>
          <ac:spMkLst>
            <pc:docMk/>
            <pc:sldMk cId="4204094504" sldId="769"/>
            <ac:spMk id="8" creationId="{3FE74089-925D-2C4A-C076-2F6FA98A5778}"/>
          </ac:spMkLst>
        </pc:spChg>
        <pc:spChg chg="mod">
          <ac:chgData name="Kateryna Levchuk (UA)" userId="5dbb0cbd-4dc1-41d4-910d-5f884aef466d" providerId="ADAL" clId="{3D0DB7AE-1BA7-45E8-B6C7-4A63B94ABB52}" dt="2024-06-10T11:53:40.350" v="984"/>
          <ac:spMkLst>
            <pc:docMk/>
            <pc:sldMk cId="4204094504" sldId="769"/>
            <ac:spMk id="13" creationId="{D3393C55-F584-8A71-5433-7A0BC323B8BF}"/>
          </ac:spMkLst>
        </pc:spChg>
        <pc:spChg chg="mod">
          <ac:chgData name="Kateryna Levchuk (UA)" userId="5dbb0cbd-4dc1-41d4-910d-5f884aef466d" providerId="ADAL" clId="{3D0DB7AE-1BA7-45E8-B6C7-4A63B94ABB52}" dt="2024-06-10T11:53:40.350" v="984"/>
          <ac:spMkLst>
            <pc:docMk/>
            <pc:sldMk cId="4204094504" sldId="769"/>
            <ac:spMk id="15" creationId="{B91CE66C-04FE-15A4-61D8-1B3E9BCD0A91}"/>
          </ac:spMkLst>
        </pc:spChg>
        <pc:spChg chg="mod">
          <ac:chgData name="Kateryna Levchuk (UA)" userId="5dbb0cbd-4dc1-41d4-910d-5f884aef466d" providerId="ADAL" clId="{3D0DB7AE-1BA7-45E8-B6C7-4A63B94ABB52}" dt="2024-06-10T11:53:40.350" v="984"/>
          <ac:spMkLst>
            <pc:docMk/>
            <pc:sldMk cId="4204094504" sldId="769"/>
            <ac:spMk id="16" creationId="{6A72370F-41D5-2398-AE3E-FE1D27E5423D}"/>
          </ac:spMkLst>
        </pc:spChg>
        <pc:spChg chg="mod">
          <ac:chgData name="Kateryna Levchuk (UA)" userId="5dbb0cbd-4dc1-41d4-910d-5f884aef466d" providerId="ADAL" clId="{3D0DB7AE-1BA7-45E8-B6C7-4A63B94ABB52}" dt="2024-06-10T11:53:40.350" v="984"/>
          <ac:spMkLst>
            <pc:docMk/>
            <pc:sldMk cId="4204094504" sldId="769"/>
            <ac:spMk id="17" creationId="{4201473D-CD1B-A032-C58A-5C322520E227}"/>
          </ac:spMkLst>
        </pc:spChg>
        <pc:spChg chg="mod">
          <ac:chgData name="Kateryna Levchuk (UA)" userId="5dbb0cbd-4dc1-41d4-910d-5f884aef466d" providerId="ADAL" clId="{3D0DB7AE-1BA7-45E8-B6C7-4A63B94ABB52}" dt="2024-06-10T11:53:40.350" v="984"/>
          <ac:spMkLst>
            <pc:docMk/>
            <pc:sldMk cId="4204094504" sldId="769"/>
            <ac:spMk id="20" creationId="{3C993D87-4B92-9022-D57B-D5485A7D7356}"/>
          </ac:spMkLst>
        </pc:spChg>
        <pc:spChg chg="mod">
          <ac:chgData name="Kateryna Levchuk (UA)" userId="5dbb0cbd-4dc1-41d4-910d-5f884aef466d" providerId="ADAL" clId="{3D0DB7AE-1BA7-45E8-B6C7-4A63B94ABB52}" dt="2024-06-10T11:53:40.350" v="984"/>
          <ac:spMkLst>
            <pc:docMk/>
            <pc:sldMk cId="4204094504" sldId="769"/>
            <ac:spMk id="25" creationId="{9CC9497F-8A9A-F461-1651-356A9C74516F}"/>
          </ac:spMkLst>
        </pc:spChg>
        <pc:spChg chg="mod">
          <ac:chgData name="Kateryna Levchuk (UA)" userId="5dbb0cbd-4dc1-41d4-910d-5f884aef466d" providerId="ADAL" clId="{3D0DB7AE-1BA7-45E8-B6C7-4A63B94ABB52}" dt="2024-06-10T13:23:18.013" v="1025"/>
          <ac:spMkLst>
            <pc:docMk/>
            <pc:sldMk cId="4204094504" sldId="769"/>
            <ac:spMk id="27" creationId="{38FED362-973D-FFD8-7C2E-7CA081FE02F7}"/>
          </ac:spMkLst>
        </pc:spChg>
        <pc:spChg chg="mod">
          <ac:chgData name="Kateryna Levchuk (UA)" userId="5dbb0cbd-4dc1-41d4-910d-5f884aef466d" providerId="ADAL" clId="{3D0DB7AE-1BA7-45E8-B6C7-4A63B94ABB52}" dt="2024-06-10T13:23:18.013" v="1025"/>
          <ac:spMkLst>
            <pc:docMk/>
            <pc:sldMk cId="4204094504" sldId="769"/>
            <ac:spMk id="28" creationId="{DE404215-265C-F869-7DEF-699695E0EC06}"/>
          </ac:spMkLst>
        </pc:spChg>
        <pc:spChg chg="mod">
          <ac:chgData name="Kateryna Levchuk (UA)" userId="5dbb0cbd-4dc1-41d4-910d-5f884aef466d" providerId="ADAL" clId="{3D0DB7AE-1BA7-45E8-B6C7-4A63B94ABB52}" dt="2024-06-10T13:23:18.013" v="1025"/>
          <ac:spMkLst>
            <pc:docMk/>
            <pc:sldMk cId="4204094504" sldId="769"/>
            <ac:spMk id="29" creationId="{96E88C83-7C97-D291-A6D3-A065BA728F18}"/>
          </ac:spMkLst>
        </pc:spChg>
        <pc:spChg chg="mod">
          <ac:chgData name="Kateryna Levchuk (UA)" userId="5dbb0cbd-4dc1-41d4-910d-5f884aef466d" providerId="ADAL" clId="{3D0DB7AE-1BA7-45E8-B6C7-4A63B94ABB52}" dt="2024-06-10T13:23:18.013" v="1025"/>
          <ac:spMkLst>
            <pc:docMk/>
            <pc:sldMk cId="4204094504" sldId="769"/>
            <ac:spMk id="30" creationId="{F346E968-DC1B-CEA0-9F14-8A2CFA278348}"/>
          </ac:spMkLst>
        </pc:spChg>
        <pc:spChg chg="mod">
          <ac:chgData name="Kateryna Levchuk (UA)" userId="5dbb0cbd-4dc1-41d4-910d-5f884aef466d" providerId="ADAL" clId="{3D0DB7AE-1BA7-45E8-B6C7-4A63B94ABB52}" dt="2024-06-10T13:23:18.013" v="1025"/>
          <ac:spMkLst>
            <pc:docMk/>
            <pc:sldMk cId="4204094504" sldId="769"/>
            <ac:spMk id="31" creationId="{F9053317-CE83-46AD-71F3-21B8EF924C58}"/>
          </ac:spMkLst>
        </pc:spChg>
        <pc:spChg chg="mod">
          <ac:chgData name="Kateryna Levchuk (UA)" userId="5dbb0cbd-4dc1-41d4-910d-5f884aef466d" providerId="ADAL" clId="{3D0DB7AE-1BA7-45E8-B6C7-4A63B94ABB52}" dt="2024-06-10T13:23:18.013" v="1025"/>
          <ac:spMkLst>
            <pc:docMk/>
            <pc:sldMk cId="4204094504" sldId="769"/>
            <ac:spMk id="32" creationId="{1785A767-FFCD-89C0-D307-BEC830C28B52}"/>
          </ac:spMkLst>
        </pc:spChg>
        <pc:grpChg chg="add del mod">
          <ac:chgData name="Kateryna Levchuk (UA)" userId="5dbb0cbd-4dc1-41d4-910d-5f884aef466d" providerId="ADAL" clId="{3D0DB7AE-1BA7-45E8-B6C7-4A63B94ABB52}" dt="2024-06-10T13:22:43.450" v="1018" actId="478"/>
          <ac:grpSpMkLst>
            <pc:docMk/>
            <pc:sldMk cId="4204094504" sldId="769"/>
            <ac:grpSpMk id="2" creationId="{7ECEE5D0-083A-523B-A94F-BDFCFF3453AE}"/>
          </ac:grpSpMkLst>
        </pc:grpChg>
        <pc:grpChg chg="del">
          <ac:chgData name="Kateryna Levchuk (UA)" userId="5dbb0cbd-4dc1-41d4-910d-5f884aef466d" providerId="ADAL" clId="{3D0DB7AE-1BA7-45E8-B6C7-4A63B94ABB52}" dt="2024-06-10T11:53:18.322" v="980" actId="478"/>
          <ac:grpSpMkLst>
            <pc:docMk/>
            <pc:sldMk cId="4204094504" sldId="769"/>
            <ac:grpSpMk id="4" creationId="{0B1B7A20-C37A-69B5-6A59-249C7C805D9C}"/>
          </ac:grpSpMkLst>
        </pc:grpChg>
        <pc:grpChg chg="add mod">
          <ac:chgData name="Kateryna Levchuk (UA)" userId="5dbb0cbd-4dc1-41d4-910d-5f884aef466d" providerId="ADAL" clId="{3D0DB7AE-1BA7-45E8-B6C7-4A63B94ABB52}" dt="2024-06-10T13:23:18.013" v="1025"/>
          <ac:grpSpMkLst>
            <pc:docMk/>
            <pc:sldMk cId="4204094504" sldId="769"/>
            <ac:grpSpMk id="26" creationId="{8EB6E735-FE8B-C38E-E5EF-AE6C75ACC517}"/>
          </ac:grpSpMkLst>
        </pc:grpChg>
      </pc:sldChg>
      <pc:sldChg chg="addSp delSp modSp mod">
        <pc:chgData name="Kateryna Levchuk (UA)" userId="5dbb0cbd-4dc1-41d4-910d-5f884aef466d" providerId="ADAL" clId="{3D0DB7AE-1BA7-45E8-B6C7-4A63B94ABB52}" dt="2024-06-10T13:22:26.558" v="1011" actId="1076"/>
        <pc:sldMkLst>
          <pc:docMk/>
          <pc:sldMk cId="301651023" sldId="6887"/>
        </pc:sldMkLst>
        <pc:spChg chg="mod topLvl">
          <ac:chgData name="Kateryna Levchuk (UA)" userId="5dbb0cbd-4dc1-41d4-910d-5f884aef466d" providerId="ADAL" clId="{3D0DB7AE-1BA7-45E8-B6C7-4A63B94ABB52}" dt="2024-06-10T13:22:18.144" v="1010" actId="164"/>
          <ac:spMkLst>
            <pc:docMk/>
            <pc:sldMk cId="301651023" sldId="6887"/>
            <ac:spMk id="4" creationId="{C3FA5395-AA6E-8042-4D17-0DBFB1636A4F}"/>
          </ac:spMkLst>
        </pc:spChg>
        <pc:spChg chg="mod topLvl">
          <ac:chgData name="Kateryna Levchuk (UA)" userId="5dbb0cbd-4dc1-41d4-910d-5f884aef466d" providerId="ADAL" clId="{3D0DB7AE-1BA7-45E8-B6C7-4A63B94ABB52}" dt="2024-06-10T13:22:18.144" v="1010" actId="164"/>
          <ac:spMkLst>
            <pc:docMk/>
            <pc:sldMk cId="301651023" sldId="6887"/>
            <ac:spMk id="5" creationId="{49BBA7CC-F120-D1BA-005D-62D906F64CC6}"/>
          </ac:spMkLst>
        </pc:spChg>
        <pc:spChg chg="mod topLvl">
          <ac:chgData name="Kateryna Levchuk (UA)" userId="5dbb0cbd-4dc1-41d4-910d-5f884aef466d" providerId="ADAL" clId="{3D0DB7AE-1BA7-45E8-B6C7-4A63B94ABB52}" dt="2024-06-10T13:22:18.144" v="1010" actId="164"/>
          <ac:spMkLst>
            <pc:docMk/>
            <pc:sldMk cId="301651023" sldId="6887"/>
            <ac:spMk id="6" creationId="{F236D8FC-0050-EF52-6101-DD4B2B7ED0AC}"/>
          </ac:spMkLst>
        </pc:spChg>
        <pc:spChg chg="mod topLvl">
          <ac:chgData name="Kateryna Levchuk (UA)" userId="5dbb0cbd-4dc1-41d4-910d-5f884aef466d" providerId="ADAL" clId="{3D0DB7AE-1BA7-45E8-B6C7-4A63B94ABB52}" dt="2024-06-10T13:22:18.144" v="1010" actId="164"/>
          <ac:spMkLst>
            <pc:docMk/>
            <pc:sldMk cId="301651023" sldId="6887"/>
            <ac:spMk id="9" creationId="{699051EF-D739-0C93-DC76-3ED61251A1C3}"/>
          </ac:spMkLst>
        </pc:spChg>
        <pc:spChg chg="mod topLvl">
          <ac:chgData name="Kateryna Levchuk (UA)" userId="5dbb0cbd-4dc1-41d4-910d-5f884aef466d" providerId="ADAL" clId="{3D0DB7AE-1BA7-45E8-B6C7-4A63B94ABB52}" dt="2024-06-10T13:22:18.144" v="1010" actId="164"/>
          <ac:spMkLst>
            <pc:docMk/>
            <pc:sldMk cId="301651023" sldId="6887"/>
            <ac:spMk id="18" creationId="{BA1E2226-A22D-0D04-C266-36DFCED1D148}"/>
          </ac:spMkLst>
        </pc:spChg>
        <pc:spChg chg="mod topLvl">
          <ac:chgData name="Kateryna Levchuk (UA)" userId="5dbb0cbd-4dc1-41d4-910d-5f884aef466d" providerId="ADAL" clId="{3D0DB7AE-1BA7-45E8-B6C7-4A63B94ABB52}" dt="2024-06-10T13:22:18.144" v="1010" actId="164"/>
          <ac:spMkLst>
            <pc:docMk/>
            <pc:sldMk cId="301651023" sldId="6887"/>
            <ac:spMk id="19" creationId="{CF715AF5-C469-F0BE-1F5F-CA81B431899F}"/>
          </ac:spMkLst>
        </pc:spChg>
        <pc:spChg chg="del mod topLvl">
          <ac:chgData name="Kateryna Levchuk (UA)" userId="5dbb0cbd-4dc1-41d4-910d-5f884aef466d" providerId="ADAL" clId="{3D0DB7AE-1BA7-45E8-B6C7-4A63B94ABB52}" dt="2024-06-10T13:22:01.744" v="1009" actId="478"/>
          <ac:spMkLst>
            <pc:docMk/>
            <pc:sldMk cId="301651023" sldId="6887"/>
            <ac:spMk id="20" creationId="{B2F9CBA7-05AB-55CD-08D4-68C922A5BAE3}"/>
          </ac:spMkLst>
        </pc:spChg>
        <pc:grpChg chg="add del mod">
          <ac:chgData name="Kateryna Levchuk (UA)" userId="5dbb0cbd-4dc1-41d4-910d-5f884aef466d" providerId="ADAL" clId="{3D0DB7AE-1BA7-45E8-B6C7-4A63B94ABB52}" dt="2024-06-10T13:21:59.696" v="1008" actId="165"/>
          <ac:grpSpMkLst>
            <pc:docMk/>
            <pc:sldMk cId="301651023" sldId="6887"/>
            <ac:grpSpMk id="2" creationId="{D22C9F36-D6B5-61CB-6562-37DF6C04767D}"/>
          </ac:grpSpMkLst>
        </pc:grpChg>
        <pc:grpChg chg="add mod">
          <ac:chgData name="Kateryna Levchuk (UA)" userId="5dbb0cbd-4dc1-41d4-910d-5f884aef466d" providerId="ADAL" clId="{3D0DB7AE-1BA7-45E8-B6C7-4A63B94ABB52}" dt="2024-06-10T13:22:26.558" v="1011" actId="1076"/>
          <ac:grpSpMkLst>
            <pc:docMk/>
            <pc:sldMk cId="301651023" sldId="6887"/>
            <ac:grpSpMk id="21" creationId="{48E6EDED-8E66-2FFC-11D6-96BE03DF74A5}"/>
          </ac:grpSpMkLst>
        </pc:grpChg>
      </pc:sldChg>
      <pc:sldChg chg="addSp delSp modSp mod">
        <pc:chgData name="Kateryna Levchuk (UA)" userId="5dbb0cbd-4dc1-41d4-910d-5f884aef466d" providerId="ADAL" clId="{3D0DB7AE-1BA7-45E8-B6C7-4A63B94ABB52}" dt="2024-06-10T13:29:08.694" v="1057"/>
        <pc:sldMkLst>
          <pc:docMk/>
          <pc:sldMk cId="2731229360" sldId="2147481895"/>
        </pc:sldMkLst>
        <pc:spChg chg="mod">
          <ac:chgData name="Kateryna Levchuk (UA)" userId="5dbb0cbd-4dc1-41d4-910d-5f884aef466d" providerId="ADAL" clId="{3D0DB7AE-1BA7-45E8-B6C7-4A63B94ABB52}" dt="2024-06-10T13:29:08.694" v="1057"/>
          <ac:spMkLst>
            <pc:docMk/>
            <pc:sldMk cId="2731229360" sldId="2147481895"/>
            <ac:spMk id="16" creationId="{F40A9518-C7EF-1A84-53D9-EAAA4E0399BC}"/>
          </ac:spMkLst>
        </pc:spChg>
        <pc:spChg chg="mod">
          <ac:chgData name="Kateryna Levchuk (UA)" userId="5dbb0cbd-4dc1-41d4-910d-5f884aef466d" providerId="ADAL" clId="{3D0DB7AE-1BA7-45E8-B6C7-4A63B94ABB52}" dt="2024-06-10T13:29:08.694" v="1057"/>
          <ac:spMkLst>
            <pc:docMk/>
            <pc:sldMk cId="2731229360" sldId="2147481895"/>
            <ac:spMk id="17" creationId="{B3B1AC95-B60E-2327-D7B9-C2B32A8AA6F1}"/>
          </ac:spMkLst>
        </pc:spChg>
        <pc:spChg chg="mod">
          <ac:chgData name="Kateryna Levchuk (UA)" userId="5dbb0cbd-4dc1-41d4-910d-5f884aef466d" providerId="ADAL" clId="{3D0DB7AE-1BA7-45E8-B6C7-4A63B94ABB52}" dt="2024-06-10T13:29:08.694" v="1057"/>
          <ac:spMkLst>
            <pc:docMk/>
            <pc:sldMk cId="2731229360" sldId="2147481895"/>
            <ac:spMk id="18" creationId="{C59B6F2D-C552-1079-367D-4E043522908B}"/>
          </ac:spMkLst>
        </pc:spChg>
        <pc:spChg chg="mod">
          <ac:chgData name="Kateryna Levchuk (UA)" userId="5dbb0cbd-4dc1-41d4-910d-5f884aef466d" providerId="ADAL" clId="{3D0DB7AE-1BA7-45E8-B6C7-4A63B94ABB52}" dt="2024-06-10T13:29:08.694" v="1057"/>
          <ac:spMkLst>
            <pc:docMk/>
            <pc:sldMk cId="2731229360" sldId="2147481895"/>
            <ac:spMk id="19" creationId="{229164C9-D79A-4A2D-82BC-B1EE50451DA2}"/>
          </ac:spMkLst>
        </pc:spChg>
        <pc:spChg chg="mod">
          <ac:chgData name="Kateryna Levchuk (UA)" userId="5dbb0cbd-4dc1-41d4-910d-5f884aef466d" providerId="ADAL" clId="{3D0DB7AE-1BA7-45E8-B6C7-4A63B94ABB52}" dt="2024-06-10T13:29:08.694" v="1057"/>
          <ac:spMkLst>
            <pc:docMk/>
            <pc:sldMk cId="2731229360" sldId="2147481895"/>
            <ac:spMk id="20" creationId="{E87FA912-A978-EF9D-D76B-2DFB9C9FD001}"/>
          </ac:spMkLst>
        </pc:spChg>
        <pc:spChg chg="mod">
          <ac:chgData name="Kateryna Levchuk (UA)" userId="5dbb0cbd-4dc1-41d4-910d-5f884aef466d" providerId="ADAL" clId="{3D0DB7AE-1BA7-45E8-B6C7-4A63B94ABB52}" dt="2024-06-10T13:29:08.694" v="1057"/>
          <ac:spMkLst>
            <pc:docMk/>
            <pc:sldMk cId="2731229360" sldId="2147481895"/>
            <ac:spMk id="21" creationId="{966F6934-F802-7588-2F3C-CD8BDB43AD94}"/>
          </ac:spMkLst>
        </pc:spChg>
        <pc:grpChg chg="add mod">
          <ac:chgData name="Kateryna Levchuk (UA)" userId="5dbb0cbd-4dc1-41d4-910d-5f884aef466d" providerId="ADAL" clId="{3D0DB7AE-1BA7-45E8-B6C7-4A63B94ABB52}" dt="2024-06-10T13:29:08.694" v="1057"/>
          <ac:grpSpMkLst>
            <pc:docMk/>
            <pc:sldMk cId="2731229360" sldId="2147481895"/>
            <ac:grpSpMk id="4" creationId="{F9B473E4-9604-F305-FE62-A37A1E7638B6}"/>
          </ac:grpSpMkLst>
        </pc:grpChg>
        <pc:grpChg chg="del">
          <ac:chgData name="Kateryna Levchuk (UA)" userId="5dbb0cbd-4dc1-41d4-910d-5f884aef466d" providerId="ADAL" clId="{3D0DB7AE-1BA7-45E8-B6C7-4A63B94ABB52}" dt="2024-06-10T13:28:50.559" v="1052" actId="478"/>
          <ac:grpSpMkLst>
            <pc:docMk/>
            <pc:sldMk cId="2731229360" sldId="2147481895"/>
            <ac:grpSpMk id="28" creationId="{B2BD5B18-D144-5FFC-3A18-87947608F67B}"/>
          </ac:grpSpMkLst>
        </pc:grpChg>
      </pc:sldChg>
      <pc:sldChg chg="addSp delSp modSp mod">
        <pc:chgData name="Kateryna Levchuk (UA)" userId="5dbb0cbd-4dc1-41d4-910d-5f884aef466d" providerId="ADAL" clId="{3D0DB7AE-1BA7-45E8-B6C7-4A63B94ABB52}" dt="2024-06-10T13:29:13.773" v="1060"/>
        <pc:sldMkLst>
          <pc:docMk/>
          <pc:sldMk cId="3817097256" sldId="2147481898"/>
        </pc:sldMkLst>
        <pc:spChg chg="mod">
          <ac:chgData name="Kateryna Levchuk (UA)" userId="5dbb0cbd-4dc1-41d4-910d-5f884aef466d" providerId="ADAL" clId="{3D0DB7AE-1BA7-45E8-B6C7-4A63B94ABB52}" dt="2024-06-10T13:29:13.773" v="1060"/>
          <ac:spMkLst>
            <pc:docMk/>
            <pc:sldMk cId="3817097256" sldId="2147481898"/>
            <ac:spMk id="25" creationId="{FB4A4804-9B88-0479-4DF9-1616BF1E97D0}"/>
          </ac:spMkLst>
        </pc:spChg>
        <pc:spChg chg="mod">
          <ac:chgData name="Kateryna Levchuk (UA)" userId="5dbb0cbd-4dc1-41d4-910d-5f884aef466d" providerId="ADAL" clId="{3D0DB7AE-1BA7-45E8-B6C7-4A63B94ABB52}" dt="2024-06-10T13:29:13.773" v="1060"/>
          <ac:spMkLst>
            <pc:docMk/>
            <pc:sldMk cId="3817097256" sldId="2147481898"/>
            <ac:spMk id="33" creationId="{49838E34-4B5B-F8B8-32D3-545C2EC00534}"/>
          </ac:spMkLst>
        </pc:spChg>
        <pc:spChg chg="mod">
          <ac:chgData name="Kateryna Levchuk (UA)" userId="5dbb0cbd-4dc1-41d4-910d-5f884aef466d" providerId="ADAL" clId="{3D0DB7AE-1BA7-45E8-B6C7-4A63B94ABB52}" dt="2024-06-10T13:29:13.773" v="1060"/>
          <ac:spMkLst>
            <pc:docMk/>
            <pc:sldMk cId="3817097256" sldId="2147481898"/>
            <ac:spMk id="34" creationId="{77203906-2C9E-E8F2-82D8-5FC8105A54B3}"/>
          </ac:spMkLst>
        </pc:spChg>
        <pc:spChg chg="mod">
          <ac:chgData name="Kateryna Levchuk (UA)" userId="5dbb0cbd-4dc1-41d4-910d-5f884aef466d" providerId="ADAL" clId="{3D0DB7AE-1BA7-45E8-B6C7-4A63B94ABB52}" dt="2024-06-10T13:29:13.773" v="1060"/>
          <ac:spMkLst>
            <pc:docMk/>
            <pc:sldMk cId="3817097256" sldId="2147481898"/>
            <ac:spMk id="35" creationId="{F3E1CAC2-0F83-6275-48B7-090FC2735489}"/>
          </ac:spMkLst>
        </pc:spChg>
        <pc:spChg chg="mod">
          <ac:chgData name="Kateryna Levchuk (UA)" userId="5dbb0cbd-4dc1-41d4-910d-5f884aef466d" providerId="ADAL" clId="{3D0DB7AE-1BA7-45E8-B6C7-4A63B94ABB52}" dt="2024-06-10T13:29:13.773" v="1060"/>
          <ac:spMkLst>
            <pc:docMk/>
            <pc:sldMk cId="3817097256" sldId="2147481898"/>
            <ac:spMk id="36" creationId="{E77FC776-0F52-C932-0C68-ACFCD1689EE3}"/>
          </ac:spMkLst>
        </pc:spChg>
        <pc:spChg chg="mod">
          <ac:chgData name="Kateryna Levchuk (UA)" userId="5dbb0cbd-4dc1-41d4-910d-5f884aef466d" providerId="ADAL" clId="{3D0DB7AE-1BA7-45E8-B6C7-4A63B94ABB52}" dt="2024-06-10T13:29:13.773" v="1060"/>
          <ac:spMkLst>
            <pc:docMk/>
            <pc:sldMk cId="3817097256" sldId="2147481898"/>
            <ac:spMk id="37" creationId="{C719C210-0AA4-2FD2-B79F-090D97A80562}"/>
          </ac:spMkLst>
        </pc:spChg>
        <pc:grpChg chg="add mod">
          <ac:chgData name="Kateryna Levchuk (UA)" userId="5dbb0cbd-4dc1-41d4-910d-5f884aef466d" providerId="ADAL" clId="{3D0DB7AE-1BA7-45E8-B6C7-4A63B94ABB52}" dt="2024-06-10T13:29:13.773" v="1060"/>
          <ac:grpSpMkLst>
            <pc:docMk/>
            <pc:sldMk cId="3817097256" sldId="2147481898"/>
            <ac:grpSpMk id="6" creationId="{B534E434-CB1C-7C6D-A614-6975C26EB5C5}"/>
          </ac:grpSpMkLst>
        </pc:grpChg>
        <pc:grpChg chg="del">
          <ac:chgData name="Kateryna Levchuk (UA)" userId="5dbb0cbd-4dc1-41d4-910d-5f884aef466d" providerId="ADAL" clId="{3D0DB7AE-1BA7-45E8-B6C7-4A63B94ABB52}" dt="2024-06-10T13:29:00.017" v="1055" actId="478"/>
          <ac:grpSpMkLst>
            <pc:docMk/>
            <pc:sldMk cId="3817097256" sldId="2147481898"/>
            <ac:grpSpMk id="40" creationId="{50EC229A-DFC3-CED2-E0F9-218064EDB3F4}"/>
          </ac:grpSpMkLst>
        </pc:grpChg>
      </pc:sldChg>
      <pc:sldChg chg="addSp delSp modSp mod">
        <pc:chgData name="Kateryna Levchuk (UA)" userId="5dbb0cbd-4dc1-41d4-910d-5f884aef466d" providerId="ADAL" clId="{3D0DB7AE-1BA7-45E8-B6C7-4A63B94ABB52}" dt="2024-06-10T13:29:56.600" v="1071"/>
        <pc:sldMkLst>
          <pc:docMk/>
          <pc:sldMk cId="365397333" sldId="2147481900"/>
        </pc:sldMkLst>
        <pc:spChg chg="mod">
          <ac:chgData name="Kateryna Levchuk (UA)" userId="5dbb0cbd-4dc1-41d4-910d-5f884aef466d" providerId="ADAL" clId="{3D0DB7AE-1BA7-45E8-B6C7-4A63B94ABB52}" dt="2024-06-10T13:29:56.600" v="1071"/>
          <ac:spMkLst>
            <pc:docMk/>
            <pc:sldMk cId="365397333" sldId="2147481900"/>
            <ac:spMk id="7" creationId="{5D451561-8CEB-8D36-A0AE-D78D954597E0}"/>
          </ac:spMkLst>
        </pc:spChg>
        <pc:spChg chg="mod">
          <ac:chgData name="Kateryna Levchuk (UA)" userId="5dbb0cbd-4dc1-41d4-910d-5f884aef466d" providerId="ADAL" clId="{3D0DB7AE-1BA7-45E8-B6C7-4A63B94ABB52}" dt="2024-06-10T13:29:56.600" v="1071"/>
          <ac:spMkLst>
            <pc:docMk/>
            <pc:sldMk cId="365397333" sldId="2147481900"/>
            <ac:spMk id="8" creationId="{B85A1D09-0367-64BC-7801-9B9431631A78}"/>
          </ac:spMkLst>
        </pc:spChg>
        <pc:spChg chg="mod">
          <ac:chgData name="Kateryna Levchuk (UA)" userId="5dbb0cbd-4dc1-41d4-910d-5f884aef466d" providerId="ADAL" clId="{3D0DB7AE-1BA7-45E8-B6C7-4A63B94ABB52}" dt="2024-06-10T13:29:56.600" v="1071"/>
          <ac:spMkLst>
            <pc:docMk/>
            <pc:sldMk cId="365397333" sldId="2147481900"/>
            <ac:spMk id="9" creationId="{68FCCA4E-5399-0011-B276-61D5ADFBFE2C}"/>
          </ac:spMkLst>
        </pc:spChg>
        <pc:spChg chg="mod">
          <ac:chgData name="Kateryna Levchuk (UA)" userId="5dbb0cbd-4dc1-41d4-910d-5f884aef466d" providerId="ADAL" clId="{3D0DB7AE-1BA7-45E8-B6C7-4A63B94ABB52}" dt="2024-06-10T13:29:56.600" v="1071"/>
          <ac:spMkLst>
            <pc:docMk/>
            <pc:sldMk cId="365397333" sldId="2147481900"/>
            <ac:spMk id="22" creationId="{647D0E22-C64E-781D-284F-D65BAFC4FE62}"/>
          </ac:spMkLst>
        </pc:spChg>
        <pc:spChg chg="mod">
          <ac:chgData name="Kateryna Levchuk (UA)" userId="5dbb0cbd-4dc1-41d4-910d-5f884aef466d" providerId="ADAL" clId="{3D0DB7AE-1BA7-45E8-B6C7-4A63B94ABB52}" dt="2024-06-10T13:29:56.600" v="1071"/>
          <ac:spMkLst>
            <pc:docMk/>
            <pc:sldMk cId="365397333" sldId="2147481900"/>
            <ac:spMk id="27" creationId="{CB35E1F8-FD06-AECA-B963-42DD6AEAC164}"/>
          </ac:spMkLst>
        </pc:spChg>
        <pc:spChg chg="mod">
          <ac:chgData name="Kateryna Levchuk (UA)" userId="5dbb0cbd-4dc1-41d4-910d-5f884aef466d" providerId="ADAL" clId="{3D0DB7AE-1BA7-45E8-B6C7-4A63B94ABB52}" dt="2024-06-10T13:29:56.600" v="1071"/>
          <ac:spMkLst>
            <pc:docMk/>
            <pc:sldMk cId="365397333" sldId="2147481900"/>
            <ac:spMk id="28" creationId="{3E861C96-F477-B536-9C08-003FEBC3B374}"/>
          </ac:spMkLst>
        </pc:spChg>
        <pc:grpChg chg="del">
          <ac:chgData name="Kateryna Levchuk (UA)" userId="5dbb0cbd-4dc1-41d4-910d-5f884aef466d" providerId="ADAL" clId="{3D0DB7AE-1BA7-45E8-B6C7-4A63B94ABB52}" dt="2024-06-10T13:29:48.937" v="1068" actId="478"/>
          <ac:grpSpMkLst>
            <pc:docMk/>
            <pc:sldMk cId="365397333" sldId="2147481900"/>
            <ac:grpSpMk id="5" creationId="{91E19DE0-2387-AE20-A1AD-7EFB7D6B93EA}"/>
          </ac:grpSpMkLst>
        </pc:grpChg>
        <pc:grpChg chg="add mod">
          <ac:chgData name="Kateryna Levchuk (UA)" userId="5dbb0cbd-4dc1-41d4-910d-5f884aef466d" providerId="ADAL" clId="{3D0DB7AE-1BA7-45E8-B6C7-4A63B94ABB52}" dt="2024-06-10T13:29:56.600" v="1071"/>
          <ac:grpSpMkLst>
            <pc:docMk/>
            <pc:sldMk cId="365397333" sldId="2147481900"/>
            <ac:grpSpMk id="6" creationId="{2EB936C7-DBDF-E055-71C8-DEF660CB3AA8}"/>
          </ac:grpSpMkLst>
        </pc:grpChg>
      </pc:sldChg>
      <pc:sldChg chg="addSp delSp modSp mod">
        <pc:chgData name="Kateryna Levchuk (UA)" userId="5dbb0cbd-4dc1-41d4-910d-5f884aef466d" providerId="ADAL" clId="{3D0DB7AE-1BA7-45E8-B6C7-4A63B94ABB52}" dt="2024-06-10T13:29:53.694" v="1069"/>
        <pc:sldMkLst>
          <pc:docMk/>
          <pc:sldMk cId="2785126703" sldId="2147481904"/>
        </pc:sldMkLst>
        <pc:spChg chg="mod">
          <ac:chgData name="Kateryna Levchuk (UA)" userId="5dbb0cbd-4dc1-41d4-910d-5f884aef466d" providerId="ADAL" clId="{3D0DB7AE-1BA7-45E8-B6C7-4A63B94ABB52}" dt="2024-06-10T13:29:53.694" v="1069"/>
          <ac:spMkLst>
            <pc:docMk/>
            <pc:sldMk cId="2785126703" sldId="2147481904"/>
            <ac:spMk id="32" creationId="{9E96C773-6FEC-19AF-C0E6-E1419D627837}"/>
          </ac:spMkLst>
        </pc:spChg>
        <pc:spChg chg="mod">
          <ac:chgData name="Kateryna Levchuk (UA)" userId="5dbb0cbd-4dc1-41d4-910d-5f884aef466d" providerId="ADAL" clId="{3D0DB7AE-1BA7-45E8-B6C7-4A63B94ABB52}" dt="2024-06-10T13:29:53.694" v="1069"/>
          <ac:spMkLst>
            <pc:docMk/>
            <pc:sldMk cId="2785126703" sldId="2147481904"/>
            <ac:spMk id="33" creationId="{6BDAF9B6-0B83-3E41-7B86-9FBCD64F952E}"/>
          </ac:spMkLst>
        </pc:spChg>
        <pc:spChg chg="mod">
          <ac:chgData name="Kateryna Levchuk (UA)" userId="5dbb0cbd-4dc1-41d4-910d-5f884aef466d" providerId="ADAL" clId="{3D0DB7AE-1BA7-45E8-B6C7-4A63B94ABB52}" dt="2024-06-10T13:29:53.694" v="1069"/>
          <ac:spMkLst>
            <pc:docMk/>
            <pc:sldMk cId="2785126703" sldId="2147481904"/>
            <ac:spMk id="34" creationId="{423B42DC-A249-0399-EB10-42BF838B677D}"/>
          </ac:spMkLst>
        </pc:spChg>
        <pc:spChg chg="mod">
          <ac:chgData name="Kateryna Levchuk (UA)" userId="5dbb0cbd-4dc1-41d4-910d-5f884aef466d" providerId="ADAL" clId="{3D0DB7AE-1BA7-45E8-B6C7-4A63B94ABB52}" dt="2024-06-10T13:29:53.694" v="1069"/>
          <ac:spMkLst>
            <pc:docMk/>
            <pc:sldMk cId="2785126703" sldId="2147481904"/>
            <ac:spMk id="35" creationId="{0B779906-5303-9C85-0F9B-3CE175042FA1}"/>
          </ac:spMkLst>
        </pc:spChg>
        <pc:spChg chg="mod">
          <ac:chgData name="Kateryna Levchuk (UA)" userId="5dbb0cbd-4dc1-41d4-910d-5f884aef466d" providerId="ADAL" clId="{3D0DB7AE-1BA7-45E8-B6C7-4A63B94ABB52}" dt="2024-06-10T13:29:53.694" v="1069"/>
          <ac:spMkLst>
            <pc:docMk/>
            <pc:sldMk cId="2785126703" sldId="2147481904"/>
            <ac:spMk id="36" creationId="{7A58E512-FDC8-9525-D1B5-DA23EF17D48E}"/>
          </ac:spMkLst>
        </pc:spChg>
        <pc:spChg chg="mod">
          <ac:chgData name="Kateryna Levchuk (UA)" userId="5dbb0cbd-4dc1-41d4-910d-5f884aef466d" providerId="ADAL" clId="{3D0DB7AE-1BA7-45E8-B6C7-4A63B94ABB52}" dt="2024-06-10T13:29:53.694" v="1069"/>
          <ac:spMkLst>
            <pc:docMk/>
            <pc:sldMk cId="2785126703" sldId="2147481904"/>
            <ac:spMk id="37" creationId="{0D46D010-9B03-B607-38A8-30104CC06BD3}"/>
          </ac:spMkLst>
        </pc:spChg>
        <pc:grpChg chg="del">
          <ac:chgData name="Kateryna Levchuk (UA)" userId="5dbb0cbd-4dc1-41d4-910d-5f884aef466d" providerId="ADAL" clId="{3D0DB7AE-1BA7-45E8-B6C7-4A63B94ABB52}" dt="2024-06-10T13:29:44.267" v="1066" actId="478"/>
          <ac:grpSpMkLst>
            <pc:docMk/>
            <pc:sldMk cId="2785126703" sldId="2147481904"/>
            <ac:grpSpMk id="7" creationId="{8E5DDB61-3D3D-28DB-CF8C-F76D813D18E3}"/>
          </ac:grpSpMkLst>
        </pc:grpChg>
        <pc:grpChg chg="add mod">
          <ac:chgData name="Kateryna Levchuk (UA)" userId="5dbb0cbd-4dc1-41d4-910d-5f884aef466d" providerId="ADAL" clId="{3D0DB7AE-1BA7-45E8-B6C7-4A63B94ABB52}" dt="2024-06-10T13:29:53.694" v="1069"/>
          <ac:grpSpMkLst>
            <pc:docMk/>
            <pc:sldMk cId="2785126703" sldId="2147481904"/>
            <ac:grpSpMk id="31" creationId="{6024F4C3-61C2-AF47-F821-4853E8B8D58F}"/>
          </ac:grpSpMkLst>
        </pc:grpChg>
      </pc:sldChg>
      <pc:sldChg chg="addSp delSp modSp mod">
        <pc:chgData name="Kateryna Levchuk (UA)" userId="5dbb0cbd-4dc1-41d4-910d-5f884aef466d" providerId="ADAL" clId="{3D0DB7AE-1BA7-45E8-B6C7-4A63B94ABB52}" dt="2024-06-10T13:29:39.776" v="1065" actId="1076"/>
        <pc:sldMkLst>
          <pc:docMk/>
          <pc:sldMk cId="4233423074" sldId="2147481905"/>
        </pc:sldMkLst>
        <pc:spChg chg="mod topLvl">
          <ac:chgData name="Kateryna Levchuk (UA)" userId="5dbb0cbd-4dc1-41d4-910d-5f884aef466d" providerId="ADAL" clId="{3D0DB7AE-1BA7-45E8-B6C7-4A63B94ABB52}" dt="2024-06-10T13:29:36.626" v="1064" actId="164"/>
          <ac:spMkLst>
            <pc:docMk/>
            <pc:sldMk cId="4233423074" sldId="2147481905"/>
            <ac:spMk id="7" creationId="{F60C031E-0CA5-19CE-02E2-D78168C0C432}"/>
          </ac:spMkLst>
        </pc:spChg>
        <pc:spChg chg="mod topLvl">
          <ac:chgData name="Kateryna Levchuk (UA)" userId="5dbb0cbd-4dc1-41d4-910d-5f884aef466d" providerId="ADAL" clId="{3D0DB7AE-1BA7-45E8-B6C7-4A63B94ABB52}" dt="2024-06-10T13:29:36.626" v="1064" actId="164"/>
          <ac:spMkLst>
            <pc:docMk/>
            <pc:sldMk cId="4233423074" sldId="2147481905"/>
            <ac:spMk id="9" creationId="{73F1981D-C806-70CF-1837-6A46FF385161}"/>
          </ac:spMkLst>
        </pc:spChg>
        <pc:spChg chg="mod topLvl">
          <ac:chgData name="Kateryna Levchuk (UA)" userId="5dbb0cbd-4dc1-41d4-910d-5f884aef466d" providerId="ADAL" clId="{3D0DB7AE-1BA7-45E8-B6C7-4A63B94ABB52}" dt="2024-06-10T13:29:36.626" v="1064" actId="164"/>
          <ac:spMkLst>
            <pc:docMk/>
            <pc:sldMk cId="4233423074" sldId="2147481905"/>
            <ac:spMk id="10" creationId="{F31086A3-BA99-B2BD-D303-5F15E4A1FA7E}"/>
          </ac:spMkLst>
        </pc:spChg>
        <pc:spChg chg="mod topLvl">
          <ac:chgData name="Kateryna Levchuk (UA)" userId="5dbb0cbd-4dc1-41d4-910d-5f884aef466d" providerId="ADAL" clId="{3D0DB7AE-1BA7-45E8-B6C7-4A63B94ABB52}" dt="2024-06-10T13:29:36.626" v="1064" actId="164"/>
          <ac:spMkLst>
            <pc:docMk/>
            <pc:sldMk cId="4233423074" sldId="2147481905"/>
            <ac:spMk id="16" creationId="{BCFEAAEB-70A1-2A5C-1AAF-7741BA072FBF}"/>
          </ac:spMkLst>
        </pc:spChg>
        <pc:spChg chg="mod topLvl">
          <ac:chgData name="Kateryna Levchuk (UA)" userId="5dbb0cbd-4dc1-41d4-910d-5f884aef466d" providerId="ADAL" clId="{3D0DB7AE-1BA7-45E8-B6C7-4A63B94ABB52}" dt="2024-06-10T13:29:36.626" v="1064" actId="164"/>
          <ac:spMkLst>
            <pc:docMk/>
            <pc:sldMk cId="4233423074" sldId="2147481905"/>
            <ac:spMk id="22" creationId="{DBF61592-5C12-633B-76FD-E1B8A80C2707}"/>
          </ac:spMkLst>
        </pc:spChg>
        <pc:spChg chg="mod topLvl">
          <ac:chgData name="Kateryna Levchuk (UA)" userId="5dbb0cbd-4dc1-41d4-910d-5f884aef466d" providerId="ADAL" clId="{3D0DB7AE-1BA7-45E8-B6C7-4A63B94ABB52}" dt="2024-06-10T13:29:36.626" v="1064" actId="164"/>
          <ac:spMkLst>
            <pc:docMk/>
            <pc:sldMk cId="4233423074" sldId="2147481905"/>
            <ac:spMk id="29" creationId="{A3749CF4-265C-2736-C610-7B5D7F96F034}"/>
          </ac:spMkLst>
        </pc:spChg>
        <pc:spChg chg="del mod topLvl">
          <ac:chgData name="Kateryna Levchuk (UA)" userId="5dbb0cbd-4dc1-41d4-910d-5f884aef466d" providerId="ADAL" clId="{3D0DB7AE-1BA7-45E8-B6C7-4A63B94ABB52}" dt="2024-06-10T13:29:30.144" v="1063" actId="478"/>
          <ac:spMkLst>
            <pc:docMk/>
            <pc:sldMk cId="4233423074" sldId="2147481905"/>
            <ac:spMk id="30" creationId="{72C727B7-2778-6335-FF0B-24BD8596D0EE}"/>
          </ac:spMkLst>
        </pc:spChg>
        <pc:grpChg chg="del">
          <ac:chgData name="Kateryna Levchuk (UA)" userId="5dbb0cbd-4dc1-41d4-910d-5f884aef466d" providerId="ADAL" clId="{3D0DB7AE-1BA7-45E8-B6C7-4A63B94ABB52}" dt="2024-06-10T13:29:26.777" v="1062" actId="165"/>
          <ac:grpSpMkLst>
            <pc:docMk/>
            <pc:sldMk cId="4233423074" sldId="2147481905"/>
            <ac:grpSpMk id="6" creationId="{19779CEC-DA6C-1745-0562-31AE99ED8737}"/>
          </ac:grpSpMkLst>
        </pc:grpChg>
        <pc:grpChg chg="add mod">
          <ac:chgData name="Kateryna Levchuk (UA)" userId="5dbb0cbd-4dc1-41d4-910d-5f884aef466d" providerId="ADAL" clId="{3D0DB7AE-1BA7-45E8-B6C7-4A63B94ABB52}" dt="2024-06-10T13:29:39.776" v="1065" actId="1076"/>
          <ac:grpSpMkLst>
            <pc:docMk/>
            <pc:sldMk cId="4233423074" sldId="2147481905"/>
            <ac:grpSpMk id="31" creationId="{7811B578-D81A-6045-8E23-860DCEC7B570}"/>
          </ac:grpSpMkLst>
        </pc:grpChg>
      </pc:sldChg>
      <pc:sldChg chg="addSp delSp modSp mod">
        <pc:chgData name="Kateryna Levchuk (UA)" userId="5dbb0cbd-4dc1-41d4-910d-5f884aef466d" providerId="ADAL" clId="{3D0DB7AE-1BA7-45E8-B6C7-4A63B94ABB52}" dt="2024-06-10T13:29:12.189" v="1059"/>
        <pc:sldMkLst>
          <pc:docMk/>
          <pc:sldMk cId="3128847407" sldId="2147481907"/>
        </pc:sldMkLst>
        <pc:spChg chg="mod">
          <ac:chgData name="Kateryna Levchuk (UA)" userId="5dbb0cbd-4dc1-41d4-910d-5f884aef466d" providerId="ADAL" clId="{3D0DB7AE-1BA7-45E8-B6C7-4A63B94ABB52}" dt="2024-06-10T13:29:12.189" v="1059"/>
          <ac:spMkLst>
            <pc:docMk/>
            <pc:sldMk cId="3128847407" sldId="2147481907"/>
            <ac:spMk id="6" creationId="{7A28CDDA-E3FE-D587-6157-67C6532B1B78}"/>
          </ac:spMkLst>
        </pc:spChg>
        <pc:spChg chg="mod">
          <ac:chgData name="Kateryna Levchuk (UA)" userId="5dbb0cbd-4dc1-41d4-910d-5f884aef466d" providerId="ADAL" clId="{3D0DB7AE-1BA7-45E8-B6C7-4A63B94ABB52}" dt="2024-06-10T13:29:12.189" v="1059"/>
          <ac:spMkLst>
            <pc:docMk/>
            <pc:sldMk cId="3128847407" sldId="2147481907"/>
            <ac:spMk id="7" creationId="{CE3CFA3C-9E2D-272A-F0B5-80B1CE3BDE6E}"/>
          </ac:spMkLst>
        </pc:spChg>
        <pc:spChg chg="mod">
          <ac:chgData name="Kateryna Levchuk (UA)" userId="5dbb0cbd-4dc1-41d4-910d-5f884aef466d" providerId="ADAL" clId="{3D0DB7AE-1BA7-45E8-B6C7-4A63B94ABB52}" dt="2024-06-10T13:29:12.189" v="1059"/>
          <ac:spMkLst>
            <pc:docMk/>
            <pc:sldMk cId="3128847407" sldId="2147481907"/>
            <ac:spMk id="8" creationId="{F5AC6665-DADA-D2AC-894D-F929D4AE1580}"/>
          </ac:spMkLst>
        </pc:spChg>
        <pc:spChg chg="mod">
          <ac:chgData name="Kateryna Levchuk (UA)" userId="5dbb0cbd-4dc1-41d4-910d-5f884aef466d" providerId="ADAL" clId="{3D0DB7AE-1BA7-45E8-B6C7-4A63B94ABB52}" dt="2024-06-10T13:29:12.189" v="1059"/>
          <ac:spMkLst>
            <pc:docMk/>
            <pc:sldMk cId="3128847407" sldId="2147481907"/>
            <ac:spMk id="9" creationId="{A4C8CF8A-B227-E183-9262-A2A5F9CE6F2F}"/>
          </ac:spMkLst>
        </pc:spChg>
        <pc:spChg chg="mod">
          <ac:chgData name="Kateryna Levchuk (UA)" userId="5dbb0cbd-4dc1-41d4-910d-5f884aef466d" providerId="ADAL" clId="{3D0DB7AE-1BA7-45E8-B6C7-4A63B94ABB52}" dt="2024-06-10T13:29:12.189" v="1059"/>
          <ac:spMkLst>
            <pc:docMk/>
            <pc:sldMk cId="3128847407" sldId="2147481907"/>
            <ac:spMk id="10" creationId="{9FDE5462-F67E-701E-B10C-C66E31757016}"/>
          </ac:spMkLst>
        </pc:spChg>
        <pc:spChg chg="mod">
          <ac:chgData name="Kateryna Levchuk (UA)" userId="5dbb0cbd-4dc1-41d4-910d-5f884aef466d" providerId="ADAL" clId="{3D0DB7AE-1BA7-45E8-B6C7-4A63B94ABB52}" dt="2024-06-10T13:29:12.189" v="1059"/>
          <ac:spMkLst>
            <pc:docMk/>
            <pc:sldMk cId="3128847407" sldId="2147481907"/>
            <ac:spMk id="11" creationId="{9C46FF3F-CD77-A4CA-423E-4098F83F24BF}"/>
          </ac:spMkLst>
        </pc:spChg>
        <pc:grpChg chg="add mod">
          <ac:chgData name="Kateryna Levchuk (UA)" userId="5dbb0cbd-4dc1-41d4-910d-5f884aef466d" providerId="ADAL" clId="{3D0DB7AE-1BA7-45E8-B6C7-4A63B94ABB52}" dt="2024-06-10T13:29:12.189" v="1059"/>
          <ac:grpSpMkLst>
            <pc:docMk/>
            <pc:sldMk cId="3128847407" sldId="2147481907"/>
            <ac:grpSpMk id="5" creationId="{2E5C4B12-A1C3-EEA5-4D70-B9A7A6A9EC17}"/>
          </ac:grpSpMkLst>
        </pc:grpChg>
        <pc:grpChg chg="del">
          <ac:chgData name="Kateryna Levchuk (UA)" userId="5dbb0cbd-4dc1-41d4-910d-5f884aef466d" providerId="ADAL" clId="{3D0DB7AE-1BA7-45E8-B6C7-4A63B94ABB52}" dt="2024-06-10T13:28:58.101" v="1054" actId="478"/>
          <ac:grpSpMkLst>
            <pc:docMk/>
            <pc:sldMk cId="3128847407" sldId="2147481907"/>
            <ac:grpSpMk id="21" creationId="{2C541B34-1CC4-0C2B-DEAE-6E87154D1CC0}"/>
          </ac:grpSpMkLst>
        </pc:grpChg>
      </pc:sldChg>
      <pc:sldChg chg="addSp delSp modSp mod">
        <pc:chgData name="Kateryna Levchuk (UA)" userId="5dbb0cbd-4dc1-41d4-910d-5f884aef466d" providerId="ADAL" clId="{3D0DB7AE-1BA7-45E8-B6C7-4A63B94ABB52}" dt="2024-06-10T13:23:15.369" v="1024"/>
        <pc:sldMkLst>
          <pc:docMk/>
          <pc:sldMk cId="372668532" sldId="2147481911"/>
        </pc:sldMkLst>
        <pc:spChg chg="mod">
          <ac:chgData name="Kateryna Levchuk (UA)" userId="5dbb0cbd-4dc1-41d4-910d-5f884aef466d" providerId="ADAL" clId="{3D0DB7AE-1BA7-45E8-B6C7-4A63B94ABB52}" dt="2024-06-10T11:53:41.680" v="985"/>
          <ac:spMkLst>
            <pc:docMk/>
            <pc:sldMk cId="372668532" sldId="2147481911"/>
            <ac:spMk id="12" creationId="{7849FD81-6AAF-3957-85B0-491E857027C0}"/>
          </ac:spMkLst>
        </pc:spChg>
        <pc:spChg chg="mod">
          <ac:chgData name="Kateryna Levchuk (UA)" userId="5dbb0cbd-4dc1-41d4-910d-5f884aef466d" providerId="ADAL" clId="{3D0DB7AE-1BA7-45E8-B6C7-4A63B94ABB52}" dt="2024-06-10T11:53:41.680" v="985"/>
          <ac:spMkLst>
            <pc:docMk/>
            <pc:sldMk cId="372668532" sldId="2147481911"/>
            <ac:spMk id="13" creationId="{B7643679-DBAA-D512-10A0-A69032878266}"/>
          </ac:spMkLst>
        </pc:spChg>
        <pc:spChg chg="mod">
          <ac:chgData name="Kateryna Levchuk (UA)" userId="5dbb0cbd-4dc1-41d4-910d-5f884aef466d" providerId="ADAL" clId="{3D0DB7AE-1BA7-45E8-B6C7-4A63B94ABB52}" dt="2024-06-10T11:53:41.680" v="985"/>
          <ac:spMkLst>
            <pc:docMk/>
            <pc:sldMk cId="372668532" sldId="2147481911"/>
            <ac:spMk id="14" creationId="{490386A8-E434-7C6A-5B0C-03E5EB36C609}"/>
          </ac:spMkLst>
        </pc:spChg>
        <pc:spChg chg="mod">
          <ac:chgData name="Kateryna Levchuk (UA)" userId="5dbb0cbd-4dc1-41d4-910d-5f884aef466d" providerId="ADAL" clId="{3D0DB7AE-1BA7-45E8-B6C7-4A63B94ABB52}" dt="2024-06-10T11:53:41.680" v="985"/>
          <ac:spMkLst>
            <pc:docMk/>
            <pc:sldMk cId="372668532" sldId="2147481911"/>
            <ac:spMk id="15" creationId="{06C06A0D-8347-52D3-F340-6875C708DA71}"/>
          </ac:spMkLst>
        </pc:spChg>
        <pc:spChg chg="mod">
          <ac:chgData name="Kateryna Levchuk (UA)" userId="5dbb0cbd-4dc1-41d4-910d-5f884aef466d" providerId="ADAL" clId="{3D0DB7AE-1BA7-45E8-B6C7-4A63B94ABB52}" dt="2024-06-10T11:53:41.680" v="985"/>
          <ac:spMkLst>
            <pc:docMk/>
            <pc:sldMk cId="372668532" sldId="2147481911"/>
            <ac:spMk id="16" creationId="{571D862B-210D-B83D-EBEE-5F6EDAAE8D32}"/>
          </ac:spMkLst>
        </pc:spChg>
        <pc:spChg chg="mod">
          <ac:chgData name="Kateryna Levchuk (UA)" userId="5dbb0cbd-4dc1-41d4-910d-5f884aef466d" providerId="ADAL" clId="{3D0DB7AE-1BA7-45E8-B6C7-4A63B94ABB52}" dt="2024-06-10T11:53:41.680" v="985"/>
          <ac:spMkLst>
            <pc:docMk/>
            <pc:sldMk cId="372668532" sldId="2147481911"/>
            <ac:spMk id="17" creationId="{07210FDF-C002-5BF6-FD41-3308EA276D4B}"/>
          </ac:spMkLst>
        </pc:spChg>
        <pc:spChg chg="mod">
          <ac:chgData name="Kateryna Levchuk (UA)" userId="5dbb0cbd-4dc1-41d4-910d-5f884aef466d" providerId="ADAL" clId="{3D0DB7AE-1BA7-45E8-B6C7-4A63B94ABB52}" dt="2024-06-10T11:53:41.680" v="985"/>
          <ac:spMkLst>
            <pc:docMk/>
            <pc:sldMk cId="372668532" sldId="2147481911"/>
            <ac:spMk id="18" creationId="{D0B8537C-72D7-81D0-D590-4F281D159AAC}"/>
          </ac:spMkLst>
        </pc:spChg>
        <pc:spChg chg="mod">
          <ac:chgData name="Kateryna Levchuk (UA)" userId="5dbb0cbd-4dc1-41d4-910d-5f884aef466d" providerId="ADAL" clId="{3D0DB7AE-1BA7-45E8-B6C7-4A63B94ABB52}" dt="2024-06-10T13:23:15.369" v="1024"/>
          <ac:spMkLst>
            <pc:docMk/>
            <pc:sldMk cId="372668532" sldId="2147481911"/>
            <ac:spMk id="37" creationId="{D0B7764A-860A-9FDF-9FA3-A62050BC4033}"/>
          </ac:spMkLst>
        </pc:spChg>
        <pc:spChg chg="mod">
          <ac:chgData name="Kateryna Levchuk (UA)" userId="5dbb0cbd-4dc1-41d4-910d-5f884aef466d" providerId="ADAL" clId="{3D0DB7AE-1BA7-45E8-B6C7-4A63B94ABB52}" dt="2024-06-10T13:23:15.369" v="1024"/>
          <ac:spMkLst>
            <pc:docMk/>
            <pc:sldMk cId="372668532" sldId="2147481911"/>
            <ac:spMk id="38" creationId="{C3CD6F89-FD78-0119-72C3-7AB35911A4F1}"/>
          </ac:spMkLst>
        </pc:spChg>
        <pc:spChg chg="mod">
          <ac:chgData name="Kateryna Levchuk (UA)" userId="5dbb0cbd-4dc1-41d4-910d-5f884aef466d" providerId="ADAL" clId="{3D0DB7AE-1BA7-45E8-B6C7-4A63B94ABB52}" dt="2024-06-10T13:23:15.369" v="1024"/>
          <ac:spMkLst>
            <pc:docMk/>
            <pc:sldMk cId="372668532" sldId="2147481911"/>
            <ac:spMk id="39" creationId="{D24A85EA-720A-D5B7-7D05-04FF54AC763F}"/>
          </ac:spMkLst>
        </pc:spChg>
        <pc:spChg chg="mod">
          <ac:chgData name="Kateryna Levchuk (UA)" userId="5dbb0cbd-4dc1-41d4-910d-5f884aef466d" providerId="ADAL" clId="{3D0DB7AE-1BA7-45E8-B6C7-4A63B94ABB52}" dt="2024-06-10T13:23:15.369" v="1024"/>
          <ac:spMkLst>
            <pc:docMk/>
            <pc:sldMk cId="372668532" sldId="2147481911"/>
            <ac:spMk id="40" creationId="{754A1035-DDF2-321C-640B-1ADE8BA85C77}"/>
          </ac:spMkLst>
        </pc:spChg>
        <pc:spChg chg="mod">
          <ac:chgData name="Kateryna Levchuk (UA)" userId="5dbb0cbd-4dc1-41d4-910d-5f884aef466d" providerId="ADAL" clId="{3D0DB7AE-1BA7-45E8-B6C7-4A63B94ABB52}" dt="2024-06-10T13:23:15.369" v="1024"/>
          <ac:spMkLst>
            <pc:docMk/>
            <pc:sldMk cId="372668532" sldId="2147481911"/>
            <ac:spMk id="41" creationId="{FC89C715-F786-DA2B-101C-C3BFE3174E4C}"/>
          </ac:spMkLst>
        </pc:spChg>
        <pc:spChg chg="mod">
          <ac:chgData name="Kateryna Levchuk (UA)" userId="5dbb0cbd-4dc1-41d4-910d-5f884aef466d" providerId="ADAL" clId="{3D0DB7AE-1BA7-45E8-B6C7-4A63B94ABB52}" dt="2024-06-10T13:23:15.369" v="1024"/>
          <ac:spMkLst>
            <pc:docMk/>
            <pc:sldMk cId="372668532" sldId="2147481911"/>
            <ac:spMk id="42" creationId="{62F4651E-6A29-2FBD-9B0A-D8D3491005E1}"/>
          </ac:spMkLst>
        </pc:spChg>
        <pc:grpChg chg="add del mod">
          <ac:chgData name="Kateryna Levchuk (UA)" userId="5dbb0cbd-4dc1-41d4-910d-5f884aef466d" providerId="ADAL" clId="{3D0DB7AE-1BA7-45E8-B6C7-4A63B94ABB52}" dt="2024-06-10T13:22:41.316" v="1017" actId="478"/>
          <ac:grpSpMkLst>
            <pc:docMk/>
            <pc:sldMk cId="372668532" sldId="2147481911"/>
            <ac:grpSpMk id="9" creationId="{502EF687-6ED0-C03F-8CAF-123B928BD826}"/>
          </ac:grpSpMkLst>
        </pc:grpChg>
        <pc:grpChg chg="del">
          <ac:chgData name="Kateryna Levchuk (UA)" userId="5dbb0cbd-4dc1-41d4-910d-5f884aef466d" providerId="ADAL" clId="{3D0DB7AE-1BA7-45E8-B6C7-4A63B94ABB52}" dt="2024-06-10T11:53:22.014" v="981" actId="478"/>
          <ac:grpSpMkLst>
            <pc:docMk/>
            <pc:sldMk cId="372668532" sldId="2147481911"/>
            <ac:grpSpMk id="19" creationId="{6ED6C4B5-7981-36D1-47E9-3BB8F308AD39}"/>
          </ac:grpSpMkLst>
        </pc:grpChg>
        <pc:grpChg chg="add mod">
          <ac:chgData name="Kateryna Levchuk (UA)" userId="5dbb0cbd-4dc1-41d4-910d-5f884aef466d" providerId="ADAL" clId="{3D0DB7AE-1BA7-45E8-B6C7-4A63B94ABB52}" dt="2024-06-10T13:23:15.369" v="1024"/>
          <ac:grpSpMkLst>
            <pc:docMk/>
            <pc:sldMk cId="372668532" sldId="2147481911"/>
            <ac:grpSpMk id="35" creationId="{17F9ACE5-F250-DAA2-5DE6-31C24F5F6124}"/>
          </ac:grpSpMkLst>
        </pc:grpChg>
      </pc:sldChg>
      <pc:sldChg chg="addSp delSp modSp mod">
        <pc:chgData name="Kateryna Levchuk (UA)" userId="5dbb0cbd-4dc1-41d4-910d-5f884aef466d" providerId="ADAL" clId="{3D0DB7AE-1BA7-45E8-B6C7-4A63B94ABB52}" dt="2024-06-10T13:29:54.861" v="1070"/>
        <pc:sldMkLst>
          <pc:docMk/>
          <pc:sldMk cId="902380533" sldId="2147481912"/>
        </pc:sldMkLst>
        <pc:spChg chg="mod">
          <ac:chgData name="Kateryna Levchuk (UA)" userId="5dbb0cbd-4dc1-41d4-910d-5f884aef466d" providerId="ADAL" clId="{3D0DB7AE-1BA7-45E8-B6C7-4A63B94ABB52}" dt="2024-06-10T13:29:54.861" v="1070"/>
          <ac:spMkLst>
            <pc:docMk/>
            <pc:sldMk cId="902380533" sldId="2147481912"/>
            <ac:spMk id="32" creationId="{C6E4D409-3D7B-2FD8-B7C7-B258268DB07D}"/>
          </ac:spMkLst>
        </pc:spChg>
        <pc:spChg chg="mod">
          <ac:chgData name="Kateryna Levchuk (UA)" userId="5dbb0cbd-4dc1-41d4-910d-5f884aef466d" providerId="ADAL" clId="{3D0DB7AE-1BA7-45E8-B6C7-4A63B94ABB52}" dt="2024-06-10T13:29:54.861" v="1070"/>
          <ac:spMkLst>
            <pc:docMk/>
            <pc:sldMk cId="902380533" sldId="2147481912"/>
            <ac:spMk id="33" creationId="{2F87CEDC-88AE-3A65-FB55-D124C0A898C4}"/>
          </ac:spMkLst>
        </pc:spChg>
        <pc:spChg chg="mod">
          <ac:chgData name="Kateryna Levchuk (UA)" userId="5dbb0cbd-4dc1-41d4-910d-5f884aef466d" providerId="ADAL" clId="{3D0DB7AE-1BA7-45E8-B6C7-4A63B94ABB52}" dt="2024-06-10T13:29:54.861" v="1070"/>
          <ac:spMkLst>
            <pc:docMk/>
            <pc:sldMk cId="902380533" sldId="2147481912"/>
            <ac:spMk id="34" creationId="{815046FE-C9DA-01DD-B301-B1E707FE182B}"/>
          </ac:spMkLst>
        </pc:spChg>
        <pc:spChg chg="mod">
          <ac:chgData name="Kateryna Levchuk (UA)" userId="5dbb0cbd-4dc1-41d4-910d-5f884aef466d" providerId="ADAL" clId="{3D0DB7AE-1BA7-45E8-B6C7-4A63B94ABB52}" dt="2024-06-10T13:29:54.861" v="1070"/>
          <ac:spMkLst>
            <pc:docMk/>
            <pc:sldMk cId="902380533" sldId="2147481912"/>
            <ac:spMk id="35" creationId="{227EBCE0-AC0A-01B8-91ED-16DF9EF57119}"/>
          </ac:spMkLst>
        </pc:spChg>
        <pc:spChg chg="mod">
          <ac:chgData name="Kateryna Levchuk (UA)" userId="5dbb0cbd-4dc1-41d4-910d-5f884aef466d" providerId="ADAL" clId="{3D0DB7AE-1BA7-45E8-B6C7-4A63B94ABB52}" dt="2024-06-10T13:29:54.861" v="1070"/>
          <ac:spMkLst>
            <pc:docMk/>
            <pc:sldMk cId="902380533" sldId="2147481912"/>
            <ac:spMk id="36" creationId="{1ECAF34F-005F-1633-F3B8-16D1E6FEE990}"/>
          </ac:spMkLst>
        </pc:spChg>
        <pc:spChg chg="mod">
          <ac:chgData name="Kateryna Levchuk (UA)" userId="5dbb0cbd-4dc1-41d4-910d-5f884aef466d" providerId="ADAL" clId="{3D0DB7AE-1BA7-45E8-B6C7-4A63B94ABB52}" dt="2024-06-10T13:29:54.861" v="1070"/>
          <ac:spMkLst>
            <pc:docMk/>
            <pc:sldMk cId="902380533" sldId="2147481912"/>
            <ac:spMk id="37" creationId="{8291429A-0614-4B26-3C16-BB7754C126DD}"/>
          </ac:spMkLst>
        </pc:spChg>
        <pc:grpChg chg="del">
          <ac:chgData name="Kateryna Levchuk (UA)" userId="5dbb0cbd-4dc1-41d4-910d-5f884aef466d" providerId="ADAL" clId="{3D0DB7AE-1BA7-45E8-B6C7-4A63B94ABB52}" dt="2024-06-10T13:29:47.178" v="1067" actId="478"/>
          <ac:grpSpMkLst>
            <pc:docMk/>
            <pc:sldMk cId="902380533" sldId="2147481912"/>
            <ac:grpSpMk id="3" creationId="{5145ACA6-1185-1877-4478-138A78D01351}"/>
          </ac:grpSpMkLst>
        </pc:grpChg>
        <pc:grpChg chg="add mod">
          <ac:chgData name="Kateryna Levchuk (UA)" userId="5dbb0cbd-4dc1-41d4-910d-5f884aef466d" providerId="ADAL" clId="{3D0DB7AE-1BA7-45E8-B6C7-4A63B94ABB52}" dt="2024-06-10T13:29:54.861" v="1070"/>
          <ac:grpSpMkLst>
            <pc:docMk/>
            <pc:sldMk cId="902380533" sldId="2147481912"/>
            <ac:grpSpMk id="31" creationId="{7127EB1B-DE96-DC39-9146-CEF726D947BF}"/>
          </ac:grpSpMkLst>
        </pc:grpChg>
      </pc:sldChg>
      <pc:sldChg chg="addSp delSp modSp mod">
        <pc:chgData name="Kateryna Levchuk (UA)" userId="5dbb0cbd-4dc1-41d4-910d-5f884aef466d" providerId="ADAL" clId="{3D0DB7AE-1BA7-45E8-B6C7-4A63B94ABB52}" dt="2024-06-10T13:23:06.761" v="1022"/>
        <pc:sldMkLst>
          <pc:docMk/>
          <pc:sldMk cId="2494049098" sldId="2147481919"/>
        </pc:sldMkLst>
        <pc:spChg chg="mod">
          <ac:chgData name="Kateryna Levchuk (UA)" userId="5dbb0cbd-4dc1-41d4-910d-5f884aef466d" providerId="ADAL" clId="{3D0DB7AE-1BA7-45E8-B6C7-4A63B94ABB52}" dt="2024-06-10T11:53:43.469" v="986"/>
          <ac:spMkLst>
            <pc:docMk/>
            <pc:sldMk cId="2494049098" sldId="2147481919"/>
            <ac:spMk id="14" creationId="{85C3AE0E-6F0E-E91B-7F01-B59D638172DE}"/>
          </ac:spMkLst>
        </pc:spChg>
        <pc:spChg chg="mod">
          <ac:chgData name="Kateryna Levchuk (UA)" userId="5dbb0cbd-4dc1-41d4-910d-5f884aef466d" providerId="ADAL" clId="{3D0DB7AE-1BA7-45E8-B6C7-4A63B94ABB52}" dt="2024-06-10T11:53:43.469" v="986"/>
          <ac:spMkLst>
            <pc:docMk/>
            <pc:sldMk cId="2494049098" sldId="2147481919"/>
            <ac:spMk id="15" creationId="{18D7A8A8-426A-054D-6EEF-589F721B78BC}"/>
          </ac:spMkLst>
        </pc:spChg>
        <pc:spChg chg="mod">
          <ac:chgData name="Kateryna Levchuk (UA)" userId="5dbb0cbd-4dc1-41d4-910d-5f884aef466d" providerId="ADAL" clId="{3D0DB7AE-1BA7-45E8-B6C7-4A63B94ABB52}" dt="2024-06-10T11:53:43.469" v="986"/>
          <ac:spMkLst>
            <pc:docMk/>
            <pc:sldMk cId="2494049098" sldId="2147481919"/>
            <ac:spMk id="17" creationId="{0D0DF975-ACDC-3265-B70A-62FA4C463B88}"/>
          </ac:spMkLst>
        </pc:spChg>
        <pc:spChg chg="mod">
          <ac:chgData name="Kateryna Levchuk (UA)" userId="5dbb0cbd-4dc1-41d4-910d-5f884aef466d" providerId="ADAL" clId="{3D0DB7AE-1BA7-45E8-B6C7-4A63B94ABB52}" dt="2024-06-10T11:53:43.469" v="986"/>
          <ac:spMkLst>
            <pc:docMk/>
            <pc:sldMk cId="2494049098" sldId="2147481919"/>
            <ac:spMk id="20" creationId="{77DFE08F-3B14-E67F-7681-25B2C2614248}"/>
          </ac:spMkLst>
        </pc:spChg>
        <pc:spChg chg="mod">
          <ac:chgData name="Kateryna Levchuk (UA)" userId="5dbb0cbd-4dc1-41d4-910d-5f884aef466d" providerId="ADAL" clId="{3D0DB7AE-1BA7-45E8-B6C7-4A63B94ABB52}" dt="2024-06-10T11:53:43.469" v="986"/>
          <ac:spMkLst>
            <pc:docMk/>
            <pc:sldMk cId="2494049098" sldId="2147481919"/>
            <ac:spMk id="25" creationId="{5A65EC3D-C5FD-0809-EE03-250BC379B761}"/>
          </ac:spMkLst>
        </pc:spChg>
        <pc:spChg chg="mod">
          <ac:chgData name="Kateryna Levchuk (UA)" userId="5dbb0cbd-4dc1-41d4-910d-5f884aef466d" providerId="ADAL" clId="{3D0DB7AE-1BA7-45E8-B6C7-4A63B94ABB52}" dt="2024-06-10T11:53:43.469" v="986"/>
          <ac:spMkLst>
            <pc:docMk/>
            <pc:sldMk cId="2494049098" sldId="2147481919"/>
            <ac:spMk id="26" creationId="{3CDAB759-9D6E-D1E8-3A03-BB07D13F207F}"/>
          </ac:spMkLst>
        </pc:spChg>
        <pc:spChg chg="mod">
          <ac:chgData name="Kateryna Levchuk (UA)" userId="5dbb0cbd-4dc1-41d4-910d-5f884aef466d" providerId="ADAL" clId="{3D0DB7AE-1BA7-45E8-B6C7-4A63B94ABB52}" dt="2024-06-10T11:53:43.469" v="986"/>
          <ac:spMkLst>
            <pc:docMk/>
            <pc:sldMk cId="2494049098" sldId="2147481919"/>
            <ac:spMk id="27" creationId="{32CABF19-875C-27FD-2D0F-F0C8DD452281}"/>
          </ac:spMkLst>
        </pc:spChg>
        <pc:spChg chg="mod">
          <ac:chgData name="Kateryna Levchuk (UA)" userId="5dbb0cbd-4dc1-41d4-910d-5f884aef466d" providerId="ADAL" clId="{3D0DB7AE-1BA7-45E8-B6C7-4A63B94ABB52}" dt="2024-06-10T13:23:06.761" v="1022"/>
          <ac:spMkLst>
            <pc:docMk/>
            <pc:sldMk cId="2494049098" sldId="2147481919"/>
            <ac:spMk id="31" creationId="{4C45F5D8-454F-D1DA-B888-BD8393D29AB2}"/>
          </ac:spMkLst>
        </pc:spChg>
        <pc:spChg chg="mod">
          <ac:chgData name="Kateryna Levchuk (UA)" userId="5dbb0cbd-4dc1-41d4-910d-5f884aef466d" providerId="ADAL" clId="{3D0DB7AE-1BA7-45E8-B6C7-4A63B94ABB52}" dt="2024-06-10T13:23:06.761" v="1022"/>
          <ac:spMkLst>
            <pc:docMk/>
            <pc:sldMk cId="2494049098" sldId="2147481919"/>
            <ac:spMk id="32" creationId="{962A0AB5-1528-1FA1-7ABB-354ECFC14075}"/>
          </ac:spMkLst>
        </pc:spChg>
        <pc:spChg chg="mod">
          <ac:chgData name="Kateryna Levchuk (UA)" userId="5dbb0cbd-4dc1-41d4-910d-5f884aef466d" providerId="ADAL" clId="{3D0DB7AE-1BA7-45E8-B6C7-4A63B94ABB52}" dt="2024-06-10T13:23:06.761" v="1022"/>
          <ac:spMkLst>
            <pc:docMk/>
            <pc:sldMk cId="2494049098" sldId="2147481919"/>
            <ac:spMk id="33" creationId="{87243747-3691-E1B8-E4CC-AC56B9D9AEEA}"/>
          </ac:spMkLst>
        </pc:spChg>
        <pc:spChg chg="mod">
          <ac:chgData name="Kateryna Levchuk (UA)" userId="5dbb0cbd-4dc1-41d4-910d-5f884aef466d" providerId="ADAL" clId="{3D0DB7AE-1BA7-45E8-B6C7-4A63B94ABB52}" dt="2024-06-10T13:23:06.761" v="1022"/>
          <ac:spMkLst>
            <pc:docMk/>
            <pc:sldMk cId="2494049098" sldId="2147481919"/>
            <ac:spMk id="34" creationId="{172B24E9-2DE6-54FF-CC86-EBD4DD341CC9}"/>
          </ac:spMkLst>
        </pc:spChg>
        <pc:spChg chg="mod">
          <ac:chgData name="Kateryna Levchuk (UA)" userId="5dbb0cbd-4dc1-41d4-910d-5f884aef466d" providerId="ADAL" clId="{3D0DB7AE-1BA7-45E8-B6C7-4A63B94ABB52}" dt="2024-06-10T13:23:06.761" v="1022"/>
          <ac:spMkLst>
            <pc:docMk/>
            <pc:sldMk cId="2494049098" sldId="2147481919"/>
            <ac:spMk id="35" creationId="{73279EE3-62F3-EEBA-1971-F53D30C665CB}"/>
          </ac:spMkLst>
        </pc:spChg>
        <pc:spChg chg="mod">
          <ac:chgData name="Kateryna Levchuk (UA)" userId="5dbb0cbd-4dc1-41d4-910d-5f884aef466d" providerId="ADAL" clId="{3D0DB7AE-1BA7-45E8-B6C7-4A63B94ABB52}" dt="2024-06-10T13:23:06.761" v="1022"/>
          <ac:spMkLst>
            <pc:docMk/>
            <pc:sldMk cId="2494049098" sldId="2147481919"/>
            <ac:spMk id="36" creationId="{90222B69-B079-36F9-6C24-D4EAEEAFF689}"/>
          </ac:spMkLst>
        </pc:spChg>
        <pc:grpChg chg="del">
          <ac:chgData name="Kateryna Levchuk (UA)" userId="5dbb0cbd-4dc1-41d4-910d-5f884aef466d" providerId="ADAL" clId="{3D0DB7AE-1BA7-45E8-B6C7-4A63B94ABB52}" dt="2024-06-10T11:53:26.009" v="982" actId="478"/>
          <ac:grpSpMkLst>
            <pc:docMk/>
            <pc:sldMk cId="2494049098" sldId="2147481919"/>
            <ac:grpSpMk id="3" creationId="{64004B52-3ECE-0BE9-5057-1B107BA185BE}"/>
          </ac:grpSpMkLst>
        </pc:grpChg>
        <pc:grpChg chg="add del mod">
          <ac:chgData name="Kateryna Levchuk (UA)" userId="5dbb0cbd-4dc1-41d4-910d-5f884aef466d" providerId="ADAL" clId="{3D0DB7AE-1BA7-45E8-B6C7-4A63B94ABB52}" dt="2024-06-10T13:22:38.671" v="1016" actId="478"/>
          <ac:grpSpMkLst>
            <pc:docMk/>
            <pc:sldMk cId="2494049098" sldId="2147481919"/>
            <ac:grpSpMk id="8" creationId="{651617B5-1561-A286-BCB3-D94012D51975}"/>
          </ac:grpSpMkLst>
        </pc:grpChg>
        <pc:grpChg chg="add mod">
          <ac:chgData name="Kateryna Levchuk (UA)" userId="5dbb0cbd-4dc1-41d4-910d-5f884aef466d" providerId="ADAL" clId="{3D0DB7AE-1BA7-45E8-B6C7-4A63B94ABB52}" dt="2024-06-10T13:23:06.761" v="1022"/>
          <ac:grpSpMkLst>
            <pc:docMk/>
            <pc:sldMk cId="2494049098" sldId="2147481919"/>
            <ac:grpSpMk id="30" creationId="{FC3C1F91-1680-0B6A-54D2-EE443C4A1D73}"/>
          </ac:grpSpMkLst>
        </pc:grpChg>
      </pc:sldChg>
      <pc:sldChg chg="addSp delSp modSp mod">
        <pc:chgData name="Kateryna Levchuk (UA)" userId="5dbb0cbd-4dc1-41d4-910d-5f884aef466d" providerId="ADAL" clId="{3D0DB7AE-1BA7-45E8-B6C7-4A63B94ABB52}" dt="2024-06-10T13:23:09.642" v="1023"/>
        <pc:sldMkLst>
          <pc:docMk/>
          <pc:sldMk cId="1622579242" sldId="2147481920"/>
        </pc:sldMkLst>
        <pc:spChg chg="mod">
          <ac:chgData name="Kateryna Levchuk (UA)" userId="5dbb0cbd-4dc1-41d4-910d-5f884aef466d" providerId="ADAL" clId="{3D0DB7AE-1BA7-45E8-B6C7-4A63B94ABB52}" dt="2024-06-10T11:53:45.351" v="987"/>
          <ac:spMkLst>
            <pc:docMk/>
            <pc:sldMk cId="1622579242" sldId="2147481920"/>
            <ac:spMk id="14" creationId="{0A626851-CEA3-4DEF-AE39-E8335B2CF233}"/>
          </ac:spMkLst>
        </pc:spChg>
        <pc:spChg chg="mod">
          <ac:chgData name="Kateryna Levchuk (UA)" userId="5dbb0cbd-4dc1-41d4-910d-5f884aef466d" providerId="ADAL" clId="{3D0DB7AE-1BA7-45E8-B6C7-4A63B94ABB52}" dt="2024-06-10T11:53:45.351" v="987"/>
          <ac:spMkLst>
            <pc:docMk/>
            <pc:sldMk cId="1622579242" sldId="2147481920"/>
            <ac:spMk id="15" creationId="{836366C3-42A9-60C3-F253-8182C962BBD4}"/>
          </ac:spMkLst>
        </pc:spChg>
        <pc:spChg chg="mod">
          <ac:chgData name="Kateryna Levchuk (UA)" userId="5dbb0cbd-4dc1-41d4-910d-5f884aef466d" providerId="ADAL" clId="{3D0DB7AE-1BA7-45E8-B6C7-4A63B94ABB52}" dt="2024-06-10T11:53:45.351" v="987"/>
          <ac:spMkLst>
            <pc:docMk/>
            <pc:sldMk cId="1622579242" sldId="2147481920"/>
            <ac:spMk id="16" creationId="{8CCCC24A-3911-A1F8-28CE-A7B7AE05A9DB}"/>
          </ac:spMkLst>
        </pc:spChg>
        <pc:spChg chg="mod">
          <ac:chgData name="Kateryna Levchuk (UA)" userId="5dbb0cbd-4dc1-41d4-910d-5f884aef466d" providerId="ADAL" clId="{3D0DB7AE-1BA7-45E8-B6C7-4A63B94ABB52}" dt="2024-06-10T13:22:34.011" v="1014" actId="20577"/>
          <ac:spMkLst>
            <pc:docMk/>
            <pc:sldMk cId="1622579242" sldId="2147481920"/>
            <ac:spMk id="17" creationId="{9CB33D6C-974C-329D-589A-F83030649625}"/>
          </ac:spMkLst>
        </pc:spChg>
        <pc:spChg chg="mod">
          <ac:chgData name="Kateryna Levchuk (UA)" userId="5dbb0cbd-4dc1-41d4-910d-5f884aef466d" providerId="ADAL" clId="{3D0DB7AE-1BA7-45E8-B6C7-4A63B94ABB52}" dt="2024-06-10T11:53:45.351" v="987"/>
          <ac:spMkLst>
            <pc:docMk/>
            <pc:sldMk cId="1622579242" sldId="2147481920"/>
            <ac:spMk id="20" creationId="{AE496845-58DC-CE70-68E0-7695B6D65946}"/>
          </ac:spMkLst>
        </pc:spChg>
        <pc:spChg chg="mod">
          <ac:chgData name="Kateryna Levchuk (UA)" userId="5dbb0cbd-4dc1-41d4-910d-5f884aef466d" providerId="ADAL" clId="{3D0DB7AE-1BA7-45E8-B6C7-4A63B94ABB52}" dt="2024-06-10T11:53:45.351" v="987"/>
          <ac:spMkLst>
            <pc:docMk/>
            <pc:sldMk cId="1622579242" sldId="2147481920"/>
            <ac:spMk id="28" creationId="{D98A1D07-2E11-847B-DA60-DAF095ABA43A}"/>
          </ac:spMkLst>
        </pc:spChg>
        <pc:spChg chg="mod">
          <ac:chgData name="Kateryna Levchuk (UA)" userId="5dbb0cbd-4dc1-41d4-910d-5f884aef466d" providerId="ADAL" clId="{3D0DB7AE-1BA7-45E8-B6C7-4A63B94ABB52}" dt="2024-06-10T11:53:45.351" v="987"/>
          <ac:spMkLst>
            <pc:docMk/>
            <pc:sldMk cId="1622579242" sldId="2147481920"/>
            <ac:spMk id="29" creationId="{CE8D649D-F9C1-5BA3-D593-3A3A616C2127}"/>
          </ac:spMkLst>
        </pc:spChg>
        <pc:spChg chg="mod">
          <ac:chgData name="Kateryna Levchuk (UA)" userId="5dbb0cbd-4dc1-41d4-910d-5f884aef466d" providerId="ADAL" clId="{3D0DB7AE-1BA7-45E8-B6C7-4A63B94ABB52}" dt="2024-06-10T13:22:30.702" v="1012"/>
          <ac:spMkLst>
            <pc:docMk/>
            <pc:sldMk cId="1622579242" sldId="2147481920"/>
            <ac:spMk id="31" creationId="{FC1023F7-0345-BF91-46B6-9BBA954CF12C}"/>
          </ac:spMkLst>
        </pc:spChg>
        <pc:spChg chg="mod">
          <ac:chgData name="Kateryna Levchuk (UA)" userId="5dbb0cbd-4dc1-41d4-910d-5f884aef466d" providerId="ADAL" clId="{3D0DB7AE-1BA7-45E8-B6C7-4A63B94ABB52}" dt="2024-06-10T13:22:30.702" v="1012"/>
          <ac:spMkLst>
            <pc:docMk/>
            <pc:sldMk cId="1622579242" sldId="2147481920"/>
            <ac:spMk id="32" creationId="{0514FFCC-5565-53CB-C718-64BCEA7B3F0B}"/>
          </ac:spMkLst>
        </pc:spChg>
        <pc:spChg chg="mod">
          <ac:chgData name="Kateryna Levchuk (UA)" userId="5dbb0cbd-4dc1-41d4-910d-5f884aef466d" providerId="ADAL" clId="{3D0DB7AE-1BA7-45E8-B6C7-4A63B94ABB52}" dt="2024-06-10T13:22:30.702" v="1012"/>
          <ac:spMkLst>
            <pc:docMk/>
            <pc:sldMk cId="1622579242" sldId="2147481920"/>
            <ac:spMk id="33" creationId="{1B0C64C5-4784-7960-6251-FC93946E8945}"/>
          </ac:spMkLst>
        </pc:spChg>
        <pc:spChg chg="mod">
          <ac:chgData name="Kateryna Levchuk (UA)" userId="5dbb0cbd-4dc1-41d4-910d-5f884aef466d" providerId="ADAL" clId="{3D0DB7AE-1BA7-45E8-B6C7-4A63B94ABB52}" dt="2024-06-10T13:22:30.702" v="1012"/>
          <ac:spMkLst>
            <pc:docMk/>
            <pc:sldMk cId="1622579242" sldId="2147481920"/>
            <ac:spMk id="34" creationId="{F24F0185-9FC1-DB8A-7737-CFB6A025E6CB}"/>
          </ac:spMkLst>
        </pc:spChg>
        <pc:spChg chg="mod">
          <ac:chgData name="Kateryna Levchuk (UA)" userId="5dbb0cbd-4dc1-41d4-910d-5f884aef466d" providerId="ADAL" clId="{3D0DB7AE-1BA7-45E8-B6C7-4A63B94ABB52}" dt="2024-06-10T13:22:30.702" v="1012"/>
          <ac:spMkLst>
            <pc:docMk/>
            <pc:sldMk cId="1622579242" sldId="2147481920"/>
            <ac:spMk id="35" creationId="{3F6AEDD4-2775-3E21-89A5-60E55B605F51}"/>
          </ac:spMkLst>
        </pc:spChg>
        <pc:spChg chg="mod">
          <ac:chgData name="Kateryna Levchuk (UA)" userId="5dbb0cbd-4dc1-41d4-910d-5f884aef466d" providerId="ADAL" clId="{3D0DB7AE-1BA7-45E8-B6C7-4A63B94ABB52}" dt="2024-06-10T13:22:30.702" v="1012"/>
          <ac:spMkLst>
            <pc:docMk/>
            <pc:sldMk cId="1622579242" sldId="2147481920"/>
            <ac:spMk id="36" creationId="{D76109AA-926A-5BC3-040A-1C03DF07BD2E}"/>
          </ac:spMkLst>
        </pc:spChg>
        <pc:spChg chg="mod">
          <ac:chgData name="Kateryna Levchuk (UA)" userId="5dbb0cbd-4dc1-41d4-910d-5f884aef466d" providerId="ADAL" clId="{3D0DB7AE-1BA7-45E8-B6C7-4A63B94ABB52}" dt="2024-06-10T13:23:09.642" v="1023"/>
          <ac:spMkLst>
            <pc:docMk/>
            <pc:sldMk cId="1622579242" sldId="2147481920"/>
            <ac:spMk id="38" creationId="{9074AD20-73C5-2CE3-FA1E-B97E942D70DE}"/>
          </ac:spMkLst>
        </pc:spChg>
        <pc:spChg chg="mod">
          <ac:chgData name="Kateryna Levchuk (UA)" userId="5dbb0cbd-4dc1-41d4-910d-5f884aef466d" providerId="ADAL" clId="{3D0DB7AE-1BA7-45E8-B6C7-4A63B94ABB52}" dt="2024-06-10T13:23:09.642" v="1023"/>
          <ac:spMkLst>
            <pc:docMk/>
            <pc:sldMk cId="1622579242" sldId="2147481920"/>
            <ac:spMk id="39" creationId="{69E8B370-1EDC-0830-FF9D-356549120B5C}"/>
          </ac:spMkLst>
        </pc:spChg>
        <pc:spChg chg="mod">
          <ac:chgData name="Kateryna Levchuk (UA)" userId="5dbb0cbd-4dc1-41d4-910d-5f884aef466d" providerId="ADAL" clId="{3D0DB7AE-1BA7-45E8-B6C7-4A63B94ABB52}" dt="2024-06-10T13:23:09.642" v="1023"/>
          <ac:spMkLst>
            <pc:docMk/>
            <pc:sldMk cId="1622579242" sldId="2147481920"/>
            <ac:spMk id="40" creationId="{7BC96139-71A1-962D-7F03-F84C05AF0B1F}"/>
          </ac:spMkLst>
        </pc:spChg>
        <pc:spChg chg="mod">
          <ac:chgData name="Kateryna Levchuk (UA)" userId="5dbb0cbd-4dc1-41d4-910d-5f884aef466d" providerId="ADAL" clId="{3D0DB7AE-1BA7-45E8-B6C7-4A63B94ABB52}" dt="2024-06-10T13:23:09.642" v="1023"/>
          <ac:spMkLst>
            <pc:docMk/>
            <pc:sldMk cId="1622579242" sldId="2147481920"/>
            <ac:spMk id="42" creationId="{3E808E45-D5F2-1A47-6C48-CDF0032D2FF0}"/>
          </ac:spMkLst>
        </pc:spChg>
        <pc:spChg chg="mod">
          <ac:chgData name="Kateryna Levchuk (UA)" userId="5dbb0cbd-4dc1-41d4-910d-5f884aef466d" providerId="ADAL" clId="{3D0DB7AE-1BA7-45E8-B6C7-4A63B94ABB52}" dt="2024-06-10T13:23:09.642" v="1023"/>
          <ac:spMkLst>
            <pc:docMk/>
            <pc:sldMk cId="1622579242" sldId="2147481920"/>
            <ac:spMk id="43" creationId="{C852C49E-205D-91AF-8DA0-8C8D58BF8213}"/>
          </ac:spMkLst>
        </pc:spChg>
        <pc:spChg chg="mod">
          <ac:chgData name="Kateryna Levchuk (UA)" userId="5dbb0cbd-4dc1-41d4-910d-5f884aef466d" providerId="ADAL" clId="{3D0DB7AE-1BA7-45E8-B6C7-4A63B94ABB52}" dt="2024-06-10T13:23:09.642" v="1023"/>
          <ac:spMkLst>
            <pc:docMk/>
            <pc:sldMk cId="1622579242" sldId="2147481920"/>
            <ac:spMk id="45" creationId="{A42BEDEE-E30F-046B-0715-FC740ECB3B10}"/>
          </ac:spMkLst>
        </pc:spChg>
        <pc:grpChg chg="del">
          <ac:chgData name="Kateryna Levchuk (UA)" userId="5dbb0cbd-4dc1-41d4-910d-5f884aef466d" providerId="ADAL" clId="{3D0DB7AE-1BA7-45E8-B6C7-4A63B94ABB52}" dt="2024-06-10T11:53:28.717" v="983" actId="478"/>
          <ac:grpSpMkLst>
            <pc:docMk/>
            <pc:sldMk cId="1622579242" sldId="2147481920"/>
            <ac:grpSpMk id="4" creationId="{A4AA8D42-70E2-E705-1230-A339B5C3F2E3}"/>
          </ac:grpSpMkLst>
        </pc:grpChg>
        <pc:grpChg chg="add del mod">
          <ac:chgData name="Kateryna Levchuk (UA)" userId="5dbb0cbd-4dc1-41d4-910d-5f884aef466d" providerId="ADAL" clId="{3D0DB7AE-1BA7-45E8-B6C7-4A63B94ABB52}" dt="2024-06-10T13:22:35.949" v="1015" actId="478"/>
          <ac:grpSpMkLst>
            <pc:docMk/>
            <pc:sldMk cId="1622579242" sldId="2147481920"/>
            <ac:grpSpMk id="13" creationId="{192AF650-3143-F224-0CF0-FBD61315B0B2}"/>
          </ac:grpSpMkLst>
        </pc:grpChg>
        <pc:grpChg chg="add del mod">
          <ac:chgData name="Kateryna Levchuk (UA)" userId="5dbb0cbd-4dc1-41d4-910d-5f884aef466d" providerId="ADAL" clId="{3D0DB7AE-1BA7-45E8-B6C7-4A63B94ABB52}" dt="2024-06-10T13:22:32.274" v="1013" actId="478"/>
          <ac:grpSpMkLst>
            <pc:docMk/>
            <pc:sldMk cId="1622579242" sldId="2147481920"/>
            <ac:grpSpMk id="30" creationId="{88B2695C-9BEC-CA41-8C76-92DDFC9BDA2A}"/>
          </ac:grpSpMkLst>
        </pc:grpChg>
        <pc:grpChg chg="add mod">
          <ac:chgData name="Kateryna Levchuk (UA)" userId="5dbb0cbd-4dc1-41d4-910d-5f884aef466d" providerId="ADAL" clId="{3D0DB7AE-1BA7-45E8-B6C7-4A63B94ABB52}" dt="2024-06-10T13:23:09.642" v="1023"/>
          <ac:grpSpMkLst>
            <pc:docMk/>
            <pc:sldMk cId="1622579242" sldId="2147481920"/>
            <ac:grpSpMk id="37" creationId="{018D9F7E-FBDC-E589-CD13-C0E8D0B821BB}"/>
          </ac:grpSpMkLst>
        </pc:grpChg>
      </pc:sldChg>
      <pc:sldChg chg="addSp delSp modSp mod">
        <pc:chgData name="Kateryna Levchuk (UA)" userId="5dbb0cbd-4dc1-41d4-910d-5f884aef466d" providerId="ADAL" clId="{3D0DB7AE-1BA7-45E8-B6C7-4A63B94ABB52}" dt="2024-06-10T11:56:07.912" v="1005"/>
        <pc:sldMkLst>
          <pc:docMk/>
          <pc:sldMk cId="796361483" sldId="2147481942"/>
        </pc:sldMkLst>
        <pc:spChg chg="add del">
          <ac:chgData name="Kateryna Levchuk (UA)" userId="5dbb0cbd-4dc1-41d4-910d-5f884aef466d" providerId="ADAL" clId="{3D0DB7AE-1BA7-45E8-B6C7-4A63B94ABB52}" dt="2024-06-10T11:55:54.457" v="1002" actId="22"/>
          <ac:spMkLst>
            <pc:docMk/>
            <pc:sldMk cId="796361483" sldId="2147481942"/>
            <ac:spMk id="4" creationId="{57DFC27F-BFFB-2A2A-BF5E-AE1578A21ADD}"/>
          </ac:spMkLst>
        </pc:spChg>
        <pc:spChg chg="add del mod">
          <ac:chgData name="Kateryna Levchuk (UA)" userId="5dbb0cbd-4dc1-41d4-910d-5f884aef466d" providerId="ADAL" clId="{3D0DB7AE-1BA7-45E8-B6C7-4A63B94ABB52}" dt="2024-06-10T11:56:03.251" v="1004"/>
          <ac:spMkLst>
            <pc:docMk/>
            <pc:sldMk cId="796361483" sldId="2147481942"/>
            <ac:spMk id="5" creationId="{8B28144E-2782-FD23-4FBE-FD7923BD3891}"/>
          </ac:spMkLst>
        </pc:spChg>
        <pc:spChg chg="mod">
          <ac:chgData name="Kateryna Levchuk (UA)" userId="5dbb0cbd-4dc1-41d4-910d-5f884aef466d" providerId="ADAL" clId="{3D0DB7AE-1BA7-45E8-B6C7-4A63B94ABB52}" dt="2024-06-10T11:56:07.912" v="1005"/>
          <ac:spMkLst>
            <pc:docMk/>
            <pc:sldMk cId="796361483" sldId="2147481942"/>
            <ac:spMk id="8" creationId="{F3D7E571-0E1D-B4BD-E124-8E58F43BEB6C}"/>
          </ac:spMkLst>
        </pc:spChg>
        <pc:spChg chg="mod">
          <ac:chgData name="Kateryna Levchuk (UA)" userId="5dbb0cbd-4dc1-41d4-910d-5f884aef466d" providerId="ADAL" clId="{3D0DB7AE-1BA7-45E8-B6C7-4A63B94ABB52}" dt="2024-06-10T11:56:07.912" v="1005"/>
          <ac:spMkLst>
            <pc:docMk/>
            <pc:sldMk cId="796361483" sldId="2147481942"/>
            <ac:spMk id="9" creationId="{89D10F65-5E4F-B33B-F938-AAA087E14981}"/>
          </ac:spMkLst>
        </pc:spChg>
        <pc:spChg chg="mod">
          <ac:chgData name="Kateryna Levchuk (UA)" userId="5dbb0cbd-4dc1-41d4-910d-5f884aef466d" providerId="ADAL" clId="{3D0DB7AE-1BA7-45E8-B6C7-4A63B94ABB52}" dt="2024-06-10T11:56:07.912" v="1005"/>
          <ac:spMkLst>
            <pc:docMk/>
            <pc:sldMk cId="796361483" sldId="2147481942"/>
            <ac:spMk id="10" creationId="{30DB9508-9D2B-34F2-F1C9-34DE7730AD81}"/>
          </ac:spMkLst>
        </pc:spChg>
        <pc:spChg chg="mod">
          <ac:chgData name="Kateryna Levchuk (UA)" userId="5dbb0cbd-4dc1-41d4-910d-5f884aef466d" providerId="ADAL" clId="{3D0DB7AE-1BA7-45E8-B6C7-4A63B94ABB52}" dt="2024-06-10T11:56:07.912" v="1005"/>
          <ac:spMkLst>
            <pc:docMk/>
            <pc:sldMk cId="796361483" sldId="2147481942"/>
            <ac:spMk id="11" creationId="{6998F6CC-1752-17F2-8562-7ABD42991491}"/>
          </ac:spMkLst>
        </pc:spChg>
        <pc:spChg chg="mod">
          <ac:chgData name="Kateryna Levchuk (UA)" userId="5dbb0cbd-4dc1-41d4-910d-5f884aef466d" providerId="ADAL" clId="{3D0DB7AE-1BA7-45E8-B6C7-4A63B94ABB52}" dt="2024-06-10T11:56:07.912" v="1005"/>
          <ac:spMkLst>
            <pc:docMk/>
            <pc:sldMk cId="796361483" sldId="2147481942"/>
            <ac:spMk id="12" creationId="{FA8416E3-F463-925B-0E00-D26213D7BF08}"/>
          </ac:spMkLst>
        </pc:spChg>
        <pc:spChg chg="mod">
          <ac:chgData name="Kateryna Levchuk (UA)" userId="5dbb0cbd-4dc1-41d4-910d-5f884aef466d" providerId="ADAL" clId="{3D0DB7AE-1BA7-45E8-B6C7-4A63B94ABB52}" dt="2024-06-10T11:56:07.912" v="1005"/>
          <ac:spMkLst>
            <pc:docMk/>
            <pc:sldMk cId="796361483" sldId="2147481942"/>
            <ac:spMk id="13" creationId="{F098ECA2-D623-6E37-C455-3EDC2478C72C}"/>
          </ac:spMkLst>
        </pc:spChg>
        <pc:spChg chg="mod">
          <ac:chgData name="Kateryna Levchuk (UA)" userId="5dbb0cbd-4dc1-41d4-910d-5f884aef466d" providerId="ADAL" clId="{3D0DB7AE-1BA7-45E8-B6C7-4A63B94ABB52}" dt="2024-06-10T11:56:07.912" v="1005"/>
          <ac:spMkLst>
            <pc:docMk/>
            <pc:sldMk cId="796361483" sldId="2147481942"/>
            <ac:spMk id="14" creationId="{6783B4EC-C65B-6196-A45A-8F355CDF6ED8}"/>
          </ac:spMkLst>
        </pc:spChg>
        <pc:grpChg chg="add mod">
          <ac:chgData name="Kateryna Levchuk (UA)" userId="5dbb0cbd-4dc1-41d4-910d-5f884aef466d" providerId="ADAL" clId="{3D0DB7AE-1BA7-45E8-B6C7-4A63B94ABB52}" dt="2024-06-10T11:56:07.912" v="1005"/>
          <ac:grpSpMkLst>
            <pc:docMk/>
            <pc:sldMk cId="796361483" sldId="2147481942"/>
            <ac:grpSpMk id="6" creationId="{0B95653E-AFE7-717A-C0B2-7D21283242CF}"/>
          </ac:grpSpMkLst>
        </pc:grpChg>
      </pc:sldChg>
      <pc:sldChg chg="addSp delSp modSp mod">
        <pc:chgData name="Kateryna Levchuk (UA)" userId="5dbb0cbd-4dc1-41d4-910d-5f884aef466d" providerId="ADAL" clId="{3D0DB7AE-1BA7-45E8-B6C7-4A63B94ABB52}" dt="2024-06-10T13:25:20.628" v="1047"/>
        <pc:sldMkLst>
          <pc:docMk/>
          <pc:sldMk cId="4049782693" sldId="2147481949"/>
        </pc:sldMkLst>
        <pc:spChg chg="mod">
          <ac:chgData name="Kateryna Levchuk (UA)" userId="5dbb0cbd-4dc1-41d4-910d-5f884aef466d" providerId="ADAL" clId="{3D0DB7AE-1BA7-45E8-B6C7-4A63B94ABB52}" dt="2024-06-10T13:25:20.628" v="1047"/>
          <ac:spMkLst>
            <pc:docMk/>
            <pc:sldMk cId="4049782693" sldId="2147481949"/>
            <ac:spMk id="21" creationId="{841DC543-5AD7-3D23-33EF-CC43AB7ED5B6}"/>
          </ac:spMkLst>
        </pc:spChg>
        <pc:spChg chg="mod">
          <ac:chgData name="Kateryna Levchuk (UA)" userId="5dbb0cbd-4dc1-41d4-910d-5f884aef466d" providerId="ADAL" clId="{3D0DB7AE-1BA7-45E8-B6C7-4A63B94ABB52}" dt="2024-06-10T13:25:20.628" v="1047"/>
          <ac:spMkLst>
            <pc:docMk/>
            <pc:sldMk cId="4049782693" sldId="2147481949"/>
            <ac:spMk id="25" creationId="{6E493C53-6221-0F77-DD52-F6D83718323C}"/>
          </ac:spMkLst>
        </pc:spChg>
        <pc:spChg chg="mod">
          <ac:chgData name="Kateryna Levchuk (UA)" userId="5dbb0cbd-4dc1-41d4-910d-5f884aef466d" providerId="ADAL" clId="{3D0DB7AE-1BA7-45E8-B6C7-4A63B94ABB52}" dt="2024-06-10T13:25:20.628" v="1047"/>
          <ac:spMkLst>
            <pc:docMk/>
            <pc:sldMk cId="4049782693" sldId="2147481949"/>
            <ac:spMk id="26" creationId="{03C4D4A6-1AD3-E83A-7E9F-DE55EB4ADF38}"/>
          </ac:spMkLst>
        </pc:spChg>
        <pc:spChg chg="mod">
          <ac:chgData name="Kateryna Levchuk (UA)" userId="5dbb0cbd-4dc1-41d4-910d-5f884aef466d" providerId="ADAL" clId="{3D0DB7AE-1BA7-45E8-B6C7-4A63B94ABB52}" dt="2024-06-10T13:25:20.628" v="1047"/>
          <ac:spMkLst>
            <pc:docMk/>
            <pc:sldMk cId="4049782693" sldId="2147481949"/>
            <ac:spMk id="27" creationId="{8D8C6572-059F-BB69-1289-796437672E40}"/>
          </ac:spMkLst>
        </pc:spChg>
        <pc:spChg chg="mod">
          <ac:chgData name="Kateryna Levchuk (UA)" userId="5dbb0cbd-4dc1-41d4-910d-5f884aef466d" providerId="ADAL" clId="{3D0DB7AE-1BA7-45E8-B6C7-4A63B94ABB52}" dt="2024-06-10T13:25:20.628" v="1047"/>
          <ac:spMkLst>
            <pc:docMk/>
            <pc:sldMk cId="4049782693" sldId="2147481949"/>
            <ac:spMk id="30" creationId="{990CA015-E5CF-01C7-314D-D8343A0D3D70}"/>
          </ac:spMkLst>
        </pc:spChg>
        <pc:spChg chg="mod">
          <ac:chgData name="Kateryna Levchuk (UA)" userId="5dbb0cbd-4dc1-41d4-910d-5f884aef466d" providerId="ADAL" clId="{3D0DB7AE-1BA7-45E8-B6C7-4A63B94ABB52}" dt="2024-06-10T13:25:20.628" v="1047"/>
          <ac:spMkLst>
            <pc:docMk/>
            <pc:sldMk cId="4049782693" sldId="2147481949"/>
            <ac:spMk id="31" creationId="{B9C5025A-294E-6E34-D4B4-8C189316722E}"/>
          </ac:spMkLst>
        </pc:spChg>
        <pc:grpChg chg="add mod">
          <ac:chgData name="Kateryna Levchuk (UA)" userId="5dbb0cbd-4dc1-41d4-910d-5f884aef466d" providerId="ADAL" clId="{3D0DB7AE-1BA7-45E8-B6C7-4A63B94ABB52}" dt="2024-06-10T13:25:20.628" v="1047"/>
          <ac:grpSpMkLst>
            <pc:docMk/>
            <pc:sldMk cId="4049782693" sldId="2147481949"/>
            <ac:grpSpMk id="3" creationId="{0F5BC93F-5FAE-52F1-C6AB-940899A2DBC4}"/>
          </ac:grpSpMkLst>
        </pc:grpChg>
        <pc:grpChg chg="del">
          <ac:chgData name="Kateryna Levchuk (UA)" userId="5dbb0cbd-4dc1-41d4-910d-5f884aef466d" providerId="ADAL" clId="{3D0DB7AE-1BA7-45E8-B6C7-4A63B94ABB52}" dt="2024-06-10T13:25:01.612" v="1039" actId="478"/>
          <ac:grpSpMkLst>
            <pc:docMk/>
            <pc:sldMk cId="4049782693" sldId="2147481949"/>
            <ac:grpSpMk id="20" creationId="{D1E08981-553E-44D6-D155-4360CA62754A}"/>
          </ac:grpSpMkLst>
        </pc:grpChg>
      </pc:sldChg>
      <pc:sldChg chg="addSp delSp modSp mod">
        <pc:chgData name="Kateryna Levchuk (UA)" userId="5dbb0cbd-4dc1-41d4-910d-5f884aef466d" providerId="ADAL" clId="{3D0DB7AE-1BA7-45E8-B6C7-4A63B94ABB52}" dt="2024-06-10T13:25:19.050" v="1046"/>
        <pc:sldMkLst>
          <pc:docMk/>
          <pc:sldMk cId="3702537864" sldId="2147481950"/>
        </pc:sldMkLst>
        <pc:spChg chg="mod">
          <ac:chgData name="Kateryna Levchuk (UA)" userId="5dbb0cbd-4dc1-41d4-910d-5f884aef466d" providerId="ADAL" clId="{3D0DB7AE-1BA7-45E8-B6C7-4A63B94ABB52}" dt="2024-06-10T13:25:19.050" v="1046"/>
          <ac:spMkLst>
            <pc:docMk/>
            <pc:sldMk cId="3702537864" sldId="2147481950"/>
            <ac:spMk id="13" creationId="{9F4EB62A-491F-C087-B4BC-9A0434BA4222}"/>
          </ac:spMkLst>
        </pc:spChg>
        <pc:spChg chg="mod">
          <ac:chgData name="Kateryna Levchuk (UA)" userId="5dbb0cbd-4dc1-41d4-910d-5f884aef466d" providerId="ADAL" clId="{3D0DB7AE-1BA7-45E8-B6C7-4A63B94ABB52}" dt="2024-06-10T13:25:19.050" v="1046"/>
          <ac:spMkLst>
            <pc:docMk/>
            <pc:sldMk cId="3702537864" sldId="2147481950"/>
            <ac:spMk id="14" creationId="{741E16A7-F2E6-0CAF-0DB0-29AF09EC9A42}"/>
          </ac:spMkLst>
        </pc:spChg>
        <pc:spChg chg="mod">
          <ac:chgData name="Kateryna Levchuk (UA)" userId="5dbb0cbd-4dc1-41d4-910d-5f884aef466d" providerId="ADAL" clId="{3D0DB7AE-1BA7-45E8-B6C7-4A63B94ABB52}" dt="2024-06-10T13:25:19.050" v="1046"/>
          <ac:spMkLst>
            <pc:docMk/>
            <pc:sldMk cId="3702537864" sldId="2147481950"/>
            <ac:spMk id="38" creationId="{5CB98F3D-8E53-B8FA-6471-A457187F0CC8}"/>
          </ac:spMkLst>
        </pc:spChg>
        <pc:spChg chg="mod">
          <ac:chgData name="Kateryna Levchuk (UA)" userId="5dbb0cbd-4dc1-41d4-910d-5f884aef466d" providerId="ADAL" clId="{3D0DB7AE-1BA7-45E8-B6C7-4A63B94ABB52}" dt="2024-06-10T13:25:19.050" v="1046"/>
          <ac:spMkLst>
            <pc:docMk/>
            <pc:sldMk cId="3702537864" sldId="2147481950"/>
            <ac:spMk id="39" creationId="{BD48E147-344C-0952-A0FB-910046066CBF}"/>
          </ac:spMkLst>
        </pc:spChg>
        <pc:spChg chg="mod">
          <ac:chgData name="Kateryna Levchuk (UA)" userId="5dbb0cbd-4dc1-41d4-910d-5f884aef466d" providerId="ADAL" clId="{3D0DB7AE-1BA7-45E8-B6C7-4A63B94ABB52}" dt="2024-06-10T13:25:19.050" v="1046"/>
          <ac:spMkLst>
            <pc:docMk/>
            <pc:sldMk cId="3702537864" sldId="2147481950"/>
            <ac:spMk id="40" creationId="{11AB965C-104D-A9D8-378D-2183539A2A62}"/>
          </ac:spMkLst>
        </pc:spChg>
        <pc:spChg chg="mod">
          <ac:chgData name="Kateryna Levchuk (UA)" userId="5dbb0cbd-4dc1-41d4-910d-5f884aef466d" providerId="ADAL" clId="{3D0DB7AE-1BA7-45E8-B6C7-4A63B94ABB52}" dt="2024-06-10T13:25:19.050" v="1046"/>
          <ac:spMkLst>
            <pc:docMk/>
            <pc:sldMk cId="3702537864" sldId="2147481950"/>
            <ac:spMk id="41" creationId="{FB992A79-4143-CAF8-DE7F-37636BB92036}"/>
          </ac:spMkLst>
        </pc:spChg>
        <pc:grpChg chg="add mod">
          <ac:chgData name="Kateryna Levchuk (UA)" userId="5dbb0cbd-4dc1-41d4-910d-5f884aef466d" providerId="ADAL" clId="{3D0DB7AE-1BA7-45E8-B6C7-4A63B94ABB52}" dt="2024-06-10T13:25:19.050" v="1046"/>
          <ac:grpSpMkLst>
            <pc:docMk/>
            <pc:sldMk cId="3702537864" sldId="2147481950"/>
            <ac:grpSpMk id="3" creationId="{DB2CD9FC-FA73-D3B1-C5A3-AF38C8F42AEE}"/>
          </ac:grpSpMkLst>
        </pc:grpChg>
        <pc:grpChg chg="del">
          <ac:chgData name="Kateryna Levchuk (UA)" userId="5dbb0cbd-4dc1-41d4-910d-5f884aef466d" providerId="ADAL" clId="{3D0DB7AE-1BA7-45E8-B6C7-4A63B94ABB52}" dt="2024-06-10T13:24:55.314" v="1038" actId="478"/>
          <ac:grpSpMkLst>
            <pc:docMk/>
            <pc:sldMk cId="3702537864" sldId="2147481950"/>
            <ac:grpSpMk id="44" creationId="{6A96F7A7-599B-B54C-5478-6A50842BFC2C}"/>
          </ac:grpSpMkLst>
        </pc:grpChg>
      </pc:sldChg>
      <pc:sldChg chg="addSp delSp modSp mod">
        <pc:chgData name="Kateryna Levchuk (UA)" userId="5dbb0cbd-4dc1-41d4-910d-5f884aef466d" providerId="ADAL" clId="{3D0DB7AE-1BA7-45E8-B6C7-4A63B94ABB52}" dt="2024-06-10T13:25:16.890" v="1045"/>
        <pc:sldMkLst>
          <pc:docMk/>
          <pc:sldMk cId="3939567711" sldId="2147481951"/>
        </pc:sldMkLst>
        <pc:spChg chg="mod">
          <ac:chgData name="Kateryna Levchuk (UA)" userId="5dbb0cbd-4dc1-41d4-910d-5f884aef466d" providerId="ADAL" clId="{3D0DB7AE-1BA7-45E8-B6C7-4A63B94ABB52}" dt="2024-06-10T13:25:16.890" v="1045"/>
          <ac:spMkLst>
            <pc:docMk/>
            <pc:sldMk cId="3939567711" sldId="2147481951"/>
            <ac:spMk id="14" creationId="{82953135-D846-872C-4AEA-A5D7B3B3D94F}"/>
          </ac:spMkLst>
        </pc:spChg>
        <pc:spChg chg="mod">
          <ac:chgData name="Kateryna Levchuk (UA)" userId="5dbb0cbd-4dc1-41d4-910d-5f884aef466d" providerId="ADAL" clId="{3D0DB7AE-1BA7-45E8-B6C7-4A63B94ABB52}" dt="2024-06-10T13:25:16.890" v="1045"/>
          <ac:spMkLst>
            <pc:docMk/>
            <pc:sldMk cId="3939567711" sldId="2147481951"/>
            <ac:spMk id="17" creationId="{022FA393-65AA-DFC9-87CE-8DAC98385649}"/>
          </ac:spMkLst>
        </pc:spChg>
        <pc:spChg chg="mod">
          <ac:chgData name="Kateryna Levchuk (UA)" userId="5dbb0cbd-4dc1-41d4-910d-5f884aef466d" providerId="ADAL" clId="{3D0DB7AE-1BA7-45E8-B6C7-4A63B94ABB52}" dt="2024-06-10T13:25:16.890" v="1045"/>
          <ac:spMkLst>
            <pc:docMk/>
            <pc:sldMk cId="3939567711" sldId="2147481951"/>
            <ac:spMk id="18" creationId="{94BAC2A8-1BC5-3716-0002-ADAD526F6A12}"/>
          </ac:spMkLst>
        </pc:spChg>
        <pc:spChg chg="mod">
          <ac:chgData name="Kateryna Levchuk (UA)" userId="5dbb0cbd-4dc1-41d4-910d-5f884aef466d" providerId="ADAL" clId="{3D0DB7AE-1BA7-45E8-B6C7-4A63B94ABB52}" dt="2024-06-10T13:25:16.890" v="1045"/>
          <ac:spMkLst>
            <pc:docMk/>
            <pc:sldMk cId="3939567711" sldId="2147481951"/>
            <ac:spMk id="19" creationId="{2E0C987B-497F-6EB6-E0A9-54FC6133F2A9}"/>
          </ac:spMkLst>
        </pc:spChg>
        <pc:spChg chg="mod">
          <ac:chgData name="Kateryna Levchuk (UA)" userId="5dbb0cbd-4dc1-41d4-910d-5f884aef466d" providerId="ADAL" clId="{3D0DB7AE-1BA7-45E8-B6C7-4A63B94ABB52}" dt="2024-06-10T13:25:16.890" v="1045"/>
          <ac:spMkLst>
            <pc:docMk/>
            <pc:sldMk cId="3939567711" sldId="2147481951"/>
            <ac:spMk id="20" creationId="{B11D3232-1C8D-8916-AABB-2D3EC16A940D}"/>
          </ac:spMkLst>
        </pc:spChg>
        <pc:spChg chg="mod">
          <ac:chgData name="Kateryna Levchuk (UA)" userId="5dbb0cbd-4dc1-41d4-910d-5f884aef466d" providerId="ADAL" clId="{3D0DB7AE-1BA7-45E8-B6C7-4A63B94ABB52}" dt="2024-06-10T13:25:16.890" v="1045"/>
          <ac:spMkLst>
            <pc:docMk/>
            <pc:sldMk cId="3939567711" sldId="2147481951"/>
            <ac:spMk id="21" creationId="{C2461BEF-07A2-C6E4-7B48-23751E3808CC}"/>
          </ac:spMkLst>
        </pc:spChg>
        <pc:spChg chg="mod">
          <ac:chgData name="Kateryna Levchuk (UA)" userId="5dbb0cbd-4dc1-41d4-910d-5f884aef466d" providerId="ADAL" clId="{3D0DB7AE-1BA7-45E8-B6C7-4A63B94ABB52}" dt="2024-06-10T09:23:49.257" v="0" actId="14100"/>
          <ac:spMkLst>
            <pc:docMk/>
            <pc:sldMk cId="3939567711" sldId="2147481951"/>
            <ac:spMk id="51" creationId="{2F6DC4B8-9940-E974-DFE7-A68FEC09CF64}"/>
          </ac:spMkLst>
        </pc:spChg>
        <pc:grpChg chg="add mod">
          <ac:chgData name="Kateryna Levchuk (UA)" userId="5dbb0cbd-4dc1-41d4-910d-5f884aef466d" providerId="ADAL" clId="{3D0DB7AE-1BA7-45E8-B6C7-4A63B94ABB52}" dt="2024-06-10T13:25:16.890" v="1045"/>
          <ac:grpSpMkLst>
            <pc:docMk/>
            <pc:sldMk cId="3939567711" sldId="2147481951"/>
            <ac:grpSpMk id="13" creationId="{58364D98-46CB-49A5-C4EF-AED4A70A8A8A}"/>
          </ac:grpSpMkLst>
        </pc:grpChg>
        <pc:grpChg chg="del">
          <ac:chgData name="Kateryna Levchuk (UA)" userId="5dbb0cbd-4dc1-41d4-910d-5f884aef466d" providerId="ADAL" clId="{3D0DB7AE-1BA7-45E8-B6C7-4A63B94ABB52}" dt="2024-06-10T13:24:50.024" v="1037" actId="478"/>
          <ac:grpSpMkLst>
            <pc:docMk/>
            <pc:sldMk cId="3939567711" sldId="2147481951"/>
            <ac:grpSpMk id="24" creationId="{F563CE39-E9A0-FC8F-917A-CBE225CFC4D4}"/>
          </ac:grpSpMkLst>
        </pc:grpChg>
      </pc:sldChg>
      <pc:sldChg chg="addSp delSp modSp mod">
        <pc:chgData name="Kateryna Levchuk (UA)" userId="5dbb0cbd-4dc1-41d4-910d-5f884aef466d" providerId="ADAL" clId="{3D0DB7AE-1BA7-45E8-B6C7-4A63B94ABB52}" dt="2024-06-10T13:25:11.975" v="1042"/>
        <pc:sldMkLst>
          <pc:docMk/>
          <pc:sldMk cId="8764514" sldId="2147481952"/>
        </pc:sldMkLst>
        <pc:spChg chg="mod">
          <ac:chgData name="Kateryna Levchuk (UA)" userId="5dbb0cbd-4dc1-41d4-910d-5f884aef466d" providerId="ADAL" clId="{3D0DB7AE-1BA7-45E8-B6C7-4A63B94ABB52}" dt="2024-06-10T13:25:11.975" v="1042"/>
          <ac:spMkLst>
            <pc:docMk/>
            <pc:sldMk cId="8764514" sldId="2147481952"/>
            <ac:spMk id="25" creationId="{8F4A8D62-F27D-CA16-CE4A-B786D12738D2}"/>
          </ac:spMkLst>
        </pc:spChg>
        <pc:spChg chg="mod">
          <ac:chgData name="Kateryna Levchuk (UA)" userId="5dbb0cbd-4dc1-41d4-910d-5f884aef466d" providerId="ADAL" clId="{3D0DB7AE-1BA7-45E8-B6C7-4A63B94ABB52}" dt="2024-06-10T13:25:11.975" v="1042"/>
          <ac:spMkLst>
            <pc:docMk/>
            <pc:sldMk cId="8764514" sldId="2147481952"/>
            <ac:spMk id="26" creationId="{0AE624D0-D140-EEBF-CEEA-98CDF979ACF3}"/>
          </ac:spMkLst>
        </pc:spChg>
        <pc:spChg chg="mod">
          <ac:chgData name="Kateryna Levchuk (UA)" userId="5dbb0cbd-4dc1-41d4-910d-5f884aef466d" providerId="ADAL" clId="{3D0DB7AE-1BA7-45E8-B6C7-4A63B94ABB52}" dt="2024-06-10T13:25:11.975" v="1042"/>
          <ac:spMkLst>
            <pc:docMk/>
            <pc:sldMk cId="8764514" sldId="2147481952"/>
            <ac:spMk id="27" creationId="{D5A4D9CF-FCBA-6926-9AFD-BAA810416359}"/>
          </ac:spMkLst>
        </pc:spChg>
        <pc:spChg chg="mod">
          <ac:chgData name="Kateryna Levchuk (UA)" userId="5dbb0cbd-4dc1-41d4-910d-5f884aef466d" providerId="ADAL" clId="{3D0DB7AE-1BA7-45E8-B6C7-4A63B94ABB52}" dt="2024-06-10T13:25:11.975" v="1042"/>
          <ac:spMkLst>
            <pc:docMk/>
            <pc:sldMk cId="8764514" sldId="2147481952"/>
            <ac:spMk id="28" creationId="{6CC6ADB5-77C0-1170-4641-FFE7E0A4A9CB}"/>
          </ac:spMkLst>
        </pc:spChg>
        <pc:spChg chg="mod">
          <ac:chgData name="Kateryna Levchuk (UA)" userId="5dbb0cbd-4dc1-41d4-910d-5f884aef466d" providerId="ADAL" clId="{3D0DB7AE-1BA7-45E8-B6C7-4A63B94ABB52}" dt="2024-06-10T13:25:11.975" v="1042"/>
          <ac:spMkLst>
            <pc:docMk/>
            <pc:sldMk cId="8764514" sldId="2147481952"/>
            <ac:spMk id="29" creationId="{F4CB913E-F152-7A20-4574-1CBB55BA5428}"/>
          </ac:spMkLst>
        </pc:spChg>
        <pc:spChg chg="mod">
          <ac:chgData name="Kateryna Levchuk (UA)" userId="5dbb0cbd-4dc1-41d4-910d-5f884aef466d" providerId="ADAL" clId="{3D0DB7AE-1BA7-45E8-B6C7-4A63B94ABB52}" dt="2024-06-10T13:25:11.975" v="1042"/>
          <ac:spMkLst>
            <pc:docMk/>
            <pc:sldMk cId="8764514" sldId="2147481952"/>
            <ac:spMk id="30" creationId="{D5CDE7B3-883B-EDA8-4990-66C6245F1B78}"/>
          </ac:spMkLst>
        </pc:spChg>
        <pc:grpChg chg="add mod">
          <ac:chgData name="Kateryna Levchuk (UA)" userId="5dbb0cbd-4dc1-41d4-910d-5f884aef466d" providerId="ADAL" clId="{3D0DB7AE-1BA7-45E8-B6C7-4A63B94ABB52}" dt="2024-06-10T13:25:11.975" v="1042"/>
          <ac:grpSpMkLst>
            <pc:docMk/>
            <pc:sldMk cId="8764514" sldId="2147481952"/>
            <ac:grpSpMk id="4" creationId="{E44AE4DC-6289-993D-0A23-874314D3457D}"/>
          </ac:grpSpMkLst>
        </pc:grpChg>
        <pc:grpChg chg="del">
          <ac:chgData name="Kateryna Levchuk (UA)" userId="5dbb0cbd-4dc1-41d4-910d-5f884aef466d" providerId="ADAL" clId="{3D0DB7AE-1BA7-45E8-B6C7-4A63B94ABB52}" dt="2024-06-10T13:24:41.518" v="1033" actId="478"/>
          <ac:grpSpMkLst>
            <pc:docMk/>
            <pc:sldMk cId="8764514" sldId="2147481952"/>
            <ac:grpSpMk id="33" creationId="{97B78DF5-D688-FC90-51A7-E3DCA72B1ACA}"/>
          </ac:grpSpMkLst>
        </pc:grpChg>
      </pc:sldChg>
      <pc:sldChg chg="addSp delSp modSp mod">
        <pc:chgData name="Kateryna Levchuk (UA)" userId="5dbb0cbd-4dc1-41d4-910d-5f884aef466d" providerId="ADAL" clId="{3D0DB7AE-1BA7-45E8-B6C7-4A63B94ABB52}" dt="2024-06-10T11:55:47.086" v="1000" actId="164"/>
        <pc:sldMkLst>
          <pc:docMk/>
          <pc:sldMk cId="1261692589" sldId="2147481953"/>
        </pc:sldMkLst>
        <pc:spChg chg="mod topLvl">
          <ac:chgData name="Kateryna Levchuk (UA)" userId="5dbb0cbd-4dc1-41d4-910d-5f884aef466d" providerId="ADAL" clId="{3D0DB7AE-1BA7-45E8-B6C7-4A63B94ABB52}" dt="2024-06-10T11:55:47.086" v="1000" actId="164"/>
          <ac:spMkLst>
            <pc:docMk/>
            <pc:sldMk cId="1261692589" sldId="2147481953"/>
            <ac:spMk id="23" creationId="{1E2C0766-59D0-B5CA-00D4-72892E4722BA}"/>
          </ac:spMkLst>
        </pc:spChg>
        <pc:spChg chg="mod topLvl">
          <ac:chgData name="Kateryna Levchuk (UA)" userId="5dbb0cbd-4dc1-41d4-910d-5f884aef466d" providerId="ADAL" clId="{3D0DB7AE-1BA7-45E8-B6C7-4A63B94ABB52}" dt="2024-06-10T11:55:47.086" v="1000" actId="164"/>
          <ac:spMkLst>
            <pc:docMk/>
            <pc:sldMk cId="1261692589" sldId="2147481953"/>
            <ac:spMk id="24" creationId="{FD1E0699-7B6C-5BF9-24B5-0286D87F7F0C}"/>
          </ac:spMkLst>
        </pc:spChg>
        <pc:spChg chg="mod topLvl">
          <ac:chgData name="Kateryna Levchuk (UA)" userId="5dbb0cbd-4dc1-41d4-910d-5f884aef466d" providerId="ADAL" clId="{3D0DB7AE-1BA7-45E8-B6C7-4A63B94ABB52}" dt="2024-06-10T11:55:47.086" v="1000" actId="164"/>
          <ac:spMkLst>
            <pc:docMk/>
            <pc:sldMk cId="1261692589" sldId="2147481953"/>
            <ac:spMk id="25" creationId="{BE8D66F0-5178-413F-1F6D-BB1CC7B54BEA}"/>
          </ac:spMkLst>
        </pc:spChg>
        <pc:spChg chg="mod topLvl">
          <ac:chgData name="Kateryna Levchuk (UA)" userId="5dbb0cbd-4dc1-41d4-910d-5f884aef466d" providerId="ADAL" clId="{3D0DB7AE-1BA7-45E8-B6C7-4A63B94ABB52}" dt="2024-06-10T11:55:47.086" v="1000" actId="164"/>
          <ac:spMkLst>
            <pc:docMk/>
            <pc:sldMk cId="1261692589" sldId="2147481953"/>
            <ac:spMk id="33" creationId="{5AADCA6B-6E39-D9BB-DF78-CAC623313160}"/>
          </ac:spMkLst>
        </pc:spChg>
        <pc:spChg chg="mod topLvl">
          <ac:chgData name="Kateryna Levchuk (UA)" userId="5dbb0cbd-4dc1-41d4-910d-5f884aef466d" providerId="ADAL" clId="{3D0DB7AE-1BA7-45E8-B6C7-4A63B94ABB52}" dt="2024-06-10T11:55:47.086" v="1000" actId="164"/>
          <ac:spMkLst>
            <pc:docMk/>
            <pc:sldMk cId="1261692589" sldId="2147481953"/>
            <ac:spMk id="34" creationId="{C0F47930-853F-D9EF-48A7-1D6BACC41D29}"/>
          </ac:spMkLst>
        </pc:spChg>
        <pc:spChg chg="mod topLvl">
          <ac:chgData name="Kateryna Levchuk (UA)" userId="5dbb0cbd-4dc1-41d4-910d-5f884aef466d" providerId="ADAL" clId="{3D0DB7AE-1BA7-45E8-B6C7-4A63B94ABB52}" dt="2024-06-10T11:55:47.086" v="1000" actId="164"/>
          <ac:spMkLst>
            <pc:docMk/>
            <pc:sldMk cId="1261692589" sldId="2147481953"/>
            <ac:spMk id="35" creationId="{EA2DB132-FBE2-839B-BDEB-B3AE49FC28A0}"/>
          </ac:spMkLst>
        </pc:spChg>
        <pc:spChg chg="mod topLvl">
          <ac:chgData name="Kateryna Levchuk (UA)" userId="5dbb0cbd-4dc1-41d4-910d-5f884aef466d" providerId="ADAL" clId="{3D0DB7AE-1BA7-45E8-B6C7-4A63B94ABB52}" dt="2024-06-10T11:55:47.086" v="1000" actId="164"/>
          <ac:spMkLst>
            <pc:docMk/>
            <pc:sldMk cId="1261692589" sldId="2147481953"/>
            <ac:spMk id="36" creationId="{65BCD2B3-51BE-1F41-CA24-B886B1E789B7}"/>
          </ac:spMkLst>
        </pc:spChg>
        <pc:grpChg chg="add mod">
          <ac:chgData name="Kateryna Levchuk (UA)" userId="5dbb0cbd-4dc1-41d4-910d-5f884aef466d" providerId="ADAL" clId="{3D0DB7AE-1BA7-45E8-B6C7-4A63B94ABB52}" dt="2024-06-10T11:55:47.086" v="1000" actId="164"/>
          <ac:grpSpMkLst>
            <pc:docMk/>
            <pc:sldMk cId="1261692589" sldId="2147481953"/>
            <ac:grpSpMk id="8" creationId="{31AE564F-7AF8-2218-EFDF-3396876D8519}"/>
          </ac:grpSpMkLst>
        </pc:grpChg>
        <pc:grpChg chg="del">
          <ac:chgData name="Kateryna Levchuk (UA)" userId="5dbb0cbd-4dc1-41d4-910d-5f884aef466d" providerId="ADAL" clId="{3D0DB7AE-1BA7-45E8-B6C7-4A63B94ABB52}" dt="2024-06-10T11:54:35.839" v="990" actId="165"/>
          <ac:grpSpMkLst>
            <pc:docMk/>
            <pc:sldMk cId="1261692589" sldId="2147481953"/>
            <ac:grpSpMk id="22" creationId="{B9783007-E82C-FDC9-26A2-79C23C22898C}"/>
          </ac:grpSpMkLst>
        </pc:grpChg>
      </pc:sldChg>
      <pc:sldChg chg="addSp delSp modSp mod">
        <pc:chgData name="Kateryna Levchuk (UA)" userId="5dbb0cbd-4dc1-41d4-910d-5f884aef466d" providerId="ADAL" clId="{3D0DB7AE-1BA7-45E8-B6C7-4A63B94ABB52}" dt="2024-06-10T13:25:08.500" v="1040"/>
        <pc:sldMkLst>
          <pc:docMk/>
          <pc:sldMk cId="2037616446" sldId="2147481956"/>
        </pc:sldMkLst>
        <pc:spChg chg="mod">
          <ac:chgData name="Kateryna Levchuk (UA)" userId="5dbb0cbd-4dc1-41d4-910d-5f884aef466d" providerId="ADAL" clId="{3D0DB7AE-1BA7-45E8-B6C7-4A63B94ABB52}" dt="2024-06-10T10:52:35.781" v="560" actId="403"/>
          <ac:spMkLst>
            <pc:docMk/>
            <pc:sldMk cId="2037616446" sldId="2147481956"/>
            <ac:spMk id="9" creationId="{E60771D5-36B1-5846-E0FD-EE10BA67E143}"/>
          </ac:spMkLst>
        </pc:spChg>
        <pc:spChg chg="mod">
          <ac:chgData name="Kateryna Levchuk (UA)" userId="5dbb0cbd-4dc1-41d4-910d-5f884aef466d" providerId="ADAL" clId="{3D0DB7AE-1BA7-45E8-B6C7-4A63B94ABB52}" dt="2024-06-10T10:52:27.282" v="559" actId="403"/>
          <ac:spMkLst>
            <pc:docMk/>
            <pc:sldMk cId="2037616446" sldId="2147481956"/>
            <ac:spMk id="10" creationId="{0E3AF958-70C4-357F-D986-53A75E5CF63B}"/>
          </ac:spMkLst>
        </pc:spChg>
        <pc:spChg chg="mod">
          <ac:chgData name="Kateryna Levchuk (UA)" userId="5dbb0cbd-4dc1-41d4-910d-5f884aef466d" providerId="ADAL" clId="{3D0DB7AE-1BA7-45E8-B6C7-4A63B94ABB52}" dt="2024-06-10T13:25:08.500" v="1040"/>
          <ac:spMkLst>
            <pc:docMk/>
            <pc:sldMk cId="2037616446" sldId="2147481956"/>
            <ac:spMk id="27" creationId="{40C72817-0168-2147-1DC7-663B13D0836F}"/>
          </ac:spMkLst>
        </pc:spChg>
        <pc:spChg chg="mod">
          <ac:chgData name="Kateryna Levchuk (UA)" userId="5dbb0cbd-4dc1-41d4-910d-5f884aef466d" providerId="ADAL" clId="{3D0DB7AE-1BA7-45E8-B6C7-4A63B94ABB52}" dt="2024-06-10T13:25:08.500" v="1040"/>
          <ac:spMkLst>
            <pc:docMk/>
            <pc:sldMk cId="2037616446" sldId="2147481956"/>
            <ac:spMk id="28" creationId="{96B018D0-43D3-DA81-3781-CC87B8649BF5}"/>
          </ac:spMkLst>
        </pc:spChg>
        <pc:spChg chg="mod">
          <ac:chgData name="Kateryna Levchuk (UA)" userId="5dbb0cbd-4dc1-41d4-910d-5f884aef466d" providerId="ADAL" clId="{3D0DB7AE-1BA7-45E8-B6C7-4A63B94ABB52}" dt="2024-06-10T13:25:08.500" v="1040"/>
          <ac:spMkLst>
            <pc:docMk/>
            <pc:sldMk cId="2037616446" sldId="2147481956"/>
            <ac:spMk id="29" creationId="{4F15EC1D-F788-C90D-1409-3B37FFEB397E}"/>
          </ac:spMkLst>
        </pc:spChg>
        <pc:spChg chg="mod">
          <ac:chgData name="Kateryna Levchuk (UA)" userId="5dbb0cbd-4dc1-41d4-910d-5f884aef466d" providerId="ADAL" clId="{3D0DB7AE-1BA7-45E8-B6C7-4A63B94ABB52}" dt="2024-06-10T13:25:08.500" v="1040"/>
          <ac:spMkLst>
            <pc:docMk/>
            <pc:sldMk cId="2037616446" sldId="2147481956"/>
            <ac:spMk id="30" creationId="{2F2C5E84-ACA8-6A03-F7C3-80CA61A1B1D0}"/>
          </ac:spMkLst>
        </pc:spChg>
        <pc:spChg chg="mod">
          <ac:chgData name="Kateryna Levchuk (UA)" userId="5dbb0cbd-4dc1-41d4-910d-5f884aef466d" providerId="ADAL" clId="{3D0DB7AE-1BA7-45E8-B6C7-4A63B94ABB52}" dt="2024-06-10T13:25:08.500" v="1040"/>
          <ac:spMkLst>
            <pc:docMk/>
            <pc:sldMk cId="2037616446" sldId="2147481956"/>
            <ac:spMk id="31" creationId="{4181783C-25F1-DF2A-4D53-C85DB7346FCD}"/>
          </ac:spMkLst>
        </pc:spChg>
        <pc:spChg chg="mod">
          <ac:chgData name="Kateryna Levchuk (UA)" userId="5dbb0cbd-4dc1-41d4-910d-5f884aef466d" providerId="ADAL" clId="{3D0DB7AE-1BA7-45E8-B6C7-4A63B94ABB52}" dt="2024-06-10T13:25:08.500" v="1040"/>
          <ac:spMkLst>
            <pc:docMk/>
            <pc:sldMk cId="2037616446" sldId="2147481956"/>
            <ac:spMk id="32" creationId="{C1842AFC-8A41-9C27-9A53-AC3B8D57FF5F}"/>
          </ac:spMkLst>
        </pc:spChg>
        <pc:grpChg chg="add mod">
          <ac:chgData name="Kateryna Levchuk (UA)" userId="5dbb0cbd-4dc1-41d4-910d-5f884aef466d" providerId="ADAL" clId="{3D0DB7AE-1BA7-45E8-B6C7-4A63B94ABB52}" dt="2024-06-10T13:25:08.500" v="1040"/>
          <ac:grpSpMkLst>
            <pc:docMk/>
            <pc:sldMk cId="2037616446" sldId="2147481956"/>
            <ac:grpSpMk id="16" creationId="{F7BDAE4F-E10E-BB2B-3E92-8D736AFC7CBE}"/>
          </ac:grpSpMkLst>
        </pc:grpChg>
        <pc:grpChg chg="del">
          <ac:chgData name="Kateryna Levchuk (UA)" userId="5dbb0cbd-4dc1-41d4-910d-5f884aef466d" providerId="ADAL" clId="{3D0DB7AE-1BA7-45E8-B6C7-4A63B94ABB52}" dt="2024-06-10T13:24:35.571" v="1031" actId="478"/>
          <ac:grpSpMkLst>
            <pc:docMk/>
            <pc:sldMk cId="2037616446" sldId="2147481956"/>
            <ac:grpSpMk id="35" creationId="{4216885A-4A4B-1C3E-A617-B432B7DE257E}"/>
          </ac:grpSpMkLst>
        </pc:grpChg>
      </pc:sldChg>
      <pc:sldChg chg="addSp delSp modSp mod">
        <pc:chgData name="Kateryna Levchuk (UA)" userId="5dbb0cbd-4dc1-41d4-910d-5f884aef466d" providerId="ADAL" clId="{3D0DB7AE-1BA7-45E8-B6C7-4A63B94ABB52}" dt="2024-06-10T13:45:09.863" v="1275" actId="14100"/>
        <pc:sldMkLst>
          <pc:docMk/>
          <pc:sldMk cId="329214126" sldId="2147481959"/>
        </pc:sldMkLst>
        <pc:spChg chg="mod">
          <ac:chgData name="Kateryna Levchuk (UA)" userId="5dbb0cbd-4dc1-41d4-910d-5f884aef466d" providerId="ADAL" clId="{3D0DB7AE-1BA7-45E8-B6C7-4A63B94ABB52}" dt="2024-06-10T13:44:10.767" v="1265" actId="1076"/>
          <ac:spMkLst>
            <pc:docMk/>
            <pc:sldMk cId="329214126" sldId="2147481959"/>
            <ac:spMk id="2" creationId="{B1F6A68B-1597-6DFC-9E7D-71CFDA319A8C}"/>
          </ac:spMkLst>
        </pc:spChg>
        <pc:spChg chg="mod">
          <ac:chgData name="Kateryna Levchuk (UA)" userId="5dbb0cbd-4dc1-41d4-910d-5f884aef466d" providerId="ADAL" clId="{3D0DB7AE-1BA7-45E8-B6C7-4A63B94ABB52}" dt="2024-06-10T13:41:29.867" v="1189" actId="14100"/>
          <ac:spMkLst>
            <pc:docMk/>
            <pc:sldMk cId="329214126" sldId="2147481959"/>
            <ac:spMk id="5" creationId="{4698077E-5F06-B355-0606-A7F29A25D317}"/>
          </ac:spMkLst>
        </pc:spChg>
        <pc:spChg chg="mod topLvl">
          <ac:chgData name="Kateryna Levchuk (UA)" userId="5dbb0cbd-4dc1-41d4-910d-5f884aef466d" providerId="ADAL" clId="{3D0DB7AE-1BA7-45E8-B6C7-4A63B94ABB52}" dt="2024-06-10T13:30:28.513" v="1074" actId="164"/>
          <ac:spMkLst>
            <pc:docMk/>
            <pc:sldMk cId="329214126" sldId="2147481959"/>
            <ac:spMk id="8" creationId="{3DFFD00F-D0DF-7F84-FFD0-EF989C35F86B}"/>
          </ac:spMkLst>
        </pc:spChg>
        <pc:spChg chg="mod topLvl">
          <ac:chgData name="Kateryna Levchuk (UA)" userId="5dbb0cbd-4dc1-41d4-910d-5f884aef466d" providerId="ADAL" clId="{3D0DB7AE-1BA7-45E8-B6C7-4A63B94ABB52}" dt="2024-06-10T13:30:28.513" v="1074" actId="164"/>
          <ac:spMkLst>
            <pc:docMk/>
            <pc:sldMk cId="329214126" sldId="2147481959"/>
            <ac:spMk id="9" creationId="{02D61EFE-3B80-47F6-5A47-078F49031281}"/>
          </ac:spMkLst>
        </pc:spChg>
        <pc:spChg chg="mod topLvl">
          <ac:chgData name="Kateryna Levchuk (UA)" userId="5dbb0cbd-4dc1-41d4-910d-5f884aef466d" providerId="ADAL" clId="{3D0DB7AE-1BA7-45E8-B6C7-4A63B94ABB52}" dt="2024-06-10T13:30:28.513" v="1074" actId="164"/>
          <ac:spMkLst>
            <pc:docMk/>
            <pc:sldMk cId="329214126" sldId="2147481959"/>
            <ac:spMk id="10" creationId="{E7620417-CA25-4C85-685A-F9654D084E1A}"/>
          </ac:spMkLst>
        </pc:spChg>
        <pc:spChg chg="mod topLvl">
          <ac:chgData name="Kateryna Levchuk (UA)" userId="5dbb0cbd-4dc1-41d4-910d-5f884aef466d" providerId="ADAL" clId="{3D0DB7AE-1BA7-45E8-B6C7-4A63B94ABB52}" dt="2024-06-10T13:30:28.513" v="1074" actId="164"/>
          <ac:spMkLst>
            <pc:docMk/>
            <pc:sldMk cId="329214126" sldId="2147481959"/>
            <ac:spMk id="11" creationId="{416EA174-AF69-E288-DE3A-FC6ADA020D52}"/>
          </ac:spMkLst>
        </pc:spChg>
        <pc:spChg chg="mod topLvl">
          <ac:chgData name="Kateryna Levchuk (UA)" userId="5dbb0cbd-4dc1-41d4-910d-5f884aef466d" providerId="ADAL" clId="{3D0DB7AE-1BA7-45E8-B6C7-4A63B94ABB52}" dt="2024-06-10T13:30:28.513" v="1074" actId="164"/>
          <ac:spMkLst>
            <pc:docMk/>
            <pc:sldMk cId="329214126" sldId="2147481959"/>
            <ac:spMk id="12" creationId="{D704CE20-9536-92A4-D490-043CA68244AE}"/>
          </ac:spMkLst>
        </pc:spChg>
        <pc:spChg chg="mod topLvl">
          <ac:chgData name="Kateryna Levchuk (UA)" userId="5dbb0cbd-4dc1-41d4-910d-5f884aef466d" providerId="ADAL" clId="{3D0DB7AE-1BA7-45E8-B6C7-4A63B94ABB52}" dt="2024-06-10T13:30:28.513" v="1074" actId="164"/>
          <ac:spMkLst>
            <pc:docMk/>
            <pc:sldMk cId="329214126" sldId="2147481959"/>
            <ac:spMk id="13" creationId="{04A46851-83AA-438A-B9EC-DD1194BC5271}"/>
          </ac:spMkLst>
        </pc:spChg>
        <pc:spChg chg="del mod topLvl">
          <ac:chgData name="Kateryna Levchuk (UA)" userId="5dbb0cbd-4dc1-41d4-910d-5f884aef466d" providerId="ADAL" clId="{3D0DB7AE-1BA7-45E8-B6C7-4A63B94ABB52}" dt="2024-06-10T13:30:20.538" v="1073" actId="478"/>
          <ac:spMkLst>
            <pc:docMk/>
            <pc:sldMk cId="329214126" sldId="2147481959"/>
            <ac:spMk id="14" creationId="{0CBE937F-3213-6795-4DF8-1626D9DA7EFC}"/>
          </ac:spMkLst>
        </pc:spChg>
        <pc:spChg chg="mod">
          <ac:chgData name="Kateryna Levchuk (UA)" userId="5dbb0cbd-4dc1-41d4-910d-5f884aef466d" providerId="ADAL" clId="{3D0DB7AE-1BA7-45E8-B6C7-4A63B94ABB52}" dt="2024-06-10T13:43:52.309" v="1255" actId="14100"/>
          <ac:spMkLst>
            <pc:docMk/>
            <pc:sldMk cId="329214126" sldId="2147481959"/>
            <ac:spMk id="15" creationId="{59122A1E-8BC3-09F4-97FB-705F528E5398}"/>
          </ac:spMkLst>
        </pc:spChg>
        <pc:spChg chg="mod">
          <ac:chgData name="Kateryna Levchuk (UA)" userId="5dbb0cbd-4dc1-41d4-910d-5f884aef466d" providerId="ADAL" clId="{3D0DB7AE-1BA7-45E8-B6C7-4A63B94ABB52}" dt="2024-06-10T13:43:52.309" v="1255" actId="14100"/>
          <ac:spMkLst>
            <pc:docMk/>
            <pc:sldMk cId="329214126" sldId="2147481959"/>
            <ac:spMk id="16" creationId="{4C1489AC-C832-C969-96C3-5B7A4ED02FB3}"/>
          </ac:spMkLst>
        </pc:spChg>
        <pc:spChg chg="mod">
          <ac:chgData name="Kateryna Levchuk (UA)" userId="5dbb0cbd-4dc1-41d4-910d-5f884aef466d" providerId="ADAL" clId="{3D0DB7AE-1BA7-45E8-B6C7-4A63B94ABB52}" dt="2024-06-10T13:43:47.695" v="1252" actId="14100"/>
          <ac:spMkLst>
            <pc:docMk/>
            <pc:sldMk cId="329214126" sldId="2147481959"/>
            <ac:spMk id="17" creationId="{D67163D0-AFF2-0F5B-BEF8-713B9C5550B9}"/>
          </ac:spMkLst>
        </pc:spChg>
        <pc:spChg chg="mod">
          <ac:chgData name="Kateryna Levchuk (UA)" userId="5dbb0cbd-4dc1-41d4-910d-5f884aef466d" providerId="ADAL" clId="{3D0DB7AE-1BA7-45E8-B6C7-4A63B94ABB52}" dt="2024-06-10T13:43:45.188" v="1249" actId="14100"/>
          <ac:spMkLst>
            <pc:docMk/>
            <pc:sldMk cId="329214126" sldId="2147481959"/>
            <ac:spMk id="18" creationId="{D3932FD6-4833-DAF0-8321-A600DDDF2D68}"/>
          </ac:spMkLst>
        </pc:spChg>
        <pc:spChg chg="mod">
          <ac:chgData name="Kateryna Levchuk (UA)" userId="5dbb0cbd-4dc1-41d4-910d-5f884aef466d" providerId="ADAL" clId="{3D0DB7AE-1BA7-45E8-B6C7-4A63B94ABB52}" dt="2024-06-10T13:41:17.723" v="1180" actId="14100"/>
          <ac:spMkLst>
            <pc:docMk/>
            <pc:sldMk cId="329214126" sldId="2147481959"/>
            <ac:spMk id="19" creationId="{106AC05F-A272-513E-EF01-E89A9509C706}"/>
          </ac:spMkLst>
        </pc:spChg>
        <pc:spChg chg="mod">
          <ac:chgData name="Kateryna Levchuk (UA)" userId="5dbb0cbd-4dc1-41d4-910d-5f884aef466d" providerId="ADAL" clId="{3D0DB7AE-1BA7-45E8-B6C7-4A63B94ABB52}" dt="2024-06-10T13:45:09.863" v="1275" actId="14100"/>
          <ac:spMkLst>
            <pc:docMk/>
            <pc:sldMk cId="329214126" sldId="2147481959"/>
            <ac:spMk id="20" creationId="{420F2629-D747-1650-347F-99EDC0529C8F}"/>
          </ac:spMkLst>
        </pc:spChg>
        <pc:spChg chg="mod">
          <ac:chgData name="Kateryna Levchuk (UA)" userId="5dbb0cbd-4dc1-41d4-910d-5f884aef466d" providerId="ADAL" clId="{3D0DB7AE-1BA7-45E8-B6C7-4A63B94ABB52}" dt="2024-06-10T13:45:04.182" v="1274" actId="1076"/>
          <ac:spMkLst>
            <pc:docMk/>
            <pc:sldMk cId="329214126" sldId="2147481959"/>
            <ac:spMk id="21" creationId="{036DED66-E299-1067-9D43-ADF12C7A1CC7}"/>
          </ac:spMkLst>
        </pc:spChg>
        <pc:spChg chg="mod">
          <ac:chgData name="Kateryna Levchuk (UA)" userId="5dbb0cbd-4dc1-41d4-910d-5f884aef466d" providerId="ADAL" clId="{3D0DB7AE-1BA7-45E8-B6C7-4A63B94ABB52}" dt="2024-06-10T13:45:04.182" v="1274" actId="1076"/>
          <ac:spMkLst>
            <pc:docMk/>
            <pc:sldMk cId="329214126" sldId="2147481959"/>
            <ac:spMk id="22" creationId="{5945FFC4-B564-FA15-EA24-EE9B63FADFEC}"/>
          </ac:spMkLst>
        </pc:spChg>
        <pc:spChg chg="mod">
          <ac:chgData name="Kateryna Levchuk (UA)" userId="5dbb0cbd-4dc1-41d4-910d-5f884aef466d" providerId="ADAL" clId="{3D0DB7AE-1BA7-45E8-B6C7-4A63B94ABB52}" dt="2024-06-10T13:39:31.382" v="1161" actId="14100"/>
          <ac:spMkLst>
            <pc:docMk/>
            <pc:sldMk cId="329214126" sldId="2147481959"/>
            <ac:spMk id="23" creationId="{40D304C9-A45C-F440-2AD0-14A290FE5C9A}"/>
          </ac:spMkLst>
        </pc:spChg>
        <pc:spChg chg="mod">
          <ac:chgData name="Kateryna Levchuk (UA)" userId="5dbb0cbd-4dc1-41d4-910d-5f884aef466d" providerId="ADAL" clId="{3D0DB7AE-1BA7-45E8-B6C7-4A63B94ABB52}" dt="2024-06-10T13:39:40.442" v="1162" actId="1076"/>
          <ac:spMkLst>
            <pc:docMk/>
            <pc:sldMk cId="329214126" sldId="2147481959"/>
            <ac:spMk id="24" creationId="{4125062F-480F-BBF3-EB3F-3D86985D4CAF}"/>
          </ac:spMkLst>
        </pc:spChg>
        <pc:spChg chg="mod">
          <ac:chgData name="Kateryna Levchuk (UA)" userId="5dbb0cbd-4dc1-41d4-910d-5f884aef466d" providerId="ADAL" clId="{3D0DB7AE-1BA7-45E8-B6C7-4A63B94ABB52}" dt="2024-06-10T13:44:44.014" v="1269" actId="404"/>
          <ac:spMkLst>
            <pc:docMk/>
            <pc:sldMk cId="329214126" sldId="2147481959"/>
            <ac:spMk id="25" creationId="{AC45CEB6-E989-C8E7-CB62-A8DB26594D29}"/>
          </ac:spMkLst>
        </pc:spChg>
        <pc:spChg chg="mod">
          <ac:chgData name="Kateryna Levchuk (UA)" userId="5dbb0cbd-4dc1-41d4-910d-5f884aef466d" providerId="ADAL" clId="{3D0DB7AE-1BA7-45E8-B6C7-4A63B94ABB52}" dt="2024-06-10T13:42:21.729" v="1208" actId="571"/>
          <ac:spMkLst>
            <pc:docMk/>
            <pc:sldMk cId="329214126" sldId="2147481959"/>
            <ac:spMk id="30" creationId="{681CAC23-193E-418C-253D-7E560EF4DAB7}"/>
          </ac:spMkLst>
        </pc:spChg>
        <pc:spChg chg="mod">
          <ac:chgData name="Kateryna Levchuk (UA)" userId="5dbb0cbd-4dc1-41d4-910d-5f884aef466d" providerId="ADAL" clId="{3D0DB7AE-1BA7-45E8-B6C7-4A63B94ABB52}" dt="2024-06-10T13:42:21.729" v="1208" actId="571"/>
          <ac:spMkLst>
            <pc:docMk/>
            <pc:sldMk cId="329214126" sldId="2147481959"/>
            <ac:spMk id="32" creationId="{B21B6081-93A2-E5AF-DB00-8AB92C7FA71D}"/>
          </ac:spMkLst>
        </pc:spChg>
        <pc:spChg chg="mod">
          <ac:chgData name="Kateryna Levchuk (UA)" userId="5dbb0cbd-4dc1-41d4-910d-5f884aef466d" providerId="ADAL" clId="{3D0DB7AE-1BA7-45E8-B6C7-4A63B94ABB52}" dt="2024-06-10T13:41:32.304" v="1191" actId="14100"/>
          <ac:spMkLst>
            <pc:docMk/>
            <pc:sldMk cId="329214126" sldId="2147481959"/>
            <ac:spMk id="33" creationId="{5B2A4D2C-CD75-341E-580A-957F809C2018}"/>
          </ac:spMkLst>
        </pc:spChg>
        <pc:spChg chg="mod">
          <ac:chgData name="Kateryna Levchuk (UA)" userId="5dbb0cbd-4dc1-41d4-910d-5f884aef466d" providerId="ADAL" clId="{3D0DB7AE-1BA7-45E8-B6C7-4A63B94ABB52}" dt="2024-06-10T13:44:03.036" v="1264" actId="1076"/>
          <ac:spMkLst>
            <pc:docMk/>
            <pc:sldMk cId="329214126" sldId="2147481959"/>
            <ac:spMk id="37" creationId="{16C10275-D1DB-BDFC-B1ED-A4402FA73250}"/>
          </ac:spMkLst>
        </pc:spChg>
        <pc:spChg chg="mod">
          <ac:chgData name="Kateryna Levchuk (UA)" userId="5dbb0cbd-4dc1-41d4-910d-5f884aef466d" providerId="ADAL" clId="{3D0DB7AE-1BA7-45E8-B6C7-4A63B94ABB52}" dt="2024-06-10T13:44:01.376" v="1262" actId="14100"/>
          <ac:spMkLst>
            <pc:docMk/>
            <pc:sldMk cId="329214126" sldId="2147481959"/>
            <ac:spMk id="55" creationId="{01DEE395-A1D3-A782-B617-02A79709E740}"/>
          </ac:spMkLst>
        </pc:spChg>
        <pc:spChg chg="mod">
          <ac:chgData name="Kateryna Levchuk (UA)" userId="5dbb0cbd-4dc1-41d4-910d-5f884aef466d" providerId="ADAL" clId="{3D0DB7AE-1BA7-45E8-B6C7-4A63B94ABB52}" dt="2024-06-10T13:44:52.876" v="1271" actId="14100"/>
          <ac:spMkLst>
            <pc:docMk/>
            <pc:sldMk cId="329214126" sldId="2147481959"/>
            <ac:spMk id="64" creationId="{67FBBA03-31E4-D7C8-090F-638F677E6A35}"/>
          </ac:spMkLst>
        </pc:spChg>
        <pc:spChg chg="mod">
          <ac:chgData name="Kateryna Levchuk (UA)" userId="5dbb0cbd-4dc1-41d4-910d-5f884aef466d" providerId="ADAL" clId="{3D0DB7AE-1BA7-45E8-B6C7-4A63B94ABB52}" dt="2024-06-10T13:39:56.561" v="1164" actId="1076"/>
          <ac:spMkLst>
            <pc:docMk/>
            <pc:sldMk cId="329214126" sldId="2147481959"/>
            <ac:spMk id="65" creationId="{894E5700-E975-D8D2-5AD3-2E35DE8CE365}"/>
          </ac:spMkLst>
        </pc:spChg>
        <pc:spChg chg="mod">
          <ac:chgData name="Kateryna Levchuk (UA)" userId="5dbb0cbd-4dc1-41d4-910d-5f884aef466d" providerId="ADAL" clId="{3D0DB7AE-1BA7-45E8-B6C7-4A63B94ABB52}" dt="2024-06-10T13:44:40.731" v="1268" actId="404"/>
          <ac:spMkLst>
            <pc:docMk/>
            <pc:sldMk cId="329214126" sldId="2147481959"/>
            <ac:spMk id="66" creationId="{8D4E5B49-05F7-6DC9-B647-FEF3369AD289}"/>
          </ac:spMkLst>
        </pc:spChg>
        <pc:grpChg chg="add mod">
          <ac:chgData name="Kateryna Levchuk (UA)" userId="5dbb0cbd-4dc1-41d4-910d-5f884aef466d" providerId="ADAL" clId="{3D0DB7AE-1BA7-45E8-B6C7-4A63B94ABB52}" dt="2024-06-10T13:30:32.211" v="1075" actId="1076"/>
          <ac:grpSpMkLst>
            <pc:docMk/>
            <pc:sldMk cId="329214126" sldId="2147481959"/>
            <ac:grpSpMk id="3" creationId="{098D06C8-BDF3-A3DA-7D2A-F811209F6DCE}"/>
          </ac:grpSpMkLst>
        </pc:grpChg>
        <pc:grpChg chg="del">
          <ac:chgData name="Kateryna Levchuk (UA)" userId="5dbb0cbd-4dc1-41d4-910d-5f884aef466d" providerId="ADAL" clId="{3D0DB7AE-1BA7-45E8-B6C7-4A63B94ABB52}" dt="2024-06-10T13:30:17.684" v="1072" actId="165"/>
          <ac:grpSpMkLst>
            <pc:docMk/>
            <pc:sldMk cId="329214126" sldId="2147481959"/>
            <ac:grpSpMk id="7" creationId="{BCD0AA48-9F08-F075-1407-FAA6F01E4B45}"/>
          </ac:grpSpMkLst>
        </pc:grpChg>
        <pc:grpChg chg="add mod">
          <ac:chgData name="Kateryna Levchuk (UA)" userId="5dbb0cbd-4dc1-41d4-910d-5f884aef466d" providerId="ADAL" clId="{3D0DB7AE-1BA7-45E8-B6C7-4A63B94ABB52}" dt="2024-06-10T13:42:21.729" v="1208" actId="571"/>
          <ac:grpSpMkLst>
            <pc:docMk/>
            <pc:sldMk cId="329214126" sldId="2147481959"/>
            <ac:grpSpMk id="28" creationId="{23C7BB45-A763-97C1-6848-1200039566F8}"/>
          </ac:grpSpMkLst>
        </pc:grpChg>
        <pc:grpChg chg="mod">
          <ac:chgData name="Kateryna Levchuk (UA)" userId="5dbb0cbd-4dc1-41d4-910d-5f884aef466d" providerId="ADAL" clId="{3D0DB7AE-1BA7-45E8-B6C7-4A63B94ABB52}" dt="2024-06-10T13:42:21.729" v="1208" actId="571"/>
          <ac:grpSpMkLst>
            <pc:docMk/>
            <pc:sldMk cId="329214126" sldId="2147481959"/>
            <ac:grpSpMk id="29" creationId="{726D16FA-518B-0D17-C053-C6EE6B0B35CA}"/>
          </ac:grpSpMkLst>
        </pc:grpChg>
        <pc:grpChg chg="mod">
          <ac:chgData name="Kateryna Levchuk (UA)" userId="5dbb0cbd-4dc1-41d4-910d-5f884aef466d" providerId="ADAL" clId="{3D0DB7AE-1BA7-45E8-B6C7-4A63B94ABB52}" dt="2024-06-10T13:44:19.735" v="1266" actId="1076"/>
          <ac:grpSpMkLst>
            <pc:docMk/>
            <pc:sldMk cId="329214126" sldId="2147481959"/>
            <ac:grpSpMk id="74" creationId="{DC8D4467-09A5-99C5-1A03-64C59D279CAE}"/>
          </ac:grpSpMkLst>
        </pc:grpChg>
        <pc:grpChg chg="mod">
          <ac:chgData name="Kateryna Levchuk (UA)" userId="5dbb0cbd-4dc1-41d4-910d-5f884aef466d" providerId="ADAL" clId="{3D0DB7AE-1BA7-45E8-B6C7-4A63B94ABB52}" dt="2024-06-10T13:44:28.005" v="1267" actId="1076"/>
          <ac:grpSpMkLst>
            <pc:docMk/>
            <pc:sldMk cId="329214126" sldId="2147481959"/>
            <ac:grpSpMk id="79" creationId="{1F87BE46-ED96-5EBD-6F76-787AB1C42B50}"/>
          </ac:grpSpMkLst>
        </pc:grpChg>
        <pc:cxnChg chg="mod">
          <ac:chgData name="Kateryna Levchuk (UA)" userId="5dbb0cbd-4dc1-41d4-910d-5f884aef466d" providerId="ADAL" clId="{3D0DB7AE-1BA7-45E8-B6C7-4A63B94ABB52}" dt="2024-06-10T13:42:21.729" v="1208" actId="571"/>
          <ac:cxnSpMkLst>
            <pc:docMk/>
            <pc:sldMk cId="329214126" sldId="2147481959"/>
            <ac:cxnSpMk id="31" creationId="{DC0A5246-D100-A66C-50F8-1F1257E5B098}"/>
          </ac:cxnSpMkLst>
        </pc:cxnChg>
      </pc:sldChg>
      <pc:sldChg chg="addSp delSp modSp add mod">
        <pc:chgData name="Kateryna Levchuk (UA)" userId="5dbb0cbd-4dc1-41d4-910d-5f884aef466d" providerId="ADAL" clId="{3D0DB7AE-1BA7-45E8-B6C7-4A63B94ABB52}" dt="2024-06-10T13:25:14.972" v="1044"/>
        <pc:sldMkLst>
          <pc:docMk/>
          <pc:sldMk cId="2987133819" sldId="2147481961"/>
        </pc:sldMkLst>
        <pc:spChg chg="del">
          <ac:chgData name="Kateryna Levchuk (UA)" userId="5dbb0cbd-4dc1-41d4-910d-5f884aef466d" providerId="ADAL" clId="{3D0DB7AE-1BA7-45E8-B6C7-4A63B94ABB52}" dt="2024-06-10T09:24:10.577" v="2" actId="478"/>
          <ac:spMkLst>
            <pc:docMk/>
            <pc:sldMk cId="2987133819" sldId="2147481961"/>
            <ac:spMk id="5" creationId="{8F5E4F9B-4FD0-1DD2-57B2-599862CD76E9}"/>
          </ac:spMkLst>
        </pc:spChg>
        <pc:spChg chg="add del">
          <ac:chgData name="Kateryna Levchuk (UA)" userId="5dbb0cbd-4dc1-41d4-910d-5f884aef466d" providerId="ADAL" clId="{3D0DB7AE-1BA7-45E8-B6C7-4A63B94ABB52}" dt="2024-06-10T13:24:46.161" v="1035" actId="478"/>
          <ac:spMkLst>
            <pc:docMk/>
            <pc:sldMk cId="2987133819" sldId="2147481961"/>
            <ac:spMk id="10" creationId="{7610D19B-EB2C-1658-E6CA-6B8C44EAC1A8}"/>
          </ac:spMkLst>
        </pc:spChg>
        <pc:spChg chg="mod">
          <ac:chgData name="Kateryna Levchuk (UA)" userId="5dbb0cbd-4dc1-41d4-910d-5f884aef466d" providerId="ADAL" clId="{3D0DB7AE-1BA7-45E8-B6C7-4A63B94ABB52}" dt="2024-06-10T13:25:14.972" v="1044"/>
          <ac:spMkLst>
            <pc:docMk/>
            <pc:sldMk cId="2987133819" sldId="2147481961"/>
            <ac:spMk id="13" creationId="{4982B0CB-8E26-0A1D-1FDA-12CBFCBD75FC}"/>
          </ac:spMkLst>
        </pc:spChg>
        <pc:spChg chg="mod">
          <ac:chgData name="Kateryna Levchuk (UA)" userId="5dbb0cbd-4dc1-41d4-910d-5f884aef466d" providerId="ADAL" clId="{3D0DB7AE-1BA7-45E8-B6C7-4A63B94ABB52}" dt="2024-06-10T13:25:14.972" v="1044"/>
          <ac:spMkLst>
            <pc:docMk/>
            <pc:sldMk cId="2987133819" sldId="2147481961"/>
            <ac:spMk id="14" creationId="{9C74431C-200D-C465-61CC-16178A5C5A23}"/>
          </ac:spMkLst>
        </pc:spChg>
        <pc:spChg chg="mod">
          <ac:chgData name="Kateryna Levchuk (UA)" userId="5dbb0cbd-4dc1-41d4-910d-5f884aef466d" providerId="ADAL" clId="{3D0DB7AE-1BA7-45E8-B6C7-4A63B94ABB52}" dt="2024-06-10T10:30:24.764" v="270" actId="1076"/>
          <ac:spMkLst>
            <pc:docMk/>
            <pc:sldMk cId="2987133819" sldId="2147481961"/>
            <ac:spMk id="15" creationId="{646673C4-B9B9-74BB-E212-CD6427C9067F}"/>
          </ac:spMkLst>
        </pc:spChg>
        <pc:spChg chg="mod">
          <ac:chgData name="Kateryna Levchuk (UA)" userId="5dbb0cbd-4dc1-41d4-910d-5f884aef466d" providerId="ADAL" clId="{3D0DB7AE-1BA7-45E8-B6C7-4A63B94ABB52}" dt="2024-06-10T13:25:14.972" v="1044"/>
          <ac:spMkLst>
            <pc:docMk/>
            <pc:sldMk cId="2987133819" sldId="2147481961"/>
            <ac:spMk id="17" creationId="{681B4A72-B2C5-25CA-F74F-4F1BCFE52EAB}"/>
          </ac:spMkLst>
        </pc:spChg>
        <pc:spChg chg="mod">
          <ac:chgData name="Kateryna Levchuk (UA)" userId="5dbb0cbd-4dc1-41d4-910d-5f884aef466d" providerId="ADAL" clId="{3D0DB7AE-1BA7-45E8-B6C7-4A63B94ABB52}" dt="2024-06-10T13:25:14.972" v="1044"/>
          <ac:spMkLst>
            <pc:docMk/>
            <pc:sldMk cId="2987133819" sldId="2147481961"/>
            <ac:spMk id="18" creationId="{D28B2455-260B-7B67-A5EB-B46628345014}"/>
          </ac:spMkLst>
        </pc:spChg>
        <pc:spChg chg="mod">
          <ac:chgData name="Kateryna Levchuk (UA)" userId="5dbb0cbd-4dc1-41d4-910d-5f884aef466d" providerId="ADAL" clId="{3D0DB7AE-1BA7-45E8-B6C7-4A63B94ABB52}" dt="2024-06-10T13:25:14.972" v="1044"/>
          <ac:spMkLst>
            <pc:docMk/>
            <pc:sldMk cId="2987133819" sldId="2147481961"/>
            <ac:spMk id="19" creationId="{6FEDA6F8-B45B-97C1-BECC-19EF93499038}"/>
          </ac:spMkLst>
        </pc:spChg>
        <pc:spChg chg="mod">
          <ac:chgData name="Kateryna Levchuk (UA)" userId="5dbb0cbd-4dc1-41d4-910d-5f884aef466d" providerId="ADAL" clId="{3D0DB7AE-1BA7-45E8-B6C7-4A63B94ABB52}" dt="2024-06-10T13:25:14.972" v="1044"/>
          <ac:spMkLst>
            <pc:docMk/>
            <pc:sldMk cId="2987133819" sldId="2147481961"/>
            <ac:spMk id="20" creationId="{85C15322-DB01-7F79-B529-7C91BF2B3E1E}"/>
          </ac:spMkLst>
        </pc:spChg>
        <pc:spChg chg="mod">
          <ac:chgData name="Kateryna Levchuk (UA)" userId="5dbb0cbd-4dc1-41d4-910d-5f884aef466d" providerId="ADAL" clId="{3D0DB7AE-1BA7-45E8-B6C7-4A63B94ABB52}" dt="2024-06-10T10:32:15.864" v="287" actId="1076"/>
          <ac:spMkLst>
            <pc:docMk/>
            <pc:sldMk cId="2987133819" sldId="2147481961"/>
            <ac:spMk id="51" creationId="{2F6DC4B8-9940-E974-DFE7-A68FEC09CF64}"/>
          </ac:spMkLst>
        </pc:spChg>
        <pc:spChg chg="mod">
          <ac:chgData name="Kateryna Levchuk (UA)" userId="5dbb0cbd-4dc1-41d4-910d-5f884aef466d" providerId="ADAL" clId="{3D0DB7AE-1BA7-45E8-B6C7-4A63B94ABB52}" dt="2024-06-10T10:30:13.104" v="268" actId="14100"/>
          <ac:spMkLst>
            <pc:docMk/>
            <pc:sldMk cId="2987133819" sldId="2147481961"/>
            <ac:spMk id="52" creationId="{754EAF21-8364-40B5-103F-C971798338FA}"/>
          </ac:spMkLst>
        </pc:spChg>
        <pc:spChg chg="mod">
          <ac:chgData name="Kateryna Levchuk (UA)" userId="5dbb0cbd-4dc1-41d4-910d-5f884aef466d" providerId="ADAL" clId="{3D0DB7AE-1BA7-45E8-B6C7-4A63B94ABB52}" dt="2024-06-10T10:28:27.347" v="253" actId="1076"/>
          <ac:spMkLst>
            <pc:docMk/>
            <pc:sldMk cId="2987133819" sldId="2147481961"/>
            <ac:spMk id="53" creationId="{6E6AD103-92DC-77F5-2DD7-C9640CA704CA}"/>
          </ac:spMkLst>
        </pc:spChg>
        <pc:spChg chg="mod">
          <ac:chgData name="Kateryna Levchuk (UA)" userId="5dbb0cbd-4dc1-41d4-910d-5f884aef466d" providerId="ADAL" clId="{3D0DB7AE-1BA7-45E8-B6C7-4A63B94ABB52}" dt="2024-06-10T10:25:56.506" v="236" actId="1076"/>
          <ac:spMkLst>
            <pc:docMk/>
            <pc:sldMk cId="2987133819" sldId="2147481961"/>
            <ac:spMk id="54" creationId="{4CD0B799-859D-8D06-4ACC-37DFFC5D70E2}"/>
          </ac:spMkLst>
        </pc:spChg>
        <pc:spChg chg="mod">
          <ac:chgData name="Kateryna Levchuk (UA)" userId="5dbb0cbd-4dc1-41d4-910d-5f884aef466d" providerId="ADAL" clId="{3D0DB7AE-1BA7-45E8-B6C7-4A63B94ABB52}" dt="2024-06-10T10:27:35.103" v="246" actId="1076"/>
          <ac:spMkLst>
            <pc:docMk/>
            <pc:sldMk cId="2987133819" sldId="2147481961"/>
            <ac:spMk id="59" creationId="{CE37DEFD-F7E1-1D17-896D-4B833690D0B7}"/>
          </ac:spMkLst>
        </pc:spChg>
        <pc:spChg chg="mod">
          <ac:chgData name="Kateryna Levchuk (UA)" userId="5dbb0cbd-4dc1-41d4-910d-5f884aef466d" providerId="ADAL" clId="{3D0DB7AE-1BA7-45E8-B6C7-4A63B94ABB52}" dt="2024-06-10T10:29:52.725" v="265" actId="1076"/>
          <ac:spMkLst>
            <pc:docMk/>
            <pc:sldMk cId="2987133819" sldId="2147481961"/>
            <ac:spMk id="60" creationId="{F3A9469B-C6D4-CEE4-8E04-A57D05ED614E}"/>
          </ac:spMkLst>
        </pc:spChg>
        <pc:spChg chg="mod">
          <ac:chgData name="Kateryna Levchuk (UA)" userId="5dbb0cbd-4dc1-41d4-910d-5f884aef466d" providerId="ADAL" clId="{3D0DB7AE-1BA7-45E8-B6C7-4A63B94ABB52}" dt="2024-06-10T10:26:31.579" v="240" actId="1076"/>
          <ac:spMkLst>
            <pc:docMk/>
            <pc:sldMk cId="2987133819" sldId="2147481961"/>
            <ac:spMk id="61" creationId="{9BADE996-6B0E-D4E1-5041-CC505899D892}"/>
          </ac:spMkLst>
        </pc:spChg>
        <pc:spChg chg="mod">
          <ac:chgData name="Kateryna Levchuk (UA)" userId="5dbb0cbd-4dc1-41d4-910d-5f884aef466d" providerId="ADAL" clId="{3D0DB7AE-1BA7-45E8-B6C7-4A63B94ABB52}" dt="2024-06-10T10:00:08.293" v="172" actId="14100"/>
          <ac:spMkLst>
            <pc:docMk/>
            <pc:sldMk cId="2987133819" sldId="2147481961"/>
            <ac:spMk id="62" creationId="{5FAADB15-4E21-3C09-8DC6-C494DF454908}"/>
          </ac:spMkLst>
        </pc:spChg>
        <pc:spChg chg="mod">
          <ac:chgData name="Kateryna Levchuk (UA)" userId="5dbb0cbd-4dc1-41d4-910d-5f884aef466d" providerId="ADAL" clId="{3D0DB7AE-1BA7-45E8-B6C7-4A63B94ABB52}" dt="2024-06-10T10:30:36.206" v="272" actId="1076"/>
          <ac:spMkLst>
            <pc:docMk/>
            <pc:sldMk cId="2987133819" sldId="2147481961"/>
            <ac:spMk id="70" creationId="{3F316D1B-3703-9EE0-5513-9FC627F0D3C4}"/>
          </ac:spMkLst>
        </pc:spChg>
        <pc:spChg chg="mod">
          <ac:chgData name="Kateryna Levchuk (UA)" userId="5dbb0cbd-4dc1-41d4-910d-5f884aef466d" providerId="ADAL" clId="{3D0DB7AE-1BA7-45E8-B6C7-4A63B94ABB52}" dt="2024-06-10T10:11:06.973" v="225" actId="196"/>
          <ac:spMkLst>
            <pc:docMk/>
            <pc:sldMk cId="2987133819" sldId="2147481961"/>
            <ac:spMk id="86" creationId="{648F3B61-9E01-3FED-9478-2DF9456AD92A}"/>
          </ac:spMkLst>
        </pc:spChg>
        <pc:spChg chg="mod">
          <ac:chgData name="Kateryna Levchuk (UA)" userId="5dbb0cbd-4dc1-41d4-910d-5f884aef466d" providerId="ADAL" clId="{3D0DB7AE-1BA7-45E8-B6C7-4A63B94ABB52}" dt="2024-06-10T10:11:06.973" v="225" actId="196"/>
          <ac:spMkLst>
            <pc:docMk/>
            <pc:sldMk cId="2987133819" sldId="2147481961"/>
            <ac:spMk id="87" creationId="{42505ED0-AC34-45B6-C247-BB91AC54A687}"/>
          </ac:spMkLst>
        </pc:spChg>
        <pc:spChg chg="mod">
          <ac:chgData name="Kateryna Levchuk (UA)" userId="5dbb0cbd-4dc1-41d4-910d-5f884aef466d" providerId="ADAL" clId="{3D0DB7AE-1BA7-45E8-B6C7-4A63B94ABB52}" dt="2024-06-10T10:11:06.973" v="225" actId="196"/>
          <ac:spMkLst>
            <pc:docMk/>
            <pc:sldMk cId="2987133819" sldId="2147481961"/>
            <ac:spMk id="88" creationId="{B91EEFEC-A7F9-6A62-0B87-F926087694FF}"/>
          </ac:spMkLst>
        </pc:spChg>
        <pc:grpChg chg="add mod">
          <ac:chgData name="Kateryna Levchuk (UA)" userId="5dbb0cbd-4dc1-41d4-910d-5f884aef466d" providerId="ADAL" clId="{3D0DB7AE-1BA7-45E8-B6C7-4A63B94ABB52}" dt="2024-06-10T13:25:14.972" v="1044"/>
          <ac:grpSpMkLst>
            <pc:docMk/>
            <pc:sldMk cId="2987133819" sldId="2147481961"/>
            <ac:grpSpMk id="6" creationId="{D8542C70-6D2C-37FF-2344-13D6E43F02FB}"/>
          </ac:grpSpMkLst>
        </pc:grpChg>
        <pc:grpChg chg="del">
          <ac:chgData name="Kateryna Levchuk (UA)" userId="5dbb0cbd-4dc1-41d4-910d-5f884aef466d" providerId="ADAL" clId="{3D0DB7AE-1BA7-45E8-B6C7-4A63B94ABB52}" dt="2024-06-10T13:24:47.819" v="1036" actId="478"/>
          <ac:grpSpMkLst>
            <pc:docMk/>
            <pc:sldMk cId="2987133819" sldId="2147481961"/>
            <ac:grpSpMk id="24" creationId="{F563CE39-E9A0-FC8F-917A-CBE225CFC4D4}"/>
          </ac:grpSpMkLst>
        </pc:grpChg>
        <pc:grpChg chg="mod">
          <ac:chgData name="Kateryna Levchuk (UA)" userId="5dbb0cbd-4dc1-41d4-910d-5f884aef466d" providerId="ADAL" clId="{3D0DB7AE-1BA7-45E8-B6C7-4A63B94ABB52}" dt="2024-06-10T10:11:06.973" v="225" actId="196"/>
          <ac:grpSpMkLst>
            <pc:docMk/>
            <pc:sldMk cId="2987133819" sldId="2147481961"/>
            <ac:grpSpMk id="50" creationId="{35EBB9EC-EE3B-02CA-F3CD-1BDA4B3D07E0}"/>
          </ac:grpSpMkLst>
        </pc:grpChg>
        <pc:grpChg chg="mod">
          <ac:chgData name="Kateryna Levchuk (UA)" userId="5dbb0cbd-4dc1-41d4-910d-5f884aef466d" providerId="ADAL" clId="{3D0DB7AE-1BA7-45E8-B6C7-4A63B94ABB52}" dt="2024-06-10T10:30:04.649" v="266" actId="1076"/>
          <ac:grpSpMkLst>
            <pc:docMk/>
            <pc:sldMk cId="2987133819" sldId="2147481961"/>
            <ac:grpSpMk id="55" creationId="{5A08E9D9-732E-C3C0-E6FC-71325A279E1C}"/>
          </ac:grpSpMkLst>
        </pc:grpChg>
        <pc:grpChg chg="mod">
          <ac:chgData name="Kateryna Levchuk (UA)" userId="5dbb0cbd-4dc1-41d4-910d-5f884aef466d" providerId="ADAL" clId="{3D0DB7AE-1BA7-45E8-B6C7-4A63B94ABB52}" dt="2024-06-10T10:26:02.727" v="237" actId="1076"/>
          <ac:grpSpMkLst>
            <pc:docMk/>
            <pc:sldMk cId="2987133819" sldId="2147481961"/>
            <ac:grpSpMk id="56" creationId="{AA7B7E6B-8319-0E2B-CC1C-1DB84B6C9107}"/>
          </ac:grpSpMkLst>
        </pc:grpChg>
        <pc:grpChg chg="mod">
          <ac:chgData name="Kateryna Levchuk (UA)" userId="5dbb0cbd-4dc1-41d4-910d-5f884aef466d" providerId="ADAL" clId="{3D0DB7AE-1BA7-45E8-B6C7-4A63B94ABB52}" dt="2024-06-10T10:32:01.372" v="285" actId="1076"/>
          <ac:grpSpMkLst>
            <pc:docMk/>
            <pc:sldMk cId="2987133819" sldId="2147481961"/>
            <ac:grpSpMk id="57" creationId="{BA1ACCB5-893B-3A37-D18B-1A8EB31DFE03}"/>
          </ac:grpSpMkLst>
        </pc:grpChg>
        <pc:grpChg chg="mod">
          <ac:chgData name="Kateryna Levchuk (UA)" userId="5dbb0cbd-4dc1-41d4-910d-5f884aef466d" providerId="ADAL" clId="{3D0DB7AE-1BA7-45E8-B6C7-4A63B94ABB52}" dt="2024-06-10T10:28:43.360" v="254" actId="1076"/>
          <ac:grpSpMkLst>
            <pc:docMk/>
            <pc:sldMk cId="2987133819" sldId="2147481961"/>
            <ac:grpSpMk id="58" creationId="{6EC27B63-BDDA-61E7-C413-9296D3BA9668}"/>
          </ac:grpSpMkLst>
        </pc:grpChg>
        <pc:grpChg chg="mod">
          <ac:chgData name="Kateryna Levchuk (UA)" userId="5dbb0cbd-4dc1-41d4-910d-5f884aef466d" providerId="ADAL" clId="{3D0DB7AE-1BA7-45E8-B6C7-4A63B94ABB52}" dt="2024-06-10T09:59:30.966" v="166" actId="1076"/>
          <ac:grpSpMkLst>
            <pc:docMk/>
            <pc:sldMk cId="2987133819" sldId="2147481961"/>
            <ac:grpSpMk id="63" creationId="{1B8D2600-D139-04F3-5D68-144782AFE9F1}"/>
          </ac:grpSpMkLst>
        </pc:grpChg>
        <pc:grpChg chg="mod">
          <ac:chgData name="Kateryna Levchuk (UA)" userId="5dbb0cbd-4dc1-41d4-910d-5f884aef466d" providerId="ADAL" clId="{3D0DB7AE-1BA7-45E8-B6C7-4A63B94ABB52}" dt="2024-06-10T10:29:37.991" v="262" actId="1076"/>
          <ac:grpSpMkLst>
            <pc:docMk/>
            <pc:sldMk cId="2987133819" sldId="2147481961"/>
            <ac:grpSpMk id="64" creationId="{61A85F62-FF91-BD23-93B9-59A5FDE686AE}"/>
          </ac:grpSpMkLst>
        </pc:grpChg>
      </pc:sldChg>
      <pc:sldChg chg="addSp modSp">
        <pc:chgData name="Kateryna Levchuk (UA)" userId="5dbb0cbd-4dc1-41d4-910d-5f884aef466d" providerId="ADAL" clId="{3D0DB7AE-1BA7-45E8-B6C7-4A63B94ABB52}" dt="2024-06-10T11:56:09.668" v="1006"/>
        <pc:sldMkLst>
          <pc:docMk/>
          <pc:sldMk cId="1527880861" sldId="2147481962"/>
        </pc:sldMkLst>
        <pc:spChg chg="mod">
          <ac:chgData name="Kateryna Levchuk (UA)" userId="5dbb0cbd-4dc1-41d4-910d-5f884aef466d" providerId="ADAL" clId="{3D0DB7AE-1BA7-45E8-B6C7-4A63B94ABB52}" dt="2024-06-10T11:56:09.668" v="1006"/>
          <ac:spMkLst>
            <pc:docMk/>
            <pc:sldMk cId="1527880861" sldId="2147481962"/>
            <ac:spMk id="4" creationId="{43330872-D27D-F3A1-95D2-5BE4E3008F65}"/>
          </ac:spMkLst>
        </pc:spChg>
        <pc:spChg chg="mod">
          <ac:chgData name="Kateryna Levchuk (UA)" userId="5dbb0cbd-4dc1-41d4-910d-5f884aef466d" providerId="ADAL" clId="{3D0DB7AE-1BA7-45E8-B6C7-4A63B94ABB52}" dt="2024-06-10T11:56:09.668" v="1006"/>
          <ac:spMkLst>
            <pc:docMk/>
            <pc:sldMk cId="1527880861" sldId="2147481962"/>
            <ac:spMk id="5" creationId="{6D71C6C4-7684-BC9D-B75C-C257983AD7E0}"/>
          </ac:spMkLst>
        </pc:spChg>
        <pc:spChg chg="mod">
          <ac:chgData name="Kateryna Levchuk (UA)" userId="5dbb0cbd-4dc1-41d4-910d-5f884aef466d" providerId="ADAL" clId="{3D0DB7AE-1BA7-45E8-B6C7-4A63B94ABB52}" dt="2024-06-10T11:56:09.668" v="1006"/>
          <ac:spMkLst>
            <pc:docMk/>
            <pc:sldMk cId="1527880861" sldId="2147481962"/>
            <ac:spMk id="6" creationId="{0BA0293A-22D0-B783-C1AA-0D38BE6724EC}"/>
          </ac:spMkLst>
        </pc:spChg>
        <pc:spChg chg="mod">
          <ac:chgData name="Kateryna Levchuk (UA)" userId="5dbb0cbd-4dc1-41d4-910d-5f884aef466d" providerId="ADAL" clId="{3D0DB7AE-1BA7-45E8-B6C7-4A63B94ABB52}" dt="2024-06-10T11:56:09.668" v="1006"/>
          <ac:spMkLst>
            <pc:docMk/>
            <pc:sldMk cId="1527880861" sldId="2147481962"/>
            <ac:spMk id="8" creationId="{0551F53E-BCD3-E8A6-3736-9DA95DFBC0B7}"/>
          </ac:spMkLst>
        </pc:spChg>
        <pc:spChg chg="mod">
          <ac:chgData name="Kateryna Levchuk (UA)" userId="5dbb0cbd-4dc1-41d4-910d-5f884aef466d" providerId="ADAL" clId="{3D0DB7AE-1BA7-45E8-B6C7-4A63B94ABB52}" dt="2024-06-10T11:56:09.668" v="1006"/>
          <ac:spMkLst>
            <pc:docMk/>
            <pc:sldMk cId="1527880861" sldId="2147481962"/>
            <ac:spMk id="9" creationId="{50578BE8-D1A1-88A9-5335-3EAB03A09671}"/>
          </ac:spMkLst>
        </pc:spChg>
        <pc:spChg chg="mod">
          <ac:chgData name="Kateryna Levchuk (UA)" userId="5dbb0cbd-4dc1-41d4-910d-5f884aef466d" providerId="ADAL" clId="{3D0DB7AE-1BA7-45E8-B6C7-4A63B94ABB52}" dt="2024-06-10T11:56:09.668" v="1006"/>
          <ac:spMkLst>
            <pc:docMk/>
            <pc:sldMk cId="1527880861" sldId="2147481962"/>
            <ac:spMk id="10" creationId="{50BE4780-E61C-31B4-1ACF-27C5F7103AC4}"/>
          </ac:spMkLst>
        </pc:spChg>
        <pc:spChg chg="mod">
          <ac:chgData name="Kateryna Levchuk (UA)" userId="5dbb0cbd-4dc1-41d4-910d-5f884aef466d" providerId="ADAL" clId="{3D0DB7AE-1BA7-45E8-B6C7-4A63B94ABB52}" dt="2024-06-10T11:56:09.668" v="1006"/>
          <ac:spMkLst>
            <pc:docMk/>
            <pc:sldMk cId="1527880861" sldId="2147481962"/>
            <ac:spMk id="11" creationId="{7FA87CEC-7AB3-0FB4-8474-060F6EEFB071}"/>
          </ac:spMkLst>
        </pc:spChg>
        <pc:grpChg chg="add mod">
          <ac:chgData name="Kateryna Levchuk (UA)" userId="5dbb0cbd-4dc1-41d4-910d-5f884aef466d" providerId="ADAL" clId="{3D0DB7AE-1BA7-45E8-B6C7-4A63B94ABB52}" dt="2024-06-10T11:56:09.668" v="1006"/>
          <ac:grpSpMkLst>
            <pc:docMk/>
            <pc:sldMk cId="1527880861" sldId="2147481962"/>
            <ac:grpSpMk id="2" creationId="{ECAE55E1-A001-CEFC-4B22-12C7E105490E}"/>
          </ac:grpSpMkLst>
        </pc:grpChg>
      </pc:sldChg>
      <pc:sldChg chg="addSp modSp">
        <pc:chgData name="Kateryna Levchuk (UA)" userId="5dbb0cbd-4dc1-41d4-910d-5f884aef466d" providerId="ADAL" clId="{3D0DB7AE-1BA7-45E8-B6C7-4A63B94ABB52}" dt="2024-06-10T11:56:11.734" v="1007"/>
        <pc:sldMkLst>
          <pc:docMk/>
          <pc:sldMk cId="3140329955" sldId="2147481963"/>
        </pc:sldMkLst>
        <pc:spChg chg="mod">
          <ac:chgData name="Kateryna Levchuk (UA)" userId="5dbb0cbd-4dc1-41d4-910d-5f884aef466d" providerId="ADAL" clId="{3D0DB7AE-1BA7-45E8-B6C7-4A63B94ABB52}" dt="2024-06-10T11:56:11.734" v="1007"/>
          <ac:spMkLst>
            <pc:docMk/>
            <pc:sldMk cId="3140329955" sldId="2147481963"/>
            <ac:spMk id="4" creationId="{DF8C69DC-17C1-3195-057E-9F0624CA0DBC}"/>
          </ac:spMkLst>
        </pc:spChg>
        <pc:spChg chg="mod">
          <ac:chgData name="Kateryna Levchuk (UA)" userId="5dbb0cbd-4dc1-41d4-910d-5f884aef466d" providerId="ADAL" clId="{3D0DB7AE-1BA7-45E8-B6C7-4A63B94ABB52}" dt="2024-06-10T11:56:11.734" v="1007"/>
          <ac:spMkLst>
            <pc:docMk/>
            <pc:sldMk cId="3140329955" sldId="2147481963"/>
            <ac:spMk id="5" creationId="{3B8A3C94-7C8D-8519-03BA-4A78679C9CE7}"/>
          </ac:spMkLst>
        </pc:spChg>
        <pc:spChg chg="mod">
          <ac:chgData name="Kateryna Levchuk (UA)" userId="5dbb0cbd-4dc1-41d4-910d-5f884aef466d" providerId="ADAL" clId="{3D0DB7AE-1BA7-45E8-B6C7-4A63B94ABB52}" dt="2024-06-10T11:56:11.734" v="1007"/>
          <ac:spMkLst>
            <pc:docMk/>
            <pc:sldMk cId="3140329955" sldId="2147481963"/>
            <ac:spMk id="6" creationId="{C8E062A3-CD48-7056-80FE-2725FD0A290C}"/>
          </ac:spMkLst>
        </pc:spChg>
        <pc:spChg chg="mod">
          <ac:chgData name="Kateryna Levchuk (UA)" userId="5dbb0cbd-4dc1-41d4-910d-5f884aef466d" providerId="ADAL" clId="{3D0DB7AE-1BA7-45E8-B6C7-4A63B94ABB52}" dt="2024-06-10T11:56:11.734" v="1007"/>
          <ac:spMkLst>
            <pc:docMk/>
            <pc:sldMk cId="3140329955" sldId="2147481963"/>
            <ac:spMk id="8" creationId="{7D9B02D0-FA72-8213-6EAA-69E56B433B60}"/>
          </ac:spMkLst>
        </pc:spChg>
        <pc:spChg chg="mod">
          <ac:chgData name="Kateryna Levchuk (UA)" userId="5dbb0cbd-4dc1-41d4-910d-5f884aef466d" providerId="ADAL" clId="{3D0DB7AE-1BA7-45E8-B6C7-4A63B94ABB52}" dt="2024-06-10T11:56:11.734" v="1007"/>
          <ac:spMkLst>
            <pc:docMk/>
            <pc:sldMk cId="3140329955" sldId="2147481963"/>
            <ac:spMk id="9" creationId="{8FC8408B-57CC-06D8-7D9A-309A5E5CA2A3}"/>
          </ac:spMkLst>
        </pc:spChg>
        <pc:spChg chg="mod">
          <ac:chgData name="Kateryna Levchuk (UA)" userId="5dbb0cbd-4dc1-41d4-910d-5f884aef466d" providerId="ADAL" clId="{3D0DB7AE-1BA7-45E8-B6C7-4A63B94ABB52}" dt="2024-06-10T11:56:11.734" v="1007"/>
          <ac:spMkLst>
            <pc:docMk/>
            <pc:sldMk cId="3140329955" sldId="2147481963"/>
            <ac:spMk id="10" creationId="{63F5CE96-13F8-ED02-B713-F5FD4280B1D6}"/>
          </ac:spMkLst>
        </pc:spChg>
        <pc:spChg chg="mod">
          <ac:chgData name="Kateryna Levchuk (UA)" userId="5dbb0cbd-4dc1-41d4-910d-5f884aef466d" providerId="ADAL" clId="{3D0DB7AE-1BA7-45E8-B6C7-4A63B94ABB52}" dt="2024-06-10T11:56:11.734" v="1007"/>
          <ac:spMkLst>
            <pc:docMk/>
            <pc:sldMk cId="3140329955" sldId="2147481963"/>
            <ac:spMk id="11" creationId="{4DFC66AE-B5DB-09EE-9021-A1175820FA51}"/>
          </ac:spMkLst>
        </pc:spChg>
        <pc:grpChg chg="add mod">
          <ac:chgData name="Kateryna Levchuk (UA)" userId="5dbb0cbd-4dc1-41d4-910d-5f884aef466d" providerId="ADAL" clId="{3D0DB7AE-1BA7-45E8-B6C7-4A63B94ABB52}" dt="2024-06-10T11:56:11.734" v="1007"/>
          <ac:grpSpMkLst>
            <pc:docMk/>
            <pc:sldMk cId="3140329955" sldId="2147481963"/>
            <ac:grpSpMk id="2" creationId="{837E6BD3-01FD-8171-7D26-B95141EA14C9}"/>
          </ac:grpSpMkLst>
        </pc:grpChg>
      </pc:sldChg>
      <pc:sldChg chg="addSp delSp modSp add mod">
        <pc:chgData name="Kateryna Levchuk (UA)" userId="5dbb0cbd-4dc1-41d4-910d-5f884aef466d" providerId="ADAL" clId="{3D0DB7AE-1BA7-45E8-B6C7-4A63B94ABB52}" dt="2024-06-10T13:25:10.252" v="1041"/>
        <pc:sldMkLst>
          <pc:docMk/>
          <pc:sldMk cId="2374614574" sldId="2147481964"/>
        </pc:sldMkLst>
        <pc:spChg chg="add mod">
          <ac:chgData name="Kateryna Levchuk (UA)" userId="5dbb0cbd-4dc1-41d4-910d-5f884aef466d" providerId="ADAL" clId="{3D0DB7AE-1BA7-45E8-B6C7-4A63B94ABB52}" dt="2024-06-10T10:48:56.112" v="507" actId="14100"/>
          <ac:spMkLst>
            <pc:docMk/>
            <pc:sldMk cId="2374614574" sldId="2147481964"/>
            <ac:spMk id="4" creationId="{25A187D6-C46F-CFDF-7C76-C02C3DA02A97}"/>
          </ac:spMkLst>
        </pc:spChg>
        <pc:spChg chg="del">
          <ac:chgData name="Kateryna Levchuk (UA)" userId="5dbb0cbd-4dc1-41d4-910d-5f884aef466d" providerId="ADAL" clId="{3D0DB7AE-1BA7-45E8-B6C7-4A63B94ABB52}" dt="2024-06-10T10:32:53.615" v="289" actId="478"/>
          <ac:spMkLst>
            <pc:docMk/>
            <pc:sldMk cId="2374614574" sldId="2147481964"/>
            <ac:spMk id="6" creationId="{9E46D0B5-F361-0943-4454-3E5586C21CCA}"/>
          </ac:spMkLst>
        </pc:spChg>
        <pc:spChg chg="mod">
          <ac:chgData name="Kateryna Levchuk (UA)" userId="5dbb0cbd-4dc1-41d4-910d-5f884aef466d" providerId="ADAL" clId="{3D0DB7AE-1BA7-45E8-B6C7-4A63B94ABB52}" dt="2024-06-10T10:33:06.002" v="291" actId="403"/>
          <ac:spMkLst>
            <pc:docMk/>
            <pc:sldMk cId="2374614574" sldId="2147481964"/>
            <ac:spMk id="9" creationId="{E60771D5-36B1-5846-E0FD-EE10BA67E143}"/>
          </ac:spMkLst>
        </pc:spChg>
        <pc:spChg chg="mod">
          <ac:chgData name="Kateryna Levchuk (UA)" userId="5dbb0cbd-4dc1-41d4-910d-5f884aef466d" providerId="ADAL" clId="{3D0DB7AE-1BA7-45E8-B6C7-4A63B94ABB52}" dt="2024-06-10T10:33:03.152" v="290" actId="403"/>
          <ac:spMkLst>
            <pc:docMk/>
            <pc:sldMk cId="2374614574" sldId="2147481964"/>
            <ac:spMk id="10" creationId="{0E3AF958-70C4-357F-D986-53A75E5CF63B}"/>
          </ac:spMkLst>
        </pc:spChg>
        <pc:spChg chg="del">
          <ac:chgData name="Kateryna Levchuk (UA)" userId="5dbb0cbd-4dc1-41d4-910d-5f884aef466d" providerId="ADAL" clId="{3D0DB7AE-1BA7-45E8-B6C7-4A63B94ABB52}" dt="2024-06-10T10:33:20.279" v="293" actId="478"/>
          <ac:spMkLst>
            <pc:docMk/>
            <pc:sldMk cId="2374614574" sldId="2147481964"/>
            <ac:spMk id="19" creationId="{3A07BD72-5576-53C1-BD24-E93959AEEC0C}"/>
          </ac:spMkLst>
        </pc:spChg>
        <pc:spChg chg="del">
          <ac:chgData name="Kateryna Levchuk (UA)" userId="5dbb0cbd-4dc1-41d4-910d-5f884aef466d" providerId="ADAL" clId="{3D0DB7AE-1BA7-45E8-B6C7-4A63B94ABB52}" dt="2024-06-10T10:33:21.198" v="294" actId="478"/>
          <ac:spMkLst>
            <pc:docMk/>
            <pc:sldMk cId="2374614574" sldId="2147481964"/>
            <ac:spMk id="20" creationId="{65DB62E6-BFFA-886D-687D-AC30DD6D33FB}"/>
          </ac:spMkLst>
        </pc:spChg>
        <pc:spChg chg="mod">
          <ac:chgData name="Kateryna Levchuk (UA)" userId="5dbb0cbd-4dc1-41d4-910d-5f884aef466d" providerId="ADAL" clId="{3D0DB7AE-1BA7-45E8-B6C7-4A63B94ABB52}" dt="2024-06-10T10:33:17.878" v="292"/>
          <ac:spMkLst>
            <pc:docMk/>
            <pc:sldMk cId="2374614574" sldId="2147481964"/>
            <ac:spMk id="26" creationId="{F31A449E-BB32-1C78-9F6C-07B64EDD22CF}"/>
          </ac:spMkLst>
        </pc:spChg>
        <pc:spChg chg="mod">
          <ac:chgData name="Kateryna Levchuk (UA)" userId="5dbb0cbd-4dc1-41d4-910d-5f884aef466d" providerId="ADAL" clId="{3D0DB7AE-1BA7-45E8-B6C7-4A63B94ABB52}" dt="2024-06-10T10:33:17.878" v="292"/>
          <ac:spMkLst>
            <pc:docMk/>
            <pc:sldMk cId="2374614574" sldId="2147481964"/>
            <ac:spMk id="27" creationId="{F2C91D2E-F199-00D4-8607-ECA823B4FEE8}"/>
          </ac:spMkLst>
        </pc:spChg>
        <pc:spChg chg="add mod">
          <ac:chgData name="Kateryna Levchuk (UA)" userId="5dbb0cbd-4dc1-41d4-910d-5f884aef466d" providerId="ADAL" clId="{3D0DB7AE-1BA7-45E8-B6C7-4A63B94ABB52}" dt="2024-06-10T10:40:10.103" v="383" actId="465"/>
          <ac:spMkLst>
            <pc:docMk/>
            <pc:sldMk cId="2374614574" sldId="2147481964"/>
            <ac:spMk id="28" creationId="{2209F6F9-D782-0291-E15B-6D2117955F34}"/>
          </ac:spMkLst>
        </pc:spChg>
        <pc:spChg chg="mod">
          <ac:chgData name="Kateryna Levchuk (UA)" userId="5dbb0cbd-4dc1-41d4-910d-5f884aef466d" providerId="ADAL" clId="{3D0DB7AE-1BA7-45E8-B6C7-4A63B94ABB52}" dt="2024-06-10T10:34:44.982" v="309"/>
          <ac:spMkLst>
            <pc:docMk/>
            <pc:sldMk cId="2374614574" sldId="2147481964"/>
            <ac:spMk id="30" creationId="{E3CF45F3-83CA-E7C7-8568-6590D97FFAF7}"/>
          </ac:spMkLst>
        </pc:spChg>
        <pc:spChg chg="mod">
          <ac:chgData name="Kateryna Levchuk (UA)" userId="5dbb0cbd-4dc1-41d4-910d-5f884aef466d" providerId="ADAL" clId="{3D0DB7AE-1BA7-45E8-B6C7-4A63B94ABB52}" dt="2024-06-10T10:34:44.982" v="309"/>
          <ac:spMkLst>
            <pc:docMk/>
            <pc:sldMk cId="2374614574" sldId="2147481964"/>
            <ac:spMk id="31" creationId="{6A82F08F-FAEA-8968-F2F9-C0CAC631922A}"/>
          </ac:spMkLst>
        </pc:spChg>
        <pc:spChg chg="add mod">
          <ac:chgData name="Kateryna Levchuk (UA)" userId="5dbb0cbd-4dc1-41d4-910d-5f884aef466d" providerId="ADAL" clId="{3D0DB7AE-1BA7-45E8-B6C7-4A63B94ABB52}" dt="2024-06-10T10:40:10.103" v="383" actId="465"/>
          <ac:spMkLst>
            <pc:docMk/>
            <pc:sldMk cId="2374614574" sldId="2147481964"/>
            <ac:spMk id="32" creationId="{C98CA82A-07BF-C73A-5BA1-329649C75B5E}"/>
          </ac:spMkLst>
        </pc:spChg>
        <pc:spChg chg="mod">
          <ac:chgData name="Kateryna Levchuk (UA)" userId="5dbb0cbd-4dc1-41d4-910d-5f884aef466d" providerId="ADAL" clId="{3D0DB7AE-1BA7-45E8-B6C7-4A63B94ABB52}" dt="2024-06-10T10:35:01.887" v="314"/>
          <ac:spMkLst>
            <pc:docMk/>
            <pc:sldMk cId="2374614574" sldId="2147481964"/>
            <ac:spMk id="35" creationId="{71A15FA8-EE1A-D7F3-8B32-062A4720968C}"/>
          </ac:spMkLst>
        </pc:spChg>
        <pc:spChg chg="mod">
          <ac:chgData name="Kateryna Levchuk (UA)" userId="5dbb0cbd-4dc1-41d4-910d-5f884aef466d" providerId="ADAL" clId="{3D0DB7AE-1BA7-45E8-B6C7-4A63B94ABB52}" dt="2024-06-10T10:35:01.887" v="314"/>
          <ac:spMkLst>
            <pc:docMk/>
            <pc:sldMk cId="2374614574" sldId="2147481964"/>
            <ac:spMk id="36" creationId="{CA9F9F44-947B-F338-1C09-1CA8EAC899AF}"/>
          </ac:spMkLst>
        </pc:spChg>
        <pc:spChg chg="add mod">
          <ac:chgData name="Kateryna Levchuk (UA)" userId="5dbb0cbd-4dc1-41d4-910d-5f884aef466d" providerId="ADAL" clId="{3D0DB7AE-1BA7-45E8-B6C7-4A63B94ABB52}" dt="2024-06-10T10:40:10.103" v="383" actId="465"/>
          <ac:spMkLst>
            <pc:docMk/>
            <pc:sldMk cId="2374614574" sldId="2147481964"/>
            <ac:spMk id="37" creationId="{CE88B349-A429-604A-7CDD-5879C0601232}"/>
          </ac:spMkLst>
        </pc:spChg>
        <pc:spChg chg="mod">
          <ac:chgData name="Kateryna Levchuk (UA)" userId="5dbb0cbd-4dc1-41d4-910d-5f884aef466d" providerId="ADAL" clId="{3D0DB7AE-1BA7-45E8-B6C7-4A63B94ABB52}" dt="2024-06-10T10:35:57.994" v="322"/>
          <ac:spMkLst>
            <pc:docMk/>
            <pc:sldMk cId="2374614574" sldId="2147481964"/>
            <ac:spMk id="39" creationId="{96854456-832C-548D-6FFD-5631A37B5C7F}"/>
          </ac:spMkLst>
        </pc:spChg>
        <pc:spChg chg="mod">
          <ac:chgData name="Kateryna Levchuk (UA)" userId="5dbb0cbd-4dc1-41d4-910d-5f884aef466d" providerId="ADAL" clId="{3D0DB7AE-1BA7-45E8-B6C7-4A63B94ABB52}" dt="2024-06-10T10:35:57.994" v="322"/>
          <ac:spMkLst>
            <pc:docMk/>
            <pc:sldMk cId="2374614574" sldId="2147481964"/>
            <ac:spMk id="40" creationId="{52F31D1E-ED35-18CF-BC75-7BE33BA6CA89}"/>
          </ac:spMkLst>
        </pc:spChg>
        <pc:spChg chg="add mod">
          <ac:chgData name="Kateryna Levchuk (UA)" userId="5dbb0cbd-4dc1-41d4-910d-5f884aef466d" providerId="ADAL" clId="{3D0DB7AE-1BA7-45E8-B6C7-4A63B94ABB52}" dt="2024-06-10T10:40:10.103" v="383" actId="465"/>
          <ac:spMkLst>
            <pc:docMk/>
            <pc:sldMk cId="2374614574" sldId="2147481964"/>
            <ac:spMk id="41" creationId="{63274C70-918A-2BCB-91E2-34E82C9BFE41}"/>
          </ac:spMkLst>
        </pc:spChg>
        <pc:spChg chg="mod">
          <ac:chgData name="Kateryna Levchuk (UA)" userId="5dbb0cbd-4dc1-41d4-910d-5f884aef466d" providerId="ADAL" clId="{3D0DB7AE-1BA7-45E8-B6C7-4A63B94ABB52}" dt="2024-06-10T10:36:25.327" v="328"/>
          <ac:spMkLst>
            <pc:docMk/>
            <pc:sldMk cId="2374614574" sldId="2147481964"/>
            <ac:spMk id="43" creationId="{2D09481F-6C27-F310-4DDC-1B64888BBBD8}"/>
          </ac:spMkLst>
        </pc:spChg>
        <pc:spChg chg="mod">
          <ac:chgData name="Kateryna Levchuk (UA)" userId="5dbb0cbd-4dc1-41d4-910d-5f884aef466d" providerId="ADAL" clId="{3D0DB7AE-1BA7-45E8-B6C7-4A63B94ABB52}" dt="2024-06-10T10:36:25.327" v="328"/>
          <ac:spMkLst>
            <pc:docMk/>
            <pc:sldMk cId="2374614574" sldId="2147481964"/>
            <ac:spMk id="44" creationId="{F5837D83-B764-27B3-DAB7-A4D90471ED14}"/>
          </ac:spMkLst>
        </pc:spChg>
        <pc:spChg chg="add mod">
          <ac:chgData name="Kateryna Levchuk (UA)" userId="5dbb0cbd-4dc1-41d4-910d-5f884aef466d" providerId="ADAL" clId="{3D0DB7AE-1BA7-45E8-B6C7-4A63B94ABB52}" dt="2024-06-10T10:40:10.103" v="383" actId="465"/>
          <ac:spMkLst>
            <pc:docMk/>
            <pc:sldMk cId="2374614574" sldId="2147481964"/>
            <ac:spMk id="45" creationId="{EE02E21D-7A66-BE54-7253-DF686F9759C9}"/>
          </ac:spMkLst>
        </pc:spChg>
        <pc:spChg chg="mod">
          <ac:chgData name="Kateryna Levchuk (UA)" userId="5dbb0cbd-4dc1-41d4-910d-5f884aef466d" providerId="ADAL" clId="{3D0DB7AE-1BA7-45E8-B6C7-4A63B94ABB52}" dt="2024-06-10T10:36:48.154" v="333"/>
          <ac:spMkLst>
            <pc:docMk/>
            <pc:sldMk cId="2374614574" sldId="2147481964"/>
            <ac:spMk id="47" creationId="{30E2AD97-D957-69F5-6397-C70EACD261A3}"/>
          </ac:spMkLst>
        </pc:spChg>
        <pc:spChg chg="mod">
          <ac:chgData name="Kateryna Levchuk (UA)" userId="5dbb0cbd-4dc1-41d4-910d-5f884aef466d" providerId="ADAL" clId="{3D0DB7AE-1BA7-45E8-B6C7-4A63B94ABB52}" dt="2024-06-10T10:36:48.154" v="333"/>
          <ac:spMkLst>
            <pc:docMk/>
            <pc:sldMk cId="2374614574" sldId="2147481964"/>
            <ac:spMk id="48" creationId="{B3ABC3F1-E60C-86D6-BB15-6A9637943537}"/>
          </ac:spMkLst>
        </pc:spChg>
        <pc:spChg chg="add mod">
          <ac:chgData name="Kateryna Levchuk (UA)" userId="5dbb0cbd-4dc1-41d4-910d-5f884aef466d" providerId="ADAL" clId="{3D0DB7AE-1BA7-45E8-B6C7-4A63B94ABB52}" dt="2024-06-10T10:40:10.103" v="383" actId="465"/>
          <ac:spMkLst>
            <pc:docMk/>
            <pc:sldMk cId="2374614574" sldId="2147481964"/>
            <ac:spMk id="49" creationId="{87A165B9-E942-8469-ACC8-FF007624F25D}"/>
          </ac:spMkLst>
        </pc:spChg>
        <pc:spChg chg="mod">
          <ac:chgData name="Kateryna Levchuk (UA)" userId="5dbb0cbd-4dc1-41d4-910d-5f884aef466d" providerId="ADAL" clId="{3D0DB7AE-1BA7-45E8-B6C7-4A63B94ABB52}" dt="2024-06-10T10:37:11.732" v="338"/>
          <ac:spMkLst>
            <pc:docMk/>
            <pc:sldMk cId="2374614574" sldId="2147481964"/>
            <ac:spMk id="51" creationId="{5CD0E6A0-465C-C30B-323F-6760C1FF4060}"/>
          </ac:spMkLst>
        </pc:spChg>
        <pc:spChg chg="mod">
          <ac:chgData name="Kateryna Levchuk (UA)" userId="5dbb0cbd-4dc1-41d4-910d-5f884aef466d" providerId="ADAL" clId="{3D0DB7AE-1BA7-45E8-B6C7-4A63B94ABB52}" dt="2024-06-10T10:37:11.732" v="338"/>
          <ac:spMkLst>
            <pc:docMk/>
            <pc:sldMk cId="2374614574" sldId="2147481964"/>
            <ac:spMk id="52" creationId="{E40D02BB-EF6E-3D2F-AD73-8DCE3B550AED}"/>
          </ac:spMkLst>
        </pc:spChg>
        <pc:spChg chg="add mod">
          <ac:chgData name="Kateryna Levchuk (UA)" userId="5dbb0cbd-4dc1-41d4-910d-5f884aef466d" providerId="ADAL" clId="{3D0DB7AE-1BA7-45E8-B6C7-4A63B94ABB52}" dt="2024-06-10T10:39:40.378" v="381" actId="1076"/>
          <ac:spMkLst>
            <pc:docMk/>
            <pc:sldMk cId="2374614574" sldId="2147481964"/>
            <ac:spMk id="53" creationId="{DD1A79B2-8C88-6493-28A2-986CDF4F2197}"/>
          </ac:spMkLst>
        </pc:spChg>
        <pc:spChg chg="mod">
          <ac:chgData name="Kateryna Levchuk (UA)" userId="5dbb0cbd-4dc1-41d4-910d-5f884aef466d" providerId="ADAL" clId="{3D0DB7AE-1BA7-45E8-B6C7-4A63B94ABB52}" dt="2024-06-10T10:37:38.084" v="344"/>
          <ac:spMkLst>
            <pc:docMk/>
            <pc:sldMk cId="2374614574" sldId="2147481964"/>
            <ac:spMk id="55" creationId="{50F1AE1F-09DC-A1CC-FC04-8F56F7AB229C}"/>
          </ac:spMkLst>
        </pc:spChg>
        <pc:spChg chg="mod">
          <ac:chgData name="Kateryna Levchuk (UA)" userId="5dbb0cbd-4dc1-41d4-910d-5f884aef466d" providerId="ADAL" clId="{3D0DB7AE-1BA7-45E8-B6C7-4A63B94ABB52}" dt="2024-06-10T10:37:38.084" v="344"/>
          <ac:spMkLst>
            <pc:docMk/>
            <pc:sldMk cId="2374614574" sldId="2147481964"/>
            <ac:spMk id="56" creationId="{423787B1-6C92-DE23-974F-20D7F93D4D79}"/>
          </ac:spMkLst>
        </pc:spChg>
        <pc:spChg chg="add del mod">
          <ac:chgData name="Kateryna Levchuk (UA)" userId="5dbb0cbd-4dc1-41d4-910d-5f884aef466d" providerId="ADAL" clId="{3D0DB7AE-1BA7-45E8-B6C7-4A63B94ABB52}" dt="2024-06-10T10:39:35.076" v="380"/>
          <ac:spMkLst>
            <pc:docMk/>
            <pc:sldMk cId="2374614574" sldId="2147481964"/>
            <ac:spMk id="57" creationId="{21F5CD77-7AAE-44A5-09E4-F83CE292D3BE}"/>
          </ac:spMkLst>
        </pc:spChg>
        <pc:spChg chg="mod">
          <ac:chgData name="Kateryna Levchuk (UA)" userId="5dbb0cbd-4dc1-41d4-910d-5f884aef466d" providerId="ADAL" clId="{3D0DB7AE-1BA7-45E8-B6C7-4A63B94ABB52}" dt="2024-06-10T10:39:34.030" v="379"/>
          <ac:spMkLst>
            <pc:docMk/>
            <pc:sldMk cId="2374614574" sldId="2147481964"/>
            <ac:spMk id="59" creationId="{56E69B06-E578-2A7D-C260-781C268A0684}"/>
          </ac:spMkLst>
        </pc:spChg>
        <pc:spChg chg="mod">
          <ac:chgData name="Kateryna Levchuk (UA)" userId="5dbb0cbd-4dc1-41d4-910d-5f884aef466d" providerId="ADAL" clId="{3D0DB7AE-1BA7-45E8-B6C7-4A63B94ABB52}" dt="2024-06-10T10:39:34.030" v="379"/>
          <ac:spMkLst>
            <pc:docMk/>
            <pc:sldMk cId="2374614574" sldId="2147481964"/>
            <ac:spMk id="60" creationId="{8ADA655F-3777-CEC0-7B77-503A61BD45DA}"/>
          </ac:spMkLst>
        </pc:spChg>
        <pc:spChg chg="mod">
          <ac:chgData name="Kateryna Levchuk (UA)" userId="5dbb0cbd-4dc1-41d4-910d-5f884aef466d" providerId="ADAL" clId="{3D0DB7AE-1BA7-45E8-B6C7-4A63B94ABB52}" dt="2024-06-10T10:40:37.356" v="384"/>
          <ac:spMkLst>
            <pc:docMk/>
            <pc:sldMk cId="2374614574" sldId="2147481964"/>
            <ac:spMk id="62" creationId="{9A5409C4-3DEA-E7EF-5B47-DEE299412CDF}"/>
          </ac:spMkLst>
        </pc:spChg>
        <pc:spChg chg="mod">
          <ac:chgData name="Kateryna Levchuk (UA)" userId="5dbb0cbd-4dc1-41d4-910d-5f884aef466d" providerId="ADAL" clId="{3D0DB7AE-1BA7-45E8-B6C7-4A63B94ABB52}" dt="2024-06-10T10:40:37.356" v="384"/>
          <ac:spMkLst>
            <pc:docMk/>
            <pc:sldMk cId="2374614574" sldId="2147481964"/>
            <ac:spMk id="63" creationId="{061C45B5-B256-159B-F609-D82115B29269}"/>
          </ac:spMkLst>
        </pc:spChg>
        <pc:spChg chg="mod">
          <ac:chgData name="Kateryna Levchuk (UA)" userId="5dbb0cbd-4dc1-41d4-910d-5f884aef466d" providerId="ADAL" clId="{3D0DB7AE-1BA7-45E8-B6C7-4A63B94ABB52}" dt="2024-06-10T10:40:37.356" v="384"/>
          <ac:spMkLst>
            <pc:docMk/>
            <pc:sldMk cId="2374614574" sldId="2147481964"/>
            <ac:spMk id="65" creationId="{91D33BF5-46DF-BDE9-0819-B516288A4C69}"/>
          </ac:spMkLst>
        </pc:spChg>
        <pc:spChg chg="mod">
          <ac:chgData name="Kateryna Levchuk (UA)" userId="5dbb0cbd-4dc1-41d4-910d-5f884aef466d" providerId="ADAL" clId="{3D0DB7AE-1BA7-45E8-B6C7-4A63B94ABB52}" dt="2024-06-10T10:40:37.356" v="384"/>
          <ac:spMkLst>
            <pc:docMk/>
            <pc:sldMk cId="2374614574" sldId="2147481964"/>
            <ac:spMk id="66" creationId="{C28CF947-1CAC-79A4-A4B1-1D4CDBC7B010}"/>
          </ac:spMkLst>
        </pc:spChg>
        <pc:spChg chg="mod">
          <ac:chgData name="Kateryna Levchuk (UA)" userId="5dbb0cbd-4dc1-41d4-910d-5f884aef466d" providerId="ADAL" clId="{3D0DB7AE-1BA7-45E8-B6C7-4A63B94ABB52}" dt="2024-06-10T10:40:37.356" v="384"/>
          <ac:spMkLst>
            <pc:docMk/>
            <pc:sldMk cId="2374614574" sldId="2147481964"/>
            <ac:spMk id="68" creationId="{2A1A4C8D-CEFF-8A74-29B3-0BABB62E46D6}"/>
          </ac:spMkLst>
        </pc:spChg>
        <pc:spChg chg="mod">
          <ac:chgData name="Kateryna Levchuk (UA)" userId="5dbb0cbd-4dc1-41d4-910d-5f884aef466d" providerId="ADAL" clId="{3D0DB7AE-1BA7-45E8-B6C7-4A63B94ABB52}" dt="2024-06-10T10:40:37.356" v="384"/>
          <ac:spMkLst>
            <pc:docMk/>
            <pc:sldMk cId="2374614574" sldId="2147481964"/>
            <ac:spMk id="69" creationId="{C9E9CB2C-D486-29E5-3A57-34C7475497DC}"/>
          </ac:spMkLst>
        </pc:spChg>
        <pc:spChg chg="mod">
          <ac:chgData name="Kateryna Levchuk (UA)" userId="5dbb0cbd-4dc1-41d4-910d-5f884aef466d" providerId="ADAL" clId="{3D0DB7AE-1BA7-45E8-B6C7-4A63B94ABB52}" dt="2024-06-10T10:40:37.356" v="384"/>
          <ac:spMkLst>
            <pc:docMk/>
            <pc:sldMk cId="2374614574" sldId="2147481964"/>
            <ac:spMk id="71" creationId="{C7ED61B0-02A3-7584-5A6F-B73807CCDB88}"/>
          </ac:spMkLst>
        </pc:spChg>
        <pc:spChg chg="mod">
          <ac:chgData name="Kateryna Levchuk (UA)" userId="5dbb0cbd-4dc1-41d4-910d-5f884aef466d" providerId="ADAL" clId="{3D0DB7AE-1BA7-45E8-B6C7-4A63B94ABB52}" dt="2024-06-10T10:40:37.356" v="384"/>
          <ac:spMkLst>
            <pc:docMk/>
            <pc:sldMk cId="2374614574" sldId="2147481964"/>
            <ac:spMk id="72" creationId="{E86C3E3B-ABF3-BA16-3001-549D05172582}"/>
          </ac:spMkLst>
        </pc:spChg>
        <pc:spChg chg="mod">
          <ac:chgData name="Kateryna Levchuk (UA)" userId="5dbb0cbd-4dc1-41d4-910d-5f884aef466d" providerId="ADAL" clId="{3D0DB7AE-1BA7-45E8-B6C7-4A63B94ABB52}" dt="2024-06-10T10:40:37.356" v="384"/>
          <ac:spMkLst>
            <pc:docMk/>
            <pc:sldMk cId="2374614574" sldId="2147481964"/>
            <ac:spMk id="74" creationId="{0995BC85-9BDE-61EC-CCDB-B36A24F63758}"/>
          </ac:spMkLst>
        </pc:spChg>
        <pc:spChg chg="mod">
          <ac:chgData name="Kateryna Levchuk (UA)" userId="5dbb0cbd-4dc1-41d4-910d-5f884aef466d" providerId="ADAL" clId="{3D0DB7AE-1BA7-45E8-B6C7-4A63B94ABB52}" dt="2024-06-10T10:40:37.356" v="384"/>
          <ac:spMkLst>
            <pc:docMk/>
            <pc:sldMk cId="2374614574" sldId="2147481964"/>
            <ac:spMk id="75" creationId="{0F29CCF2-DE1B-C77D-3B79-B05A23DE3F58}"/>
          </ac:spMkLst>
        </pc:spChg>
        <pc:spChg chg="add mod">
          <ac:chgData name="Kateryna Levchuk (UA)" userId="5dbb0cbd-4dc1-41d4-910d-5f884aef466d" providerId="ADAL" clId="{3D0DB7AE-1BA7-45E8-B6C7-4A63B94ABB52}" dt="2024-06-10T10:52:09.981" v="557" actId="14100"/>
          <ac:spMkLst>
            <pc:docMk/>
            <pc:sldMk cId="2374614574" sldId="2147481964"/>
            <ac:spMk id="76" creationId="{4BEC8D14-DCD4-6D5A-3729-16483CA61BD3}"/>
          </ac:spMkLst>
        </pc:spChg>
        <pc:spChg chg="add mod">
          <ac:chgData name="Kateryna Levchuk (UA)" userId="5dbb0cbd-4dc1-41d4-910d-5f884aef466d" providerId="ADAL" clId="{3D0DB7AE-1BA7-45E8-B6C7-4A63B94ABB52}" dt="2024-06-10T10:52:12.183" v="558" actId="14100"/>
          <ac:spMkLst>
            <pc:docMk/>
            <pc:sldMk cId="2374614574" sldId="2147481964"/>
            <ac:spMk id="77" creationId="{A62B391C-D62B-0A29-8B56-E451E90FC334}"/>
          </ac:spMkLst>
        </pc:spChg>
        <pc:spChg chg="add mod">
          <ac:chgData name="Kateryna Levchuk (UA)" userId="5dbb0cbd-4dc1-41d4-910d-5f884aef466d" providerId="ADAL" clId="{3D0DB7AE-1BA7-45E8-B6C7-4A63B94ABB52}" dt="2024-06-10T10:52:03.237" v="554" actId="14100"/>
          <ac:spMkLst>
            <pc:docMk/>
            <pc:sldMk cId="2374614574" sldId="2147481964"/>
            <ac:spMk id="78" creationId="{C161FB05-0F43-9DAD-BDB6-D0F917936CED}"/>
          </ac:spMkLst>
        </pc:spChg>
        <pc:spChg chg="add mod">
          <ac:chgData name="Kateryna Levchuk (UA)" userId="5dbb0cbd-4dc1-41d4-910d-5f884aef466d" providerId="ADAL" clId="{3D0DB7AE-1BA7-45E8-B6C7-4A63B94ABB52}" dt="2024-06-10T10:52:05.120" v="555" actId="14100"/>
          <ac:spMkLst>
            <pc:docMk/>
            <pc:sldMk cId="2374614574" sldId="2147481964"/>
            <ac:spMk id="79" creationId="{8E21E994-D42B-0D26-5C8A-D2F7046F5581}"/>
          </ac:spMkLst>
        </pc:spChg>
        <pc:spChg chg="add mod">
          <ac:chgData name="Kateryna Levchuk (UA)" userId="5dbb0cbd-4dc1-41d4-910d-5f884aef466d" providerId="ADAL" clId="{3D0DB7AE-1BA7-45E8-B6C7-4A63B94ABB52}" dt="2024-06-10T10:52:07.207" v="556" actId="14100"/>
          <ac:spMkLst>
            <pc:docMk/>
            <pc:sldMk cId="2374614574" sldId="2147481964"/>
            <ac:spMk id="80" creationId="{2EA01A62-58A4-C397-DFF9-AD440CB577B2}"/>
          </ac:spMkLst>
        </pc:spChg>
        <pc:spChg chg="add del mod">
          <ac:chgData name="Kateryna Levchuk (UA)" userId="5dbb0cbd-4dc1-41d4-910d-5f884aef466d" providerId="ADAL" clId="{3D0DB7AE-1BA7-45E8-B6C7-4A63B94ABB52}" dt="2024-06-10T10:50:07.398" v="535" actId="478"/>
          <ac:spMkLst>
            <pc:docMk/>
            <pc:sldMk cId="2374614574" sldId="2147481964"/>
            <ac:spMk id="81" creationId="{D2E816FD-CFE1-6634-8A73-EE475256A0F4}"/>
          </ac:spMkLst>
        </pc:spChg>
        <pc:spChg chg="mod">
          <ac:chgData name="Kateryna Levchuk (UA)" userId="5dbb0cbd-4dc1-41d4-910d-5f884aef466d" providerId="ADAL" clId="{3D0DB7AE-1BA7-45E8-B6C7-4A63B94ABB52}" dt="2024-06-10T10:51:28.905" v="550"/>
          <ac:spMkLst>
            <pc:docMk/>
            <pc:sldMk cId="2374614574" sldId="2147481964"/>
            <ac:spMk id="83" creationId="{A182E841-211F-4BFF-CCCF-8AE01C5752C3}"/>
          </ac:spMkLst>
        </pc:spChg>
        <pc:spChg chg="mod">
          <ac:chgData name="Kateryna Levchuk (UA)" userId="5dbb0cbd-4dc1-41d4-910d-5f884aef466d" providerId="ADAL" clId="{3D0DB7AE-1BA7-45E8-B6C7-4A63B94ABB52}" dt="2024-06-10T10:51:28.905" v="550"/>
          <ac:spMkLst>
            <pc:docMk/>
            <pc:sldMk cId="2374614574" sldId="2147481964"/>
            <ac:spMk id="84" creationId="{C99AB1B2-C96E-056E-EBA9-AF51C1A045EF}"/>
          </ac:spMkLst>
        </pc:spChg>
        <pc:spChg chg="mod">
          <ac:chgData name="Kateryna Levchuk (UA)" userId="5dbb0cbd-4dc1-41d4-910d-5f884aef466d" providerId="ADAL" clId="{3D0DB7AE-1BA7-45E8-B6C7-4A63B94ABB52}" dt="2024-06-10T10:51:28.905" v="550"/>
          <ac:spMkLst>
            <pc:docMk/>
            <pc:sldMk cId="2374614574" sldId="2147481964"/>
            <ac:spMk id="86" creationId="{89F8DF12-ED22-C341-2083-611CA3AE071D}"/>
          </ac:spMkLst>
        </pc:spChg>
        <pc:spChg chg="mod">
          <ac:chgData name="Kateryna Levchuk (UA)" userId="5dbb0cbd-4dc1-41d4-910d-5f884aef466d" providerId="ADAL" clId="{3D0DB7AE-1BA7-45E8-B6C7-4A63B94ABB52}" dt="2024-06-10T10:51:28.905" v="550"/>
          <ac:spMkLst>
            <pc:docMk/>
            <pc:sldMk cId="2374614574" sldId="2147481964"/>
            <ac:spMk id="87" creationId="{AAE5A134-B9E4-214F-C0D2-97B435F7A989}"/>
          </ac:spMkLst>
        </pc:spChg>
        <pc:spChg chg="mod">
          <ac:chgData name="Kateryna Levchuk (UA)" userId="5dbb0cbd-4dc1-41d4-910d-5f884aef466d" providerId="ADAL" clId="{3D0DB7AE-1BA7-45E8-B6C7-4A63B94ABB52}" dt="2024-06-10T10:51:28.905" v="550"/>
          <ac:spMkLst>
            <pc:docMk/>
            <pc:sldMk cId="2374614574" sldId="2147481964"/>
            <ac:spMk id="89" creationId="{5650C16F-2CDB-6CC0-BDD1-4F3FA02780A1}"/>
          </ac:spMkLst>
        </pc:spChg>
        <pc:spChg chg="mod">
          <ac:chgData name="Kateryna Levchuk (UA)" userId="5dbb0cbd-4dc1-41d4-910d-5f884aef466d" providerId="ADAL" clId="{3D0DB7AE-1BA7-45E8-B6C7-4A63B94ABB52}" dt="2024-06-10T10:51:28.905" v="550"/>
          <ac:spMkLst>
            <pc:docMk/>
            <pc:sldMk cId="2374614574" sldId="2147481964"/>
            <ac:spMk id="90" creationId="{F48B3D76-BAA9-38B3-274D-1A5C06F88F6C}"/>
          </ac:spMkLst>
        </pc:spChg>
        <pc:spChg chg="mod">
          <ac:chgData name="Kateryna Levchuk (UA)" userId="5dbb0cbd-4dc1-41d4-910d-5f884aef466d" providerId="ADAL" clId="{3D0DB7AE-1BA7-45E8-B6C7-4A63B94ABB52}" dt="2024-06-10T10:51:28.905" v="550"/>
          <ac:spMkLst>
            <pc:docMk/>
            <pc:sldMk cId="2374614574" sldId="2147481964"/>
            <ac:spMk id="92" creationId="{0222F0C2-75AE-C919-0530-0CD11EEE7E2E}"/>
          </ac:spMkLst>
        </pc:spChg>
        <pc:spChg chg="mod">
          <ac:chgData name="Kateryna Levchuk (UA)" userId="5dbb0cbd-4dc1-41d4-910d-5f884aef466d" providerId="ADAL" clId="{3D0DB7AE-1BA7-45E8-B6C7-4A63B94ABB52}" dt="2024-06-10T10:51:28.905" v="550"/>
          <ac:spMkLst>
            <pc:docMk/>
            <pc:sldMk cId="2374614574" sldId="2147481964"/>
            <ac:spMk id="93" creationId="{D9276B21-2485-DE92-F54A-43A58484D2BC}"/>
          </ac:spMkLst>
        </pc:spChg>
        <pc:spChg chg="mod">
          <ac:chgData name="Kateryna Levchuk (UA)" userId="5dbb0cbd-4dc1-41d4-910d-5f884aef466d" providerId="ADAL" clId="{3D0DB7AE-1BA7-45E8-B6C7-4A63B94ABB52}" dt="2024-06-10T10:51:28.905" v="550"/>
          <ac:spMkLst>
            <pc:docMk/>
            <pc:sldMk cId="2374614574" sldId="2147481964"/>
            <ac:spMk id="95" creationId="{C67052FF-53F8-055F-149B-4759C882B756}"/>
          </ac:spMkLst>
        </pc:spChg>
        <pc:spChg chg="mod">
          <ac:chgData name="Kateryna Levchuk (UA)" userId="5dbb0cbd-4dc1-41d4-910d-5f884aef466d" providerId="ADAL" clId="{3D0DB7AE-1BA7-45E8-B6C7-4A63B94ABB52}" dt="2024-06-10T10:51:28.905" v="550"/>
          <ac:spMkLst>
            <pc:docMk/>
            <pc:sldMk cId="2374614574" sldId="2147481964"/>
            <ac:spMk id="96" creationId="{4205EC8E-AE3E-9A4A-2011-E70FF5E85D74}"/>
          </ac:spMkLst>
        </pc:spChg>
        <pc:spChg chg="mod">
          <ac:chgData name="Kateryna Levchuk (UA)" userId="5dbb0cbd-4dc1-41d4-910d-5f884aef466d" providerId="ADAL" clId="{3D0DB7AE-1BA7-45E8-B6C7-4A63B94ABB52}" dt="2024-06-10T13:25:10.252" v="1041"/>
          <ac:spMkLst>
            <pc:docMk/>
            <pc:sldMk cId="2374614574" sldId="2147481964"/>
            <ac:spMk id="98" creationId="{AAF66931-D77A-3CD1-F99C-1ED077236170}"/>
          </ac:spMkLst>
        </pc:spChg>
        <pc:spChg chg="mod">
          <ac:chgData name="Kateryna Levchuk (UA)" userId="5dbb0cbd-4dc1-41d4-910d-5f884aef466d" providerId="ADAL" clId="{3D0DB7AE-1BA7-45E8-B6C7-4A63B94ABB52}" dt="2024-06-10T13:25:10.252" v="1041"/>
          <ac:spMkLst>
            <pc:docMk/>
            <pc:sldMk cId="2374614574" sldId="2147481964"/>
            <ac:spMk id="99" creationId="{73AA1312-ED71-28A8-BCDA-20DCE3B803AF}"/>
          </ac:spMkLst>
        </pc:spChg>
        <pc:spChg chg="mod">
          <ac:chgData name="Kateryna Levchuk (UA)" userId="5dbb0cbd-4dc1-41d4-910d-5f884aef466d" providerId="ADAL" clId="{3D0DB7AE-1BA7-45E8-B6C7-4A63B94ABB52}" dt="2024-06-10T13:25:10.252" v="1041"/>
          <ac:spMkLst>
            <pc:docMk/>
            <pc:sldMk cId="2374614574" sldId="2147481964"/>
            <ac:spMk id="100" creationId="{021E07F3-AEA5-E3C6-3D95-650DDB6DFF2C}"/>
          </ac:spMkLst>
        </pc:spChg>
        <pc:spChg chg="mod">
          <ac:chgData name="Kateryna Levchuk (UA)" userId="5dbb0cbd-4dc1-41d4-910d-5f884aef466d" providerId="ADAL" clId="{3D0DB7AE-1BA7-45E8-B6C7-4A63B94ABB52}" dt="2024-06-10T13:25:10.252" v="1041"/>
          <ac:spMkLst>
            <pc:docMk/>
            <pc:sldMk cId="2374614574" sldId="2147481964"/>
            <ac:spMk id="101" creationId="{B3D9B08A-8B79-74DB-DCC6-DC32429B3E57}"/>
          </ac:spMkLst>
        </pc:spChg>
        <pc:spChg chg="mod">
          <ac:chgData name="Kateryna Levchuk (UA)" userId="5dbb0cbd-4dc1-41d4-910d-5f884aef466d" providerId="ADAL" clId="{3D0DB7AE-1BA7-45E8-B6C7-4A63B94ABB52}" dt="2024-06-10T13:25:10.252" v="1041"/>
          <ac:spMkLst>
            <pc:docMk/>
            <pc:sldMk cId="2374614574" sldId="2147481964"/>
            <ac:spMk id="102" creationId="{F002A1F8-0155-B94E-0CDB-64EC7C7D2C83}"/>
          </ac:spMkLst>
        </pc:spChg>
        <pc:spChg chg="mod">
          <ac:chgData name="Kateryna Levchuk (UA)" userId="5dbb0cbd-4dc1-41d4-910d-5f884aef466d" providerId="ADAL" clId="{3D0DB7AE-1BA7-45E8-B6C7-4A63B94ABB52}" dt="2024-06-10T13:25:10.252" v="1041"/>
          <ac:spMkLst>
            <pc:docMk/>
            <pc:sldMk cId="2374614574" sldId="2147481964"/>
            <ac:spMk id="103" creationId="{6332771C-1722-E014-BFA0-C30BA4478A2F}"/>
          </ac:spMkLst>
        </pc:spChg>
        <pc:grpChg chg="add mod">
          <ac:chgData name="Kateryna Levchuk (UA)" userId="5dbb0cbd-4dc1-41d4-910d-5f884aef466d" providerId="ADAL" clId="{3D0DB7AE-1BA7-45E8-B6C7-4A63B94ABB52}" dt="2024-06-10T10:39:23.339" v="376" actId="14100"/>
          <ac:grpSpMkLst>
            <pc:docMk/>
            <pc:sldMk cId="2374614574" sldId="2147481964"/>
            <ac:grpSpMk id="25" creationId="{1E055E3B-7E37-6FEC-B3F6-C4027E6BCA27}"/>
          </ac:grpSpMkLst>
        </pc:grpChg>
        <pc:grpChg chg="add mod">
          <ac:chgData name="Kateryna Levchuk (UA)" userId="5dbb0cbd-4dc1-41d4-910d-5f884aef466d" providerId="ADAL" clId="{3D0DB7AE-1BA7-45E8-B6C7-4A63B94ABB52}" dt="2024-06-10T10:39:55.172" v="382" actId="465"/>
          <ac:grpSpMkLst>
            <pc:docMk/>
            <pc:sldMk cId="2374614574" sldId="2147481964"/>
            <ac:grpSpMk id="29" creationId="{1557C772-899E-94BB-AF06-1D87BCD109F9}"/>
          </ac:grpSpMkLst>
        </pc:grpChg>
        <pc:grpChg chg="del">
          <ac:chgData name="Kateryna Levchuk (UA)" userId="5dbb0cbd-4dc1-41d4-910d-5f884aef466d" providerId="ADAL" clId="{3D0DB7AE-1BA7-45E8-B6C7-4A63B94ABB52}" dt="2024-06-10T13:24:37.540" v="1032" actId="478"/>
          <ac:grpSpMkLst>
            <pc:docMk/>
            <pc:sldMk cId="2374614574" sldId="2147481964"/>
            <ac:grpSpMk id="33" creationId="{97B78DF5-D688-FC90-51A7-E3DCA72B1ACA}"/>
          </ac:grpSpMkLst>
        </pc:grpChg>
        <pc:grpChg chg="add mod">
          <ac:chgData name="Kateryna Levchuk (UA)" userId="5dbb0cbd-4dc1-41d4-910d-5f884aef466d" providerId="ADAL" clId="{3D0DB7AE-1BA7-45E8-B6C7-4A63B94ABB52}" dt="2024-06-10T10:39:55.172" v="382" actId="465"/>
          <ac:grpSpMkLst>
            <pc:docMk/>
            <pc:sldMk cId="2374614574" sldId="2147481964"/>
            <ac:grpSpMk id="34" creationId="{6C2E591A-08D0-AA76-645D-F0D81CC9C9D6}"/>
          </ac:grpSpMkLst>
        </pc:grpChg>
        <pc:grpChg chg="add mod">
          <ac:chgData name="Kateryna Levchuk (UA)" userId="5dbb0cbd-4dc1-41d4-910d-5f884aef466d" providerId="ADAL" clId="{3D0DB7AE-1BA7-45E8-B6C7-4A63B94ABB52}" dt="2024-06-10T10:39:55.172" v="382" actId="465"/>
          <ac:grpSpMkLst>
            <pc:docMk/>
            <pc:sldMk cId="2374614574" sldId="2147481964"/>
            <ac:grpSpMk id="38" creationId="{15B95CF3-7738-A184-C0D2-0BF2CD425CCC}"/>
          </ac:grpSpMkLst>
        </pc:grpChg>
        <pc:grpChg chg="add mod">
          <ac:chgData name="Kateryna Levchuk (UA)" userId="5dbb0cbd-4dc1-41d4-910d-5f884aef466d" providerId="ADAL" clId="{3D0DB7AE-1BA7-45E8-B6C7-4A63B94ABB52}" dt="2024-06-10T10:39:55.172" v="382" actId="465"/>
          <ac:grpSpMkLst>
            <pc:docMk/>
            <pc:sldMk cId="2374614574" sldId="2147481964"/>
            <ac:grpSpMk id="42" creationId="{B586DB99-0D7D-6F66-683F-9D659D61CFD7}"/>
          </ac:grpSpMkLst>
        </pc:grpChg>
        <pc:grpChg chg="add mod">
          <ac:chgData name="Kateryna Levchuk (UA)" userId="5dbb0cbd-4dc1-41d4-910d-5f884aef466d" providerId="ADAL" clId="{3D0DB7AE-1BA7-45E8-B6C7-4A63B94ABB52}" dt="2024-06-10T10:39:55.172" v="382" actId="465"/>
          <ac:grpSpMkLst>
            <pc:docMk/>
            <pc:sldMk cId="2374614574" sldId="2147481964"/>
            <ac:grpSpMk id="46" creationId="{2A0FE5AA-FD4F-8651-2603-42AE12BD777C}"/>
          </ac:grpSpMkLst>
        </pc:grpChg>
        <pc:grpChg chg="add mod">
          <ac:chgData name="Kateryna Levchuk (UA)" userId="5dbb0cbd-4dc1-41d4-910d-5f884aef466d" providerId="ADAL" clId="{3D0DB7AE-1BA7-45E8-B6C7-4A63B94ABB52}" dt="2024-06-10T10:39:55.172" v="382" actId="465"/>
          <ac:grpSpMkLst>
            <pc:docMk/>
            <pc:sldMk cId="2374614574" sldId="2147481964"/>
            <ac:grpSpMk id="50" creationId="{A4C51F50-2AC9-88C8-DB72-702C2D0C7B81}"/>
          </ac:grpSpMkLst>
        </pc:grpChg>
        <pc:grpChg chg="add mod">
          <ac:chgData name="Kateryna Levchuk (UA)" userId="5dbb0cbd-4dc1-41d4-910d-5f884aef466d" providerId="ADAL" clId="{3D0DB7AE-1BA7-45E8-B6C7-4A63B94ABB52}" dt="2024-06-10T10:39:40.378" v="381" actId="1076"/>
          <ac:grpSpMkLst>
            <pc:docMk/>
            <pc:sldMk cId="2374614574" sldId="2147481964"/>
            <ac:grpSpMk id="54" creationId="{D3AEC4FA-C8EE-5232-86D5-CC17319F82D4}"/>
          </ac:grpSpMkLst>
        </pc:grpChg>
        <pc:grpChg chg="add del mod">
          <ac:chgData name="Kateryna Levchuk (UA)" userId="5dbb0cbd-4dc1-41d4-910d-5f884aef466d" providerId="ADAL" clId="{3D0DB7AE-1BA7-45E8-B6C7-4A63B94ABB52}" dt="2024-06-10T10:39:35.076" v="380"/>
          <ac:grpSpMkLst>
            <pc:docMk/>
            <pc:sldMk cId="2374614574" sldId="2147481964"/>
            <ac:grpSpMk id="58" creationId="{ABE17645-7095-FAD8-618F-F69F32AE06B3}"/>
          </ac:grpSpMkLst>
        </pc:grpChg>
        <pc:grpChg chg="add del mod">
          <ac:chgData name="Kateryna Levchuk (UA)" userId="5dbb0cbd-4dc1-41d4-910d-5f884aef466d" providerId="ADAL" clId="{3D0DB7AE-1BA7-45E8-B6C7-4A63B94ABB52}" dt="2024-06-10T10:48:28.933" v="493" actId="478"/>
          <ac:grpSpMkLst>
            <pc:docMk/>
            <pc:sldMk cId="2374614574" sldId="2147481964"/>
            <ac:grpSpMk id="61" creationId="{0385A028-BCD7-D1EF-79A0-63A705758CA0}"/>
          </ac:grpSpMkLst>
        </pc:grpChg>
        <pc:grpChg chg="add del mod">
          <ac:chgData name="Kateryna Levchuk (UA)" userId="5dbb0cbd-4dc1-41d4-910d-5f884aef466d" providerId="ADAL" clId="{3D0DB7AE-1BA7-45E8-B6C7-4A63B94ABB52}" dt="2024-06-10T10:48:25.920" v="489" actId="478"/>
          <ac:grpSpMkLst>
            <pc:docMk/>
            <pc:sldMk cId="2374614574" sldId="2147481964"/>
            <ac:grpSpMk id="64" creationId="{B3992DCC-0473-5105-C02F-1816948E383F}"/>
          </ac:grpSpMkLst>
        </pc:grpChg>
        <pc:grpChg chg="add del mod">
          <ac:chgData name="Kateryna Levchuk (UA)" userId="5dbb0cbd-4dc1-41d4-910d-5f884aef466d" providerId="ADAL" clId="{3D0DB7AE-1BA7-45E8-B6C7-4A63B94ABB52}" dt="2024-06-10T10:48:26.694" v="490" actId="478"/>
          <ac:grpSpMkLst>
            <pc:docMk/>
            <pc:sldMk cId="2374614574" sldId="2147481964"/>
            <ac:grpSpMk id="67" creationId="{C765C372-1140-9EC7-48D7-073DE3DFDD69}"/>
          </ac:grpSpMkLst>
        </pc:grpChg>
        <pc:grpChg chg="add del mod">
          <ac:chgData name="Kateryna Levchuk (UA)" userId="5dbb0cbd-4dc1-41d4-910d-5f884aef466d" providerId="ADAL" clId="{3D0DB7AE-1BA7-45E8-B6C7-4A63B94ABB52}" dt="2024-06-10T10:48:27.513" v="491" actId="478"/>
          <ac:grpSpMkLst>
            <pc:docMk/>
            <pc:sldMk cId="2374614574" sldId="2147481964"/>
            <ac:grpSpMk id="70" creationId="{D73B935D-DE5B-4B27-EBB7-A19F73D6B35C}"/>
          </ac:grpSpMkLst>
        </pc:grpChg>
        <pc:grpChg chg="add del mod">
          <ac:chgData name="Kateryna Levchuk (UA)" userId="5dbb0cbd-4dc1-41d4-910d-5f884aef466d" providerId="ADAL" clId="{3D0DB7AE-1BA7-45E8-B6C7-4A63B94ABB52}" dt="2024-06-10T10:48:28.071" v="492" actId="478"/>
          <ac:grpSpMkLst>
            <pc:docMk/>
            <pc:sldMk cId="2374614574" sldId="2147481964"/>
            <ac:grpSpMk id="73" creationId="{64512257-8A78-555C-6A1D-05DEB69412ED}"/>
          </ac:grpSpMkLst>
        </pc:grpChg>
        <pc:grpChg chg="add mod">
          <ac:chgData name="Kateryna Levchuk (UA)" userId="5dbb0cbd-4dc1-41d4-910d-5f884aef466d" providerId="ADAL" clId="{3D0DB7AE-1BA7-45E8-B6C7-4A63B94ABB52}" dt="2024-06-10T10:51:47.348" v="552" actId="1076"/>
          <ac:grpSpMkLst>
            <pc:docMk/>
            <pc:sldMk cId="2374614574" sldId="2147481964"/>
            <ac:grpSpMk id="82" creationId="{E9D671BA-4CF3-D440-0D01-2CF4A0E7A381}"/>
          </ac:grpSpMkLst>
        </pc:grpChg>
        <pc:grpChg chg="add mod">
          <ac:chgData name="Kateryna Levchuk (UA)" userId="5dbb0cbd-4dc1-41d4-910d-5f884aef466d" providerId="ADAL" clId="{3D0DB7AE-1BA7-45E8-B6C7-4A63B94ABB52}" dt="2024-06-10T10:51:47.348" v="552" actId="1076"/>
          <ac:grpSpMkLst>
            <pc:docMk/>
            <pc:sldMk cId="2374614574" sldId="2147481964"/>
            <ac:grpSpMk id="85" creationId="{4BACE212-9EE2-CE6E-5817-539E42E6E5E2}"/>
          </ac:grpSpMkLst>
        </pc:grpChg>
        <pc:grpChg chg="add mod">
          <ac:chgData name="Kateryna Levchuk (UA)" userId="5dbb0cbd-4dc1-41d4-910d-5f884aef466d" providerId="ADAL" clId="{3D0DB7AE-1BA7-45E8-B6C7-4A63B94ABB52}" dt="2024-06-10T10:51:47.348" v="552" actId="1076"/>
          <ac:grpSpMkLst>
            <pc:docMk/>
            <pc:sldMk cId="2374614574" sldId="2147481964"/>
            <ac:grpSpMk id="88" creationId="{49940A1C-944A-C443-F9A3-8E59E6D5D9BB}"/>
          </ac:grpSpMkLst>
        </pc:grpChg>
        <pc:grpChg chg="add mod">
          <ac:chgData name="Kateryna Levchuk (UA)" userId="5dbb0cbd-4dc1-41d4-910d-5f884aef466d" providerId="ADAL" clId="{3D0DB7AE-1BA7-45E8-B6C7-4A63B94ABB52}" dt="2024-06-10T10:51:47.348" v="552" actId="1076"/>
          <ac:grpSpMkLst>
            <pc:docMk/>
            <pc:sldMk cId="2374614574" sldId="2147481964"/>
            <ac:grpSpMk id="91" creationId="{4E62F7DD-F2FF-8259-A439-1A57BC776ABC}"/>
          </ac:grpSpMkLst>
        </pc:grpChg>
        <pc:grpChg chg="add mod">
          <ac:chgData name="Kateryna Levchuk (UA)" userId="5dbb0cbd-4dc1-41d4-910d-5f884aef466d" providerId="ADAL" clId="{3D0DB7AE-1BA7-45E8-B6C7-4A63B94ABB52}" dt="2024-06-10T10:51:47.348" v="552" actId="1076"/>
          <ac:grpSpMkLst>
            <pc:docMk/>
            <pc:sldMk cId="2374614574" sldId="2147481964"/>
            <ac:grpSpMk id="94" creationId="{F84C8B3E-143B-562F-C812-DFC011A819B9}"/>
          </ac:grpSpMkLst>
        </pc:grpChg>
        <pc:grpChg chg="add mod">
          <ac:chgData name="Kateryna Levchuk (UA)" userId="5dbb0cbd-4dc1-41d4-910d-5f884aef466d" providerId="ADAL" clId="{3D0DB7AE-1BA7-45E8-B6C7-4A63B94ABB52}" dt="2024-06-10T13:25:10.252" v="1041"/>
          <ac:grpSpMkLst>
            <pc:docMk/>
            <pc:sldMk cId="2374614574" sldId="2147481964"/>
            <ac:grpSpMk id="97" creationId="{62E4319F-D9C4-CE7E-8441-9C59CF043125}"/>
          </ac:grpSpMkLst>
        </pc:grpChg>
      </pc:sldChg>
      <pc:sldChg chg="addSp delSp modSp add mod">
        <pc:chgData name="Kateryna Levchuk (UA)" userId="5dbb0cbd-4dc1-41d4-910d-5f884aef466d" providerId="ADAL" clId="{3D0DB7AE-1BA7-45E8-B6C7-4A63B94ABB52}" dt="2024-06-10T13:51:35.605" v="1362" actId="1076"/>
        <pc:sldMkLst>
          <pc:docMk/>
          <pc:sldMk cId="2752004613" sldId="2147481965"/>
        </pc:sldMkLst>
        <pc:spChg chg="del">
          <ac:chgData name="Kateryna Levchuk (UA)" userId="5dbb0cbd-4dc1-41d4-910d-5f884aef466d" providerId="ADAL" clId="{3D0DB7AE-1BA7-45E8-B6C7-4A63B94ABB52}" dt="2024-06-10T10:52:52.011" v="563" actId="478"/>
          <ac:spMkLst>
            <pc:docMk/>
            <pc:sldMk cId="2752004613" sldId="2147481965"/>
            <ac:spMk id="4" creationId="{90309381-2350-E32A-D998-0DE68AD8DA4A}"/>
          </ac:spMkLst>
        </pc:spChg>
        <pc:spChg chg="mod">
          <ac:chgData name="Kateryna Levchuk (UA)" userId="5dbb0cbd-4dc1-41d4-910d-5f884aef466d" providerId="ADAL" clId="{3D0DB7AE-1BA7-45E8-B6C7-4A63B94ABB52}" dt="2024-06-10T11:44:29.249" v="853" actId="14100"/>
          <ac:spMkLst>
            <pc:docMk/>
            <pc:sldMk cId="2752004613" sldId="2147481965"/>
            <ac:spMk id="9" creationId="{E60771D5-36B1-5846-E0FD-EE10BA67E143}"/>
          </ac:spMkLst>
        </pc:spChg>
        <pc:spChg chg="mod">
          <ac:chgData name="Kateryna Levchuk (UA)" userId="5dbb0cbd-4dc1-41d4-910d-5f884aef466d" providerId="ADAL" clId="{3D0DB7AE-1BA7-45E8-B6C7-4A63B94ABB52}" dt="2024-06-10T11:45:52.495" v="889" actId="14100"/>
          <ac:spMkLst>
            <pc:docMk/>
            <pc:sldMk cId="2752004613" sldId="2147481965"/>
            <ac:spMk id="10" creationId="{0E3AF958-70C4-357F-D986-53A75E5CF63B}"/>
          </ac:spMkLst>
        </pc:spChg>
        <pc:spChg chg="mod">
          <ac:chgData name="Kateryna Levchuk (UA)" userId="5dbb0cbd-4dc1-41d4-910d-5f884aef466d" providerId="ADAL" clId="{3D0DB7AE-1BA7-45E8-B6C7-4A63B94ABB52}" dt="2024-06-10T11:44:26.097" v="852" actId="1076"/>
          <ac:spMkLst>
            <pc:docMk/>
            <pc:sldMk cId="2752004613" sldId="2147481965"/>
            <ac:spMk id="12" creationId="{9FE544F4-5FE9-EB4A-60A5-5DB0C11FA6FA}"/>
          </ac:spMkLst>
        </pc:spChg>
        <pc:spChg chg="del">
          <ac:chgData name="Kateryna Levchuk (UA)" userId="5dbb0cbd-4dc1-41d4-910d-5f884aef466d" providerId="ADAL" clId="{3D0DB7AE-1BA7-45E8-B6C7-4A63B94ABB52}" dt="2024-06-10T10:52:49.152" v="562" actId="478"/>
          <ac:spMkLst>
            <pc:docMk/>
            <pc:sldMk cId="2752004613" sldId="2147481965"/>
            <ac:spMk id="14" creationId="{5B5D085A-3398-3BD7-B8AA-EE3669531778}"/>
          </ac:spMkLst>
        </pc:spChg>
        <pc:spChg chg="add del mod">
          <ac:chgData name="Kateryna Levchuk (UA)" userId="5dbb0cbd-4dc1-41d4-910d-5f884aef466d" providerId="ADAL" clId="{3D0DB7AE-1BA7-45E8-B6C7-4A63B94ABB52}" dt="2024-06-10T10:53:56.991" v="576"/>
          <ac:spMkLst>
            <pc:docMk/>
            <pc:sldMk cId="2752004613" sldId="2147481965"/>
            <ac:spMk id="16" creationId="{911C036C-F7FF-EA82-CAF0-A16D37FB8600}"/>
          </ac:spMkLst>
        </pc:spChg>
        <pc:spChg chg="mod topLvl">
          <ac:chgData name="Kateryna Levchuk (UA)" userId="5dbb0cbd-4dc1-41d4-910d-5f884aef466d" providerId="ADAL" clId="{3D0DB7AE-1BA7-45E8-B6C7-4A63B94ABB52}" dt="2024-06-10T13:24:26.372" v="1029" actId="164"/>
          <ac:spMkLst>
            <pc:docMk/>
            <pc:sldMk cId="2752004613" sldId="2147481965"/>
            <ac:spMk id="17" creationId="{63E7A5D7-CFE1-520D-819B-3703E53CBA5E}"/>
          </ac:spMkLst>
        </pc:spChg>
        <pc:spChg chg="mod topLvl">
          <ac:chgData name="Kateryna Levchuk (UA)" userId="5dbb0cbd-4dc1-41d4-910d-5f884aef466d" providerId="ADAL" clId="{3D0DB7AE-1BA7-45E8-B6C7-4A63B94ABB52}" dt="2024-06-10T13:24:26.372" v="1029" actId="164"/>
          <ac:spMkLst>
            <pc:docMk/>
            <pc:sldMk cId="2752004613" sldId="2147481965"/>
            <ac:spMk id="19" creationId="{AF00175B-FD76-4FA8-F7C9-6353DF9C6180}"/>
          </ac:spMkLst>
        </pc:spChg>
        <pc:spChg chg="del">
          <ac:chgData name="Kateryna Levchuk (UA)" userId="5dbb0cbd-4dc1-41d4-910d-5f884aef466d" providerId="ADAL" clId="{3D0DB7AE-1BA7-45E8-B6C7-4A63B94ABB52}" dt="2024-06-10T10:52:52.613" v="564" actId="478"/>
          <ac:spMkLst>
            <pc:docMk/>
            <pc:sldMk cId="2752004613" sldId="2147481965"/>
            <ac:spMk id="20" creationId="{65DB62E6-BFFA-886D-687D-AC30DD6D33FB}"/>
          </ac:spMkLst>
        </pc:spChg>
        <pc:spChg chg="mod topLvl">
          <ac:chgData name="Kateryna Levchuk (UA)" userId="5dbb0cbd-4dc1-41d4-910d-5f884aef466d" providerId="ADAL" clId="{3D0DB7AE-1BA7-45E8-B6C7-4A63B94ABB52}" dt="2024-06-10T13:24:26.372" v="1029" actId="164"/>
          <ac:spMkLst>
            <pc:docMk/>
            <pc:sldMk cId="2752004613" sldId="2147481965"/>
            <ac:spMk id="22" creationId="{857FB673-D176-EF67-AF60-57DCFAC4504F}"/>
          </ac:spMkLst>
        </pc:spChg>
        <pc:spChg chg="mod topLvl">
          <ac:chgData name="Kateryna Levchuk (UA)" userId="5dbb0cbd-4dc1-41d4-910d-5f884aef466d" providerId="ADAL" clId="{3D0DB7AE-1BA7-45E8-B6C7-4A63B94ABB52}" dt="2024-06-10T13:24:26.372" v="1029" actId="164"/>
          <ac:spMkLst>
            <pc:docMk/>
            <pc:sldMk cId="2752004613" sldId="2147481965"/>
            <ac:spMk id="23" creationId="{E12C62DC-039B-5926-D174-B1A8FEF347F6}"/>
          </ac:spMkLst>
        </pc:spChg>
        <pc:spChg chg="mod topLvl">
          <ac:chgData name="Kateryna Levchuk (UA)" userId="5dbb0cbd-4dc1-41d4-910d-5f884aef466d" providerId="ADAL" clId="{3D0DB7AE-1BA7-45E8-B6C7-4A63B94ABB52}" dt="2024-06-10T13:24:26.372" v="1029" actId="164"/>
          <ac:spMkLst>
            <pc:docMk/>
            <pc:sldMk cId="2752004613" sldId="2147481965"/>
            <ac:spMk id="24" creationId="{2706F6E9-69C2-27CC-E989-8D9A11DBAD98}"/>
          </ac:spMkLst>
        </pc:spChg>
        <pc:spChg chg="mod topLvl">
          <ac:chgData name="Kateryna Levchuk (UA)" userId="5dbb0cbd-4dc1-41d4-910d-5f884aef466d" providerId="ADAL" clId="{3D0DB7AE-1BA7-45E8-B6C7-4A63B94ABB52}" dt="2024-06-10T13:24:26.372" v="1029" actId="164"/>
          <ac:spMkLst>
            <pc:docMk/>
            <pc:sldMk cId="2752004613" sldId="2147481965"/>
            <ac:spMk id="25" creationId="{85ED544C-9FDB-E688-FE2E-B5D5B48793F5}"/>
          </ac:spMkLst>
        </pc:spChg>
        <pc:spChg chg="del mod topLvl">
          <ac:chgData name="Kateryna Levchuk (UA)" userId="5dbb0cbd-4dc1-41d4-910d-5f884aef466d" providerId="ADAL" clId="{3D0DB7AE-1BA7-45E8-B6C7-4A63B94ABB52}" dt="2024-06-10T13:24:13.289" v="1028" actId="478"/>
          <ac:spMkLst>
            <pc:docMk/>
            <pc:sldMk cId="2752004613" sldId="2147481965"/>
            <ac:spMk id="26" creationId="{FE7BC0BF-8C78-F495-FA3D-D543FB5830DB}"/>
          </ac:spMkLst>
        </pc:spChg>
        <pc:spChg chg="add del mod">
          <ac:chgData name="Kateryna Levchuk (UA)" userId="5dbb0cbd-4dc1-41d4-910d-5f884aef466d" providerId="ADAL" clId="{3D0DB7AE-1BA7-45E8-B6C7-4A63B94ABB52}" dt="2024-06-10T10:53:56.991" v="576"/>
          <ac:spMkLst>
            <pc:docMk/>
            <pc:sldMk cId="2752004613" sldId="2147481965"/>
            <ac:spMk id="27" creationId="{347BB2CE-6AE0-BD5E-B7F9-36D3D930C4C5}"/>
          </ac:spMkLst>
        </pc:spChg>
        <pc:spChg chg="add del mod">
          <ac:chgData name="Kateryna Levchuk (UA)" userId="5dbb0cbd-4dc1-41d4-910d-5f884aef466d" providerId="ADAL" clId="{3D0DB7AE-1BA7-45E8-B6C7-4A63B94ABB52}" dt="2024-06-10T10:53:56.991" v="576"/>
          <ac:spMkLst>
            <pc:docMk/>
            <pc:sldMk cId="2752004613" sldId="2147481965"/>
            <ac:spMk id="28" creationId="{F80DC647-8A51-AD4D-221F-67A0964FFB7B}"/>
          </ac:spMkLst>
        </pc:spChg>
        <pc:spChg chg="add del mod">
          <ac:chgData name="Kateryna Levchuk (UA)" userId="5dbb0cbd-4dc1-41d4-910d-5f884aef466d" providerId="ADAL" clId="{3D0DB7AE-1BA7-45E8-B6C7-4A63B94ABB52}" dt="2024-06-10T10:53:56.991" v="576"/>
          <ac:spMkLst>
            <pc:docMk/>
            <pc:sldMk cId="2752004613" sldId="2147481965"/>
            <ac:spMk id="29" creationId="{9773C127-3641-74A9-9BD6-1177169D5217}"/>
          </ac:spMkLst>
        </pc:spChg>
        <pc:spChg chg="add del mod">
          <ac:chgData name="Kateryna Levchuk (UA)" userId="5dbb0cbd-4dc1-41d4-910d-5f884aef466d" providerId="ADAL" clId="{3D0DB7AE-1BA7-45E8-B6C7-4A63B94ABB52}" dt="2024-06-10T10:53:56.991" v="576"/>
          <ac:spMkLst>
            <pc:docMk/>
            <pc:sldMk cId="2752004613" sldId="2147481965"/>
            <ac:spMk id="30" creationId="{13F15C1F-09E1-DA57-69C8-92E96546F641}"/>
          </ac:spMkLst>
        </pc:spChg>
        <pc:spChg chg="add del mod">
          <ac:chgData name="Kateryna Levchuk (UA)" userId="5dbb0cbd-4dc1-41d4-910d-5f884aef466d" providerId="ADAL" clId="{3D0DB7AE-1BA7-45E8-B6C7-4A63B94ABB52}" dt="2024-06-10T10:53:56.991" v="576"/>
          <ac:spMkLst>
            <pc:docMk/>
            <pc:sldMk cId="2752004613" sldId="2147481965"/>
            <ac:spMk id="31" creationId="{094D9726-A21F-20AE-8D71-AC3F4B966362}"/>
          </ac:spMkLst>
        </pc:spChg>
        <pc:spChg chg="add del mod">
          <ac:chgData name="Kateryna Levchuk (UA)" userId="5dbb0cbd-4dc1-41d4-910d-5f884aef466d" providerId="ADAL" clId="{3D0DB7AE-1BA7-45E8-B6C7-4A63B94ABB52}" dt="2024-06-10T10:53:56.991" v="576"/>
          <ac:spMkLst>
            <pc:docMk/>
            <pc:sldMk cId="2752004613" sldId="2147481965"/>
            <ac:spMk id="32" creationId="{5AD371FC-CC0F-764F-2E4A-7A3168929550}"/>
          </ac:spMkLst>
        </pc:spChg>
        <pc:spChg chg="mod">
          <ac:chgData name="Kateryna Levchuk (UA)" userId="5dbb0cbd-4dc1-41d4-910d-5f884aef466d" providerId="ADAL" clId="{3D0DB7AE-1BA7-45E8-B6C7-4A63B94ABB52}" dt="2024-06-10T10:53:40.074" v="567"/>
          <ac:spMkLst>
            <pc:docMk/>
            <pc:sldMk cId="2752004613" sldId="2147481965"/>
            <ac:spMk id="34" creationId="{F9D8A673-AC3B-EC04-9783-3437D5CF58FE}"/>
          </ac:spMkLst>
        </pc:spChg>
        <pc:spChg chg="mod">
          <ac:chgData name="Kateryna Levchuk (UA)" userId="5dbb0cbd-4dc1-41d4-910d-5f884aef466d" providerId="ADAL" clId="{3D0DB7AE-1BA7-45E8-B6C7-4A63B94ABB52}" dt="2024-06-10T10:53:40.074" v="567"/>
          <ac:spMkLst>
            <pc:docMk/>
            <pc:sldMk cId="2752004613" sldId="2147481965"/>
            <ac:spMk id="36" creationId="{4A88F8CB-8045-FB15-B7D8-C79F7BE2BC12}"/>
          </ac:spMkLst>
        </pc:spChg>
        <pc:spChg chg="mod">
          <ac:chgData name="Kateryna Levchuk (UA)" userId="5dbb0cbd-4dc1-41d4-910d-5f884aef466d" providerId="ADAL" clId="{3D0DB7AE-1BA7-45E8-B6C7-4A63B94ABB52}" dt="2024-06-10T10:53:40.074" v="567"/>
          <ac:spMkLst>
            <pc:docMk/>
            <pc:sldMk cId="2752004613" sldId="2147481965"/>
            <ac:spMk id="38" creationId="{ECCC0CE4-8533-611D-6DD8-23B2568ED4D2}"/>
          </ac:spMkLst>
        </pc:spChg>
        <pc:spChg chg="mod">
          <ac:chgData name="Kateryna Levchuk (UA)" userId="5dbb0cbd-4dc1-41d4-910d-5f884aef466d" providerId="ADAL" clId="{3D0DB7AE-1BA7-45E8-B6C7-4A63B94ABB52}" dt="2024-06-10T10:53:40.074" v="567"/>
          <ac:spMkLst>
            <pc:docMk/>
            <pc:sldMk cId="2752004613" sldId="2147481965"/>
            <ac:spMk id="39" creationId="{E6E1F02D-5462-6654-0296-E8B5D0CB3AA1}"/>
          </ac:spMkLst>
        </pc:spChg>
        <pc:spChg chg="mod">
          <ac:chgData name="Kateryna Levchuk (UA)" userId="5dbb0cbd-4dc1-41d4-910d-5f884aef466d" providerId="ADAL" clId="{3D0DB7AE-1BA7-45E8-B6C7-4A63B94ABB52}" dt="2024-06-10T10:53:40.074" v="567"/>
          <ac:spMkLst>
            <pc:docMk/>
            <pc:sldMk cId="2752004613" sldId="2147481965"/>
            <ac:spMk id="41" creationId="{EF2009B8-8646-A953-010C-EF175C4F0F2C}"/>
          </ac:spMkLst>
        </pc:spChg>
        <pc:spChg chg="mod">
          <ac:chgData name="Kateryna Levchuk (UA)" userId="5dbb0cbd-4dc1-41d4-910d-5f884aef466d" providerId="ADAL" clId="{3D0DB7AE-1BA7-45E8-B6C7-4A63B94ABB52}" dt="2024-06-10T10:53:40.074" v="567"/>
          <ac:spMkLst>
            <pc:docMk/>
            <pc:sldMk cId="2752004613" sldId="2147481965"/>
            <ac:spMk id="42" creationId="{7927B135-FE38-ABBD-69C5-6A3636D5F9D7}"/>
          </ac:spMkLst>
        </pc:spChg>
        <pc:spChg chg="mod">
          <ac:chgData name="Kateryna Levchuk (UA)" userId="5dbb0cbd-4dc1-41d4-910d-5f884aef466d" providerId="ADAL" clId="{3D0DB7AE-1BA7-45E8-B6C7-4A63B94ABB52}" dt="2024-06-10T10:53:40.074" v="567"/>
          <ac:spMkLst>
            <pc:docMk/>
            <pc:sldMk cId="2752004613" sldId="2147481965"/>
            <ac:spMk id="44" creationId="{59B3D407-F09E-931F-EBD3-10A938637134}"/>
          </ac:spMkLst>
        </pc:spChg>
        <pc:spChg chg="mod">
          <ac:chgData name="Kateryna Levchuk (UA)" userId="5dbb0cbd-4dc1-41d4-910d-5f884aef466d" providerId="ADAL" clId="{3D0DB7AE-1BA7-45E8-B6C7-4A63B94ABB52}" dt="2024-06-10T10:53:40.074" v="567"/>
          <ac:spMkLst>
            <pc:docMk/>
            <pc:sldMk cId="2752004613" sldId="2147481965"/>
            <ac:spMk id="45" creationId="{170F168B-66C6-DC3F-53DB-67E5824319EC}"/>
          </ac:spMkLst>
        </pc:spChg>
        <pc:spChg chg="mod">
          <ac:chgData name="Kateryna Levchuk (UA)" userId="5dbb0cbd-4dc1-41d4-910d-5f884aef466d" providerId="ADAL" clId="{3D0DB7AE-1BA7-45E8-B6C7-4A63B94ABB52}" dt="2024-06-10T10:53:40.074" v="567"/>
          <ac:spMkLst>
            <pc:docMk/>
            <pc:sldMk cId="2752004613" sldId="2147481965"/>
            <ac:spMk id="47" creationId="{826F7E2C-47D6-3C5D-A10B-F0BDDAB2E8D4}"/>
          </ac:spMkLst>
        </pc:spChg>
        <pc:spChg chg="mod">
          <ac:chgData name="Kateryna Levchuk (UA)" userId="5dbb0cbd-4dc1-41d4-910d-5f884aef466d" providerId="ADAL" clId="{3D0DB7AE-1BA7-45E8-B6C7-4A63B94ABB52}" dt="2024-06-10T10:53:40.074" v="567"/>
          <ac:spMkLst>
            <pc:docMk/>
            <pc:sldMk cId="2752004613" sldId="2147481965"/>
            <ac:spMk id="48" creationId="{4C9F6A38-882D-840A-E8D4-02468C07E1A5}"/>
          </ac:spMkLst>
        </pc:spChg>
        <pc:spChg chg="mod">
          <ac:chgData name="Kateryna Levchuk (UA)" userId="5dbb0cbd-4dc1-41d4-910d-5f884aef466d" providerId="ADAL" clId="{3D0DB7AE-1BA7-45E8-B6C7-4A63B94ABB52}" dt="2024-06-10T10:53:40.074" v="567"/>
          <ac:spMkLst>
            <pc:docMk/>
            <pc:sldMk cId="2752004613" sldId="2147481965"/>
            <ac:spMk id="50" creationId="{4E7AB2E9-212C-7483-C047-F41E4458E550}"/>
          </ac:spMkLst>
        </pc:spChg>
        <pc:spChg chg="mod">
          <ac:chgData name="Kateryna Levchuk (UA)" userId="5dbb0cbd-4dc1-41d4-910d-5f884aef466d" providerId="ADAL" clId="{3D0DB7AE-1BA7-45E8-B6C7-4A63B94ABB52}" dt="2024-06-10T10:53:40.074" v="567"/>
          <ac:spMkLst>
            <pc:docMk/>
            <pc:sldMk cId="2752004613" sldId="2147481965"/>
            <ac:spMk id="51" creationId="{ADA86F00-0020-F128-8AF2-26AB683EF756}"/>
          </ac:spMkLst>
        </pc:spChg>
        <pc:spChg chg="add del mod">
          <ac:chgData name="Kateryna Levchuk (UA)" userId="5dbb0cbd-4dc1-41d4-910d-5f884aef466d" providerId="ADAL" clId="{3D0DB7AE-1BA7-45E8-B6C7-4A63B94ABB52}" dt="2024-06-10T11:33:09.533" v="733" actId="478"/>
          <ac:spMkLst>
            <pc:docMk/>
            <pc:sldMk cId="2752004613" sldId="2147481965"/>
            <ac:spMk id="52" creationId="{9410B0E7-AC1A-677F-71C4-0364A660647A}"/>
          </ac:spMkLst>
        </pc:spChg>
        <pc:spChg chg="mod">
          <ac:chgData name="Kateryna Levchuk (UA)" userId="5dbb0cbd-4dc1-41d4-910d-5f884aef466d" providerId="ADAL" clId="{3D0DB7AE-1BA7-45E8-B6C7-4A63B94ABB52}" dt="2024-06-10T10:54:03.929" v="577"/>
          <ac:spMkLst>
            <pc:docMk/>
            <pc:sldMk cId="2752004613" sldId="2147481965"/>
            <ac:spMk id="54" creationId="{154F2415-EC65-D313-CDC4-6C8C9EB49588}"/>
          </ac:spMkLst>
        </pc:spChg>
        <pc:spChg chg="mod">
          <ac:chgData name="Kateryna Levchuk (UA)" userId="5dbb0cbd-4dc1-41d4-910d-5f884aef466d" providerId="ADAL" clId="{3D0DB7AE-1BA7-45E8-B6C7-4A63B94ABB52}" dt="2024-06-10T10:54:03.929" v="577"/>
          <ac:spMkLst>
            <pc:docMk/>
            <pc:sldMk cId="2752004613" sldId="2147481965"/>
            <ac:spMk id="55" creationId="{9CA32459-41B1-6887-9ED0-2C191B8D0811}"/>
          </ac:spMkLst>
        </pc:spChg>
        <pc:spChg chg="mod">
          <ac:chgData name="Kateryna Levchuk (UA)" userId="5dbb0cbd-4dc1-41d4-910d-5f884aef466d" providerId="ADAL" clId="{3D0DB7AE-1BA7-45E8-B6C7-4A63B94ABB52}" dt="2024-06-10T11:16:35.041" v="600"/>
          <ac:spMkLst>
            <pc:docMk/>
            <pc:sldMk cId="2752004613" sldId="2147481965"/>
            <ac:spMk id="57" creationId="{3943CCA7-4DCA-CE81-261F-BB30147FE557}"/>
          </ac:spMkLst>
        </pc:spChg>
        <pc:spChg chg="mod">
          <ac:chgData name="Kateryna Levchuk (UA)" userId="5dbb0cbd-4dc1-41d4-910d-5f884aef466d" providerId="ADAL" clId="{3D0DB7AE-1BA7-45E8-B6C7-4A63B94ABB52}" dt="2024-06-10T11:16:35.041" v="600"/>
          <ac:spMkLst>
            <pc:docMk/>
            <pc:sldMk cId="2752004613" sldId="2147481965"/>
            <ac:spMk id="58" creationId="{5A0B75FC-0A46-3038-6B50-CFD60EEA251D}"/>
          </ac:spMkLst>
        </pc:spChg>
        <pc:spChg chg="add del mod">
          <ac:chgData name="Kateryna Levchuk (UA)" userId="5dbb0cbd-4dc1-41d4-910d-5f884aef466d" providerId="ADAL" clId="{3D0DB7AE-1BA7-45E8-B6C7-4A63B94ABB52}" dt="2024-06-10T11:33:04.487" v="729" actId="478"/>
          <ac:spMkLst>
            <pc:docMk/>
            <pc:sldMk cId="2752004613" sldId="2147481965"/>
            <ac:spMk id="59" creationId="{18BD95C7-3A35-562D-6C14-4D776CF23A7D}"/>
          </ac:spMkLst>
        </pc:spChg>
        <pc:spChg chg="mod">
          <ac:chgData name="Kateryna Levchuk (UA)" userId="5dbb0cbd-4dc1-41d4-910d-5f884aef466d" providerId="ADAL" clId="{3D0DB7AE-1BA7-45E8-B6C7-4A63B94ABB52}" dt="2024-06-10T11:18:46.095" v="608"/>
          <ac:spMkLst>
            <pc:docMk/>
            <pc:sldMk cId="2752004613" sldId="2147481965"/>
            <ac:spMk id="61" creationId="{2630ABFD-9F6F-765A-6256-A4C7053A1A7A}"/>
          </ac:spMkLst>
        </pc:spChg>
        <pc:spChg chg="mod">
          <ac:chgData name="Kateryna Levchuk (UA)" userId="5dbb0cbd-4dc1-41d4-910d-5f884aef466d" providerId="ADAL" clId="{3D0DB7AE-1BA7-45E8-B6C7-4A63B94ABB52}" dt="2024-06-10T11:18:46.095" v="608"/>
          <ac:spMkLst>
            <pc:docMk/>
            <pc:sldMk cId="2752004613" sldId="2147481965"/>
            <ac:spMk id="62" creationId="{DED6656E-AB48-6B84-4F7E-F713A16ED54F}"/>
          </ac:spMkLst>
        </pc:spChg>
        <pc:spChg chg="add del mod">
          <ac:chgData name="Kateryna Levchuk (UA)" userId="5dbb0cbd-4dc1-41d4-910d-5f884aef466d" providerId="ADAL" clId="{3D0DB7AE-1BA7-45E8-B6C7-4A63B94ABB52}" dt="2024-06-10T11:33:04.487" v="729" actId="478"/>
          <ac:spMkLst>
            <pc:docMk/>
            <pc:sldMk cId="2752004613" sldId="2147481965"/>
            <ac:spMk id="63" creationId="{9740ED22-DA06-64B1-6223-8475C94E7497}"/>
          </ac:spMkLst>
        </pc:spChg>
        <pc:spChg chg="mod">
          <ac:chgData name="Kateryna Levchuk (UA)" userId="5dbb0cbd-4dc1-41d4-910d-5f884aef466d" providerId="ADAL" clId="{3D0DB7AE-1BA7-45E8-B6C7-4A63B94ABB52}" dt="2024-06-10T11:19:38.868" v="615"/>
          <ac:spMkLst>
            <pc:docMk/>
            <pc:sldMk cId="2752004613" sldId="2147481965"/>
            <ac:spMk id="65" creationId="{4E5A0C50-E5E6-E8EB-2E96-FD284BCFA142}"/>
          </ac:spMkLst>
        </pc:spChg>
        <pc:spChg chg="mod">
          <ac:chgData name="Kateryna Levchuk (UA)" userId="5dbb0cbd-4dc1-41d4-910d-5f884aef466d" providerId="ADAL" clId="{3D0DB7AE-1BA7-45E8-B6C7-4A63B94ABB52}" dt="2024-06-10T11:19:38.868" v="615"/>
          <ac:spMkLst>
            <pc:docMk/>
            <pc:sldMk cId="2752004613" sldId="2147481965"/>
            <ac:spMk id="66" creationId="{2F1D5E94-7362-C3DD-53F3-6D04AE6EDE20}"/>
          </ac:spMkLst>
        </pc:spChg>
        <pc:spChg chg="add del mod">
          <ac:chgData name="Kateryna Levchuk (UA)" userId="5dbb0cbd-4dc1-41d4-910d-5f884aef466d" providerId="ADAL" clId="{3D0DB7AE-1BA7-45E8-B6C7-4A63B94ABB52}" dt="2024-06-10T11:33:11.148" v="735" actId="478"/>
          <ac:spMkLst>
            <pc:docMk/>
            <pc:sldMk cId="2752004613" sldId="2147481965"/>
            <ac:spMk id="67" creationId="{5A4D6B89-AE15-C196-58BA-1F6ABC4DB280}"/>
          </ac:spMkLst>
        </pc:spChg>
        <pc:spChg chg="add del mod">
          <ac:chgData name="Kateryna Levchuk (UA)" userId="5dbb0cbd-4dc1-41d4-910d-5f884aef466d" providerId="ADAL" clId="{3D0DB7AE-1BA7-45E8-B6C7-4A63B94ABB52}" dt="2024-06-10T11:33:13.220" v="736" actId="478"/>
          <ac:spMkLst>
            <pc:docMk/>
            <pc:sldMk cId="2752004613" sldId="2147481965"/>
            <ac:spMk id="68" creationId="{C395691E-A398-9799-8556-08C1C8E91CCB}"/>
          </ac:spMkLst>
        </pc:spChg>
        <pc:spChg chg="mod">
          <ac:chgData name="Kateryna Levchuk (UA)" userId="5dbb0cbd-4dc1-41d4-910d-5f884aef466d" providerId="ADAL" clId="{3D0DB7AE-1BA7-45E8-B6C7-4A63B94ABB52}" dt="2024-06-10T11:22:44.541" v="630"/>
          <ac:spMkLst>
            <pc:docMk/>
            <pc:sldMk cId="2752004613" sldId="2147481965"/>
            <ac:spMk id="70" creationId="{A9498D87-9837-7528-3903-54B4AD024A9E}"/>
          </ac:spMkLst>
        </pc:spChg>
        <pc:spChg chg="mod">
          <ac:chgData name="Kateryna Levchuk (UA)" userId="5dbb0cbd-4dc1-41d4-910d-5f884aef466d" providerId="ADAL" clId="{3D0DB7AE-1BA7-45E8-B6C7-4A63B94ABB52}" dt="2024-06-10T11:22:44.541" v="630"/>
          <ac:spMkLst>
            <pc:docMk/>
            <pc:sldMk cId="2752004613" sldId="2147481965"/>
            <ac:spMk id="71" creationId="{37A41882-3EFF-AE6B-E293-4A5661AD27DC}"/>
          </ac:spMkLst>
        </pc:spChg>
        <pc:spChg chg="add del mod">
          <ac:chgData name="Kateryna Levchuk (UA)" userId="5dbb0cbd-4dc1-41d4-910d-5f884aef466d" providerId="ADAL" clId="{3D0DB7AE-1BA7-45E8-B6C7-4A63B94ABB52}" dt="2024-06-10T11:33:04.487" v="729" actId="478"/>
          <ac:spMkLst>
            <pc:docMk/>
            <pc:sldMk cId="2752004613" sldId="2147481965"/>
            <ac:spMk id="72" creationId="{A6C06CE5-8DE1-8565-5EF3-C57EC1C410CF}"/>
          </ac:spMkLst>
        </pc:spChg>
        <pc:spChg chg="mod">
          <ac:chgData name="Kateryna Levchuk (UA)" userId="5dbb0cbd-4dc1-41d4-910d-5f884aef466d" providerId="ADAL" clId="{3D0DB7AE-1BA7-45E8-B6C7-4A63B94ABB52}" dt="2024-06-10T11:25:32.200" v="638"/>
          <ac:spMkLst>
            <pc:docMk/>
            <pc:sldMk cId="2752004613" sldId="2147481965"/>
            <ac:spMk id="74" creationId="{0E61AA0F-3DF2-95E6-1C86-CE3B418C3A33}"/>
          </ac:spMkLst>
        </pc:spChg>
        <pc:spChg chg="mod">
          <ac:chgData name="Kateryna Levchuk (UA)" userId="5dbb0cbd-4dc1-41d4-910d-5f884aef466d" providerId="ADAL" clId="{3D0DB7AE-1BA7-45E8-B6C7-4A63B94ABB52}" dt="2024-06-10T11:25:32.200" v="638"/>
          <ac:spMkLst>
            <pc:docMk/>
            <pc:sldMk cId="2752004613" sldId="2147481965"/>
            <ac:spMk id="75" creationId="{F473D18C-9227-3627-7E13-55DA5FA5A628}"/>
          </ac:spMkLst>
        </pc:spChg>
        <pc:spChg chg="add del mod">
          <ac:chgData name="Kateryna Levchuk (UA)" userId="5dbb0cbd-4dc1-41d4-910d-5f884aef466d" providerId="ADAL" clId="{3D0DB7AE-1BA7-45E8-B6C7-4A63B94ABB52}" dt="2024-06-10T11:33:04.487" v="729" actId="478"/>
          <ac:spMkLst>
            <pc:docMk/>
            <pc:sldMk cId="2752004613" sldId="2147481965"/>
            <ac:spMk id="76" creationId="{5EEB6A95-BC38-4C3C-69B1-DAF8E138A9DA}"/>
          </ac:spMkLst>
        </pc:spChg>
        <pc:spChg chg="mod">
          <ac:chgData name="Kateryna Levchuk (UA)" userId="5dbb0cbd-4dc1-41d4-910d-5f884aef466d" providerId="ADAL" clId="{3D0DB7AE-1BA7-45E8-B6C7-4A63B94ABB52}" dt="2024-06-10T11:25:52.032" v="643"/>
          <ac:spMkLst>
            <pc:docMk/>
            <pc:sldMk cId="2752004613" sldId="2147481965"/>
            <ac:spMk id="78" creationId="{A973EAD7-BE8A-AE36-B9D4-D1DF9786A6C9}"/>
          </ac:spMkLst>
        </pc:spChg>
        <pc:spChg chg="mod">
          <ac:chgData name="Kateryna Levchuk (UA)" userId="5dbb0cbd-4dc1-41d4-910d-5f884aef466d" providerId="ADAL" clId="{3D0DB7AE-1BA7-45E8-B6C7-4A63B94ABB52}" dt="2024-06-10T11:25:52.032" v="643"/>
          <ac:spMkLst>
            <pc:docMk/>
            <pc:sldMk cId="2752004613" sldId="2147481965"/>
            <ac:spMk id="79" creationId="{68F9EC4C-F6FD-7AA5-2AC6-0598DED009B9}"/>
          </ac:spMkLst>
        </pc:spChg>
        <pc:spChg chg="mod">
          <ac:chgData name="Kateryna Levchuk (UA)" userId="5dbb0cbd-4dc1-41d4-910d-5f884aef466d" providerId="ADAL" clId="{3D0DB7AE-1BA7-45E8-B6C7-4A63B94ABB52}" dt="2024-06-10T11:26:29.008" v="649" actId="571"/>
          <ac:spMkLst>
            <pc:docMk/>
            <pc:sldMk cId="2752004613" sldId="2147481965"/>
            <ac:spMk id="81" creationId="{426BBEAF-548B-2EE8-86F1-938BE9925EE1}"/>
          </ac:spMkLst>
        </pc:spChg>
        <pc:spChg chg="mod">
          <ac:chgData name="Kateryna Levchuk (UA)" userId="5dbb0cbd-4dc1-41d4-910d-5f884aef466d" providerId="ADAL" clId="{3D0DB7AE-1BA7-45E8-B6C7-4A63B94ABB52}" dt="2024-06-10T11:26:29.008" v="649" actId="571"/>
          <ac:spMkLst>
            <pc:docMk/>
            <pc:sldMk cId="2752004613" sldId="2147481965"/>
            <ac:spMk id="82" creationId="{E41BE30C-1DD0-7B61-0761-B9B962B53277}"/>
          </ac:spMkLst>
        </pc:spChg>
        <pc:spChg chg="add mod">
          <ac:chgData name="Kateryna Levchuk (UA)" userId="5dbb0cbd-4dc1-41d4-910d-5f884aef466d" providerId="ADAL" clId="{3D0DB7AE-1BA7-45E8-B6C7-4A63B94ABB52}" dt="2024-06-10T11:26:29.008" v="649" actId="571"/>
          <ac:spMkLst>
            <pc:docMk/>
            <pc:sldMk cId="2752004613" sldId="2147481965"/>
            <ac:spMk id="83" creationId="{09C05B7D-0C3F-7326-4843-C44A892E7808}"/>
          </ac:spMkLst>
        </pc:spChg>
        <pc:spChg chg="mod">
          <ac:chgData name="Kateryna Levchuk (UA)" userId="5dbb0cbd-4dc1-41d4-910d-5f884aef466d" providerId="ADAL" clId="{3D0DB7AE-1BA7-45E8-B6C7-4A63B94ABB52}" dt="2024-06-10T11:27:35.605" v="689"/>
          <ac:spMkLst>
            <pc:docMk/>
            <pc:sldMk cId="2752004613" sldId="2147481965"/>
            <ac:spMk id="85" creationId="{38C1574C-71A1-A18C-3907-C80F008C3FAE}"/>
          </ac:spMkLst>
        </pc:spChg>
        <pc:spChg chg="mod">
          <ac:chgData name="Kateryna Levchuk (UA)" userId="5dbb0cbd-4dc1-41d4-910d-5f884aef466d" providerId="ADAL" clId="{3D0DB7AE-1BA7-45E8-B6C7-4A63B94ABB52}" dt="2024-06-10T11:27:35.605" v="689"/>
          <ac:spMkLst>
            <pc:docMk/>
            <pc:sldMk cId="2752004613" sldId="2147481965"/>
            <ac:spMk id="86" creationId="{B59ADAE4-5EB6-26F7-893D-3424D3FCE284}"/>
          </ac:spMkLst>
        </pc:spChg>
        <pc:spChg chg="mod">
          <ac:chgData name="Kateryna Levchuk (UA)" userId="5dbb0cbd-4dc1-41d4-910d-5f884aef466d" providerId="ADAL" clId="{3D0DB7AE-1BA7-45E8-B6C7-4A63B94ABB52}" dt="2024-06-10T11:28:02.159" v="696"/>
          <ac:spMkLst>
            <pc:docMk/>
            <pc:sldMk cId="2752004613" sldId="2147481965"/>
            <ac:spMk id="88" creationId="{57764107-A117-32C7-522B-6E37B70FB48C}"/>
          </ac:spMkLst>
        </pc:spChg>
        <pc:spChg chg="mod">
          <ac:chgData name="Kateryna Levchuk (UA)" userId="5dbb0cbd-4dc1-41d4-910d-5f884aef466d" providerId="ADAL" clId="{3D0DB7AE-1BA7-45E8-B6C7-4A63B94ABB52}" dt="2024-06-10T11:28:02.159" v="696"/>
          <ac:spMkLst>
            <pc:docMk/>
            <pc:sldMk cId="2752004613" sldId="2147481965"/>
            <ac:spMk id="89" creationId="{16C35B30-E121-31B4-2BFF-DFB65DE036B4}"/>
          </ac:spMkLst>
        </pc:spChg>
        <pc:spChg chg="mod">
          <ac:chgData name="Kateryna Levchuk (UA)" userId="5dbb0cbd-4dc1-41d4-910d-5f884aef466d" providerId="ADAL" clId="{3D0DB7AE-1BA7-45E8-B6C7-4A63B94ABB52}" dt="2024-06-10T11:29:56.831" v="706"/>
          <ac:spMkLst>
            <pc:docMk/>
            <pc:sldMk cId="2752004613" sldId="2147481965"/>
            <ac:spMk id="91" creationId="{5965F22E-0A47-5808-7FE1-9AA1A93BE753}"/>
          </ac:spMkLst>
        </pc:spChg>
        <pc:spChg chg="mod">
          <ac:chgData name="Kateryna Levchuk (UA)" userId="5dbb0cbd-4dc1-41d4-910d-5f884aef466d" providerId="ADAL" clId="{3D0DB7AE-1BA7-45E8-B6C7-4A63B94ABB52}" dt="2024-06-10T11:29:56.831" v="706"/>
          <ac:spMkLst>
            <pc:docMk/>
            <pc:sldMk cId="2752004613" sldId="2147481965"/>
            <ac:spMk id="92" creationId="{9862CDC3-5E8F-0160-89BF-E8E97A493565}"/>
          </ac:spMkLst>
        </pc:spChg>
        <pc:spChg chg="mod">
          <ac:chgData name="Kateryna Levchuk (UA)" userId="5dbb0cbd-4dc1-41d4-910d-5f884aef466d" providerId="ADAL" clId="{3D0DB7AE-1BA7-45E8-B6C7-4A63B94ABB52}" dt="2024-06-10T11:29:56.831" v="706"/>
          <ac:spMkLst>
            <pc:docMk/>
            <pc:sldMk cId="2752004613" sldId="2147481965"/>
            <ac:spMk id="94" creationId="{37F49B6E-7EDB-D0D5-80EB-BFAE61B393AF}"/>
          </ac:spMkLst>
        </pc:spChg>
        <pc:spChg chg="mod">
          <ac:chgData name="Kateryna Levchuk (UA)" userId="5dbb0cbd-4dc1-41d4-910d-5f884aef466d" providerId="ADAL" clId="{3D0DB7AE-1BA7-45E8-B6C7-4A63B94ABB52}" dt="2024-06-10T11:29:56.831" v="706"/>
          <ac:spMkLst>
            <pc:docMk/>
            <pc:sldMk cId="2752004613" sldId="2147481965"/>
            <ac:spMk id="95" creationId="{2F5308E2-F80C-FDF4-181B-8920AD1BA90E}"/>
          </ac:spMkLst>
        </pc:spChg>
        <pc:spChg chg="mod">
          <ac:chgData name="Kateryna Levchuk (UA)" userId="5dbb0cbd-4dc1-41d4-910d-5f884aef466d" providerId="ADAL" clId="{3D0DB7AE-1BA7-45E8-B6C7-4A63B94ABB52}" dt="2024-06-10T11:29:56.831" v="706"/>
          <ac:spMkLst>
            <pc:docMk/>
            <pc:sldMk cId="2752004613" sldId="2147481965"/>
            <ac:spMk id="97" creationId="{247B48DF-71B7-271D-09D1-37961F6552EE}"/>
          </ac:spMkLst>
        </pc:spChg>
        <pc:spChg chg="mod">
          <ac:chgData name="Kateryna Levchuk (UA)" userId="5dbb0cbd-4dc1-41d4-910d-5f884aef466d" providerId="ADAL" clId="{3D0DB7AE-1BA7-45E8-B6C7-4A63B94ABB52}" dt="2024-06-10T11:29:56.831" v="706"/>
          <ac:spMkLst>
            <pc:docMk/>
            <pc:sldMk cId="2752004613" sldId="2147481965"/>
            <ac:spMk id="98" creationId="{866F6F8D-A328-E978-E7D1-42540980B7DE}"/>
          </ac:spMkLst>
        </pc:spChg>
        <pc:spChg chg="add del mod">
          <ac:chgData name="Kateryna Levchuk (UA)" userId="5dbb0cbd-4dc1-41d4-910d-5f884aef466d" providerId="ADAL" clId="{3D0DB7AE-1BA7-45E8-B6C7-4A63B94ABB52}" dt="2024-06-10T13:49:51.072" v="1342" actId="478"/>
          <ac:spMkLst>
            <pc:docMk/>
            <pc:sldMk cId="2752004613" sldId="2147481965"/>
            <ac:spMk id="99" creationId="{BC1ADCAE-2AA7-CAFD-AD2B-D57737AB195D}"/>
          </ac:spMkLst>
        </pc:spChg>
        <pc:spChg chg="mod">
          <ac:chgData name="Kateryna Levchuk (UA)" userId="5dbb0cbd-4dc1-41d4-910d-5f884aef466d" providerId="ADAL" clId="{3D0DB7AE-1BA7-45E8-B6C7-4A63B94ABB52}" dt="2024-06-10T11:33:29.268" v="737"/>
          <ac:spMkLst>
            <pc:docMk/>
            <pc:sldMk cId="2752004613" sldId="2147481965"/>
            <ac:spMk id="101" creationId="{06DC70D3-E022-8752-44C4-F6B128C0C2BF}"/>
          </ac:spMkLst>
        </pc:spChg>
        <pc:spChg chg="mod">
          <ac:chgData name="Kateryna Levchuk (UA)" userId="5dbb0cbd-4dc1-41d4-910d-5f884aef466d" providerId="ADAL" clId="{3D0DB7AE-1BA7-45E8-B6C7-4A63B94ABB52}" dt="2024-06-10T11:33:29.268" v="737"/>
          <ac:spMkLst>
            <pc:docMk/>
            <pc:sldMk cId="2752004613" sldId="2147481965"/>
            <ac:spMk id="102" creationId="{9B3E43C0-9F9F-F160-36CA-382D7E4C09E6}"/>
          </ac:spMkLst>
        </pc:spChg>
        <pc:spChg chg="add mod">
          <ac:chgData name="Kateryna Levchuk (UA)" userId="5dbb0cbd-4dc1-41d4-910d-5f884aef466d" providerId="ADAL" clId="{3D0DB7AE-1BA7-45E8-B6C7-4A63B94ABB52}" dt="2024-06-10T13:50:26.759" v="1346" actId="1076"/>
          <ac:spMkLst>
            <pc:docMk/>
            <pc:sldMk cId="2752004613" sldId="2147481965"/>
            <ac:spMk id="103" creationId="{B8A2F7DC-E116-1BBE-5A6B-64C7E680F1BD}"/>
          </ac:spMkLst>
        </pc:spChg>
        <pc:spChg chg="mod">
          <ac:chgData name="Kateryna Levchuk (UA)" userId="5dbb0cbd-4dc1-41d4-910d-5f884aef466d" providerId="ADAL" clId="{3D0DB7AE-1BA7-45E8-B6C7-4A63B94ABB52}" dt="2024-06-10T11:34:55.146" v="760"/>
          <ac:spMkLst>
            <pc:docMk/>
            <pc:sldMk cId="2752004613" sldId="2147481965"/>
            <ac:spMk id="105" creationId="{C30A9F25-F36D-5555-D038-240EEB601C1F}"/>
          </ac:spMkLst>
        </pc:spChg>
        <pc:spChg chg="mod">
          <ac:chgData name="Kateryna Levchuk (UA)" userId="5dbb0cbd-4dc1-41d4-910d-5f884aef466d" providerId="ADAL" clId="{3D0DB7AE-1BA7-45E8-B6C7-4A63B94ABB52}" dt="2024-06-10T11:34:55.146" v="760"/>
          <ac:spMkLst>
            <pc:docMk/>
            <pc:sldMk cId="2752004613" sldId="2147481965"/>
            <ac:spMk id="106" creationId="{B37EB0E4-E837-5688-49AA-52E18DC8FAFA}"/>
          </ac:spMkLst>
        </pc:spChg>
        <pc:spChg chg="add mod">
          <ac:chgData name="Kateryna Levchuk (UA)" userId="5dbb0cbd-4dc1-41d4-910d-5f884aef466d" providerId="ADAL" clId="{3D0DB7AE-1BA7-45E8-B6C7-4A63B94ABB52}" dt="2024-06-10T13:51:35.605" v="1362" actId="1076"/>
          <ac:spMkLst>
            <pc:docMk/>
            <pc:sldMk cId="2752004613" sldId="2147481965"/>
            <ac:spMk id="107" creationId="{EEF73D00-2BC0-1F09-AB22-997BF5B5AEDC}"/>
          </ac:spMkLst>
        </pc:spChg>
        <pc:spChg chg="mod">
          <ac:chgData name="Kateryna Levchuk (UA)" userId="5dbb0cbd-4dc1-41d4-910d-5f884aef466d" providerId="ADAL" clId="{3D0DB7AE-1BA7-45E8-B6C7-4A63B94ABB52}" dt="2024-06-10T11:35:29.149" v="765"/>
          <ac:spMkLst>
            <pc:docMk/>
            <pc:sldMk cId="2752004613" sldId="2147481965"/>
            <ac:spMk id="109" creationId="{93E9D7FD-3881-7325-C29E-A4FD5901589C}"/>
          </ac:spMkLst>
        </pc:spChg>
        <pc:spChg chg="mod">
          <ac:chgData name="Kateryna Levchuk (UA)" userId="5dbb0cbd-4dc1-41d4-910d-5f884aef466d" providerId="ADAL" clId="{3D0DB7AE-1BA7-45E8-B6C7-4A63B94ABB52}" dt="2024-06-10T11:35:29.149" v="765"/>
          <ac:spMkLst>
            <pc:docMk/>
            <pc:sldMk cId="2752004613" sldId="2147481965"/>
            <ac:spMk id="110" creationId="{1D019FFA-CDFC-AE8A-4A4F-8888B90931A1}"/>
          </ac:spMkLst>
        </pc:spChg>
        <pc:spChg chg="add mod">
          <ac:chgData name="Kateryna Levchuk (UA)" userId="5dbb0cbd-4dc1-41d4-910d-5f884aef466d" providerId="ADAL" clId="{3D0DB7AE-1BA7-45E8-B6C7-4A63B94ABB52}" dt="2024-06-10T13:51:00.851" v="1352" actId="1076"/>
          <ac:spMkLst>
            <pc:docMk/>
            <pc:sldMk cId="2752004613" sldId="2147481965"/>
            <ac:spMk id="111" creationId="{2BE907A4-1571-B9F0-D513-57AB05B745BE}"/>
          </ac:spMkLst>
        </pc:spChg>
        <pc:spChg chg="mod">
          <ac:chgData name="Kateryna Levchuk (UA)" userId="5dbb0cbd-4dc1-41d4-910d-5f884aef466d" providerId="ADAL" clId="{3D0DB7AE-1BA7-45E8-B6C7-4A63B94ABB52}" dt="2024-06-10T11:35:55.921" v="772"/>
          <ac:spMkLst>
            <pc:docMk/>
            <pc:sldMk cId="2752004613" sldId="2147481965"/>
            <ac:spMk id="113" creationId="{424D2508-9F2A-7D63-DCE0-4194149163ED}"/>
          </ac:spMkLst>
        </pc:spChg>
        <pc:spChg chg="mod">
          <ac:chgData name="Kateryna Levchuk (UA)" userId="5dbb0cbd-4dc1-41d4-910d-5f884aef466d" providerId="ADAL" clId="{3D0DB7AE-1BA7-45E8-B6C7-4A63B94ABB52}" dt="2024-06-10T11:35:55.921" v="772"/>
          <ac:spMkLst>
            <pc:docMk/>
            <pc:sldMk cId="2752004613" sldId="2147481965"/>
            <ac:spMk id="114" creationId="{C3C1DC3F-9E5E-2706-5A64-A0609EC26421}"/>
          </ac:spMkLst>
        </pc:spChg>
        <pc:spChg chg="add mod">
          <ac:chgData name="Kateryna Levchuk (UA)" userId="5dbb0cbd-4dc1-41d4-910d-5f884aef466d" providerId="ADAL" clId="{3D0DB7AE-1BA7-45E8-B6C7-4A63B94ABB52}" dt="2024-06-10T13:50:42.597" v="1349" actId="1076"/>
          <ac:spMkLst>
            <pc:docMk/>
            <pc:sldMk cId="2752004613" sldId="2147481965"/>
            <ac:spMk id="115" creationId="{54FE79A9-8473-DE77-44E6-2C986EF74B03}"/>
          </ac:spMkLst>
        </pc:spChg>
        <pc:spChg chg="mod">
          <ac:chgData name="Kateryna Levchuk (UA)" userId="5dbb0cbd-4dc1-41d4-910d-5f884aef466d" providerId="ADAL" clId="{3D0DB7AE-1BA7-45E8-B6C7-4A63B94ABB52}" dt="2024-06-10T11:37:13.192" v="785"/>
          <ac:spMkLst>
            <pc:docMk/>
            <pc:sldMk cId="2752004613" sldId="2147481965"/>
            <ac:spMk id="117" creationId="{EA49F443-6FB7-A250-290E-40398FB084E3}"/>
          </ac:spMkLst>
        </pc:spChg>
        <pc:spChg chg="mod">
          <ac:chgData name="Kateryna Levchuk (UA)" userId="5dbb0cbd-4dc1-41d4-910d-5f884aef466d" providerId="ADAL" clId="{3D0DB7AE-1BA7-45E8-B6C7-4A63B94ABB52}" dt="2024-06-10T11:37:13.192" v="785"/>
          <ac:spMkLst>
            <pc:docMk/>
            <pc:sldMk cId="2752004613" sldId="2147481965"/>
            <ac:spMk id="118" creationId="{5237A12C-D992-4FC2-D3FC-563E010565F8}"/>
          </ac:spMkLst>
        </pc:spChg>
        <pc:spChg chg="add mod">
          <ac:chgData name="Kateryna Levchuk (UA)" userId="5dbb0cbd-4dc1-41d4-910d-5f884aef466d" providerId="ADAL" clId="{3D0DB7AE-1BA7-45E8-B6C7-4A63B94ABB52}" dt="2024-06-10T13:51:35.605" v="1362" actId="1076"/>
          <ac:spMkLst>
            <pc:docMk/>
            <pc:sldMk cId="2752004613" sldId="2147481965"/>
            <ac:spMk id="119" creationId="{25857B8E-3D4F-1175-6C7E-C82281D0DFB2}"/>
          </ac:spMkLst>
        </pc:spChg>
        <pc:spChg chg="mod">
          <ac:chgData name="Kateryna Levchuk (UA)" userId="5dbb0cbd-4dc1-41d4-910d-5f884aef466d" providerId="ADAL" clId="{3D0DB7AE-1BA7-45E8-B6C7-4A63B94ABB52}" dt="2024-06-10T11:37:42.335" v="790"/>
          <ac:spMkLst>
            <pc:docMk/>
            <pc:sldMk cId="2752004613" sldId="2147481965"/>
            <ac:spMk id="121" creationId="{17EA4172-19E5-7FF4-AE1F-1FA23FD5851B}"/>
          </ac:spMkLst>
        </pc:spChg>
        <pc:spChg chg="mod">
          <ac:chgData name="Kateryna Levchuk (UA)" userId="5dbb0cbd-4dc1-41d4-910d-5f884aef466d" providerId="ADAL" clId="{3D0DB7AE-1BA7-45E8-B6C7-4A63B94ABB52}" dt="2024-06-10T11:37:42.335" v="790"/>
          <ac:spMkLst>
            <pc:docMk/>
            <pc:sldMk cId="2752004613" sldId="2147481965"/>
            <ac:spMk id="122" creationId="{FB56EE0F-A068-878A-CF15-A50D5273AA30}"/>
          </ac:spMkLst>
        </pc:spChg>
        <pc:spChg chg="add mod">
          <ac:chgData name="Kateryna Levchuk (UA)" userId="5dbb0cbd-4dc1-41d4-910d-5f884aef466d" providerId="ADAL" clId="{3D0DB7AE-1BA7-45E8-B6C7-4A63B94ABB52}" dt="2024-06-10T13:51:35.605" v="1362" actId="1076"/>
          <ac:spMkLst>
            <pc:docMk/>
            <pc:sldMk cId="2752004613" sldId="2147481965"/>
            <ac:spMk id="123" creationId="{E540FF3B-2049-3D2C-DC6C-0CAFC95DAB95}"/>
          </ac:spMkLst>
        </pc:spChg>
        <pc:spChg chg="mod">
          <ac:chgData name="Kateryna Levchuk (UA)" userId="5dbb0cbd-4dc1-41d4-910d-5f884aef466d" providerId="ADAL" clId="{3D0DB7AE-1BA7-45E8-B6C7-4A63B94ABB52}" dt="2024-06-10T11:37:58.447" v="795"/>
          <ac:spMkLst>
            <pc:docMk/>
            <pc:sldMk cId="2752004613" sldId="2147481965"/>
            <ac:spMk id="125" creationId="{44775269-05F6-2220-82B2-9738C392BE8C}"/>
          </ac:spMkLst>
        </pc:spChg>
        <pc:spChg chg="mod">
          <ac:chgData name="Kateryna Levchuk (UA)" userId="5dbb0cbd-4dc1-41d4-910d-5f884aef466d" providerId="ADAL" clId="{3D0DB7AE-1BA7-45E8-B6C7-4A63B94ABB52}" dt="2024-06-10T11:37:58.447" v="795"/>
          <ac:spMkLst>
            <pc:docMk/>
            <pc:sldMk cId="2752004613" sldId="2147481965"/>
            <ac:spMk id="126" creationId="{09453CA1-9265-DF33-5500-6D4E39504FCC}"/>
          </ac:spMkLst>
        </pc:spChg>
        <pc:spChg chg="add mod">
          <ac:chgData name="Kateryna Levchuk (UA)" userId="5dbb0cbd-4dc1-41d4-910d-5f884aef466d" providerId="ADAL" clId="{3D0DB7AE-1BA7-45E8-B6C7-4A63B94ABB52}" dt="2024-06-10T11:49:36.519" v="959" actId="207"/>
          <ac:spMkLst>
            <pc:docMk/>
            <pc:sldMk cId="2752004613" sldId="2147481965"/>
            <ac:spMk id="127" creationId="{FFE4CFE7-10FB-E0F9-AE54-A456443B207D}"/>
          </ac:spMkLst>
        </pc:spChg>
        <pc:spChg chg="mod">
          <ac:chgData name="Kateryna Levchuk (UA)" userId="5dbb0cbd-4dc1-41d4-910d-5f884aef466d" providerId="ADAL" clId="{3D0DB7AE-1BA7-45E8-B6C7-4A63B94ABB52}" dt="2024-06-10T11:49:18.796" v="955"/>
          <ac:spMkLst>
            <pc:docMk/>
            <pc:sldMk cId="2752004613" sldId="2147481965"/>
            <ac:spMk id="129" creationId="{6F0906C6-628A-D503-7196-FC3F5EB12AE5}"/>
          </ac:spMkLst>
        </pc:spChg>
        <pc:spChg chg="mod">
          <ac:chgData name="Kateryna Levchuk (UA)" userId="5dbb0cbd-4dc1-41d4-910d-5f884aef466d" providerId="ADAL" clId="{3D0DB7AE-1BA7-45E8-B6C7-4A63B94ABB52}" dt="2024-06-10T11:49:18.796" v="955"/>
          <ac:spMkLst>
            <pc:docMk/>
            <pc:sldMk cId="2752004613" sldId="2147481965"/>
            <ac:spMk id="130" creationId="{A3694789-05D1-786D-1A40-7B94A9D99A68}"/>
          </ac:spMkLst>
        </pc:spChg>
        <pc:spChg chg="add mod">
          <ac:chgData name="Kateryna Levchuk (UA)" userId="5dbb0cbd-4dc1-41d4-910d-5f884aef466d" providerId="ADAL" clId="{3D0DB7AE-1BA7-45E8-B6C7-4A63B94ABB52}" dt="2024-06-10T11:49:47.059" v="962" actId="207"/>
          <ac:spMkLst>
            <pc:docMk/>
            <pc:sldMk cId="2752004613" sldId="2147481965"/>
            <ac:spMk id="131" creationId="{6764AC4B-FEF3-2CCD-15D3-7FDF812B793E}"/>
          </ac:spMkLst>
        </pc:spChg>
        <pc:spChg chg="mod">
          <ac:chgData name="Kateryna Levchuk (UA)" userId="5dbb0cbd-4dc1-41d4-910d-5f884aef466d" providerId="ADAL" clId="{3D0DB7AE-1BA7-45E8-B6C7-4A63B94ABB52}" dt="2024-06-10T11:49:18.796" v="955"/>
          <ac:spMkLst>
            <pc:docMk/>
            <pc:sldMk cId="2752004613" sldId="2147481965"/>
            <ac:spMk id="133" creationId="{1F7E517F-DE6E-C1B1-3D0C-E90088969514}"/>
          </ac:spMkLst>
        </pc:spChg>
        <pc:spChg chg="mod">
          <ac:chgData name="Kateryna Levchuk (UA)" userId="5dbb0cbd-4dc1-41d4-910d-5f884aef466d" providerId="ADAL" clId="{3D0DB7AE-1BA7-45E8-B6C7-4A63B94ABB52}" dt="2024-06-10T11:49:18.796" v="955"/>
          <ac:spMkLst>
            <pc:docMk/>
            <pc:sldMk cId="2752004613" sldId="2147481965"/>
            <ac:spMk id="134" creationId="{A08A436C-FC76-61AD-0FA1-E49A1DBFFD93}"/>
          </ac:spMkLst>
        </pc:spChg>
        <pc:spChg chg="add mod">
          <ac:chgData name="Kateryna Levchuk (UA)" userId="5dbb0cbd-4dc1-41d4-910d-5f884aef466d" providerId="ADAL" clId="{3D0DB7AE-1BA7-45E8-B6C7-4A63B94ABB52}" dt="2024-06-10T13:46:09.989" v="1281" actId="1076"/>
          <ac:spMkLst>
            <pc:docMk/>
            <pc:sldMk cId="2752004613" sldId="2147481965"/>
            <ac:spMk id="136" creationId="{B60BB224-6E63-2849-CFEF-1DB13A5F04B8}"/>
          </ac:spMkLst>
        </pc:spChg>
        <pc:spChg chg="mod">
          <ac:chgData name="Kateryna Levchuk (UA)" userId="5dbb0cbd-4dc1-41d4-910d-5f884aef466d" providerId="ADAL" clId="{3D0DB7AE-1BA7-45E8-B6C7-4A63B94ABB52}" dt="2024-06-10T13:46:45.424" v="1295" actId="1076"/>
          <ac:spMkLst>
            <pc:docMk/>
            <pc:sldMk cId="2752004613" sldId="2147481965"/>
            <ac:spMk id="138" creationId="{E308B147-A87B-7015-7F8A-BB373C591A4B}"/>
          </ac:spMkLst>
        </pc:spChg>
        <pc:spChg chg="mod">
          <ac:chgData name="Kateryna Levchuk (UA)" userId="5dbb0cbd-4dc1-41d4-910d-5f884aef466d" providerId="ADAL" clId="{3D0DB7AE-1BA7-45E8-B6C7-4A63B94ABB52}" dt="2024-06-10T13:46:17.983" v="1282"/>
          <ac:spMkLst>
            <pc:docMk/>
            <pc:sldMk cId="2752004613" sldId="2147481965"/>
            <ac:spMk id="139" creationId="{3EB40BA2-3797-4984-4259-E174D32A40B7}"/>
          </ac:spMkLst>
        </pc:spChg>
        <pc:spChg chg="mod">
          <ac:chgData name="Kateryna Levchuk (UA)" userId="5dbb0cbd-4dc1-41d4-910d-5f884aef466d" providerId="ADAL" clId="{3D0DB7AE-1BA7-45E8-B6C7-4A63B94ABB52}" dt="2024-06-10T13:47:32.140" v="1309"/>
          <ac:spMkLst>
            <pc:docMk/>
            <pc:sldMk cId="2752004613" sldId="2147481965"/>
            <ac:spMk id="141" creationId="{641AF128-F8E0-9B40-649F-471B3206EAFA}"/>
          </ac:spMkLst>
        </pc:spChg>
        <pc:spChg chg="mod">
          <ac:chgData name="Kateryna Levchuk (UA)" userId="5dbb0cbd-4dc1-41d4-910d-5f884aef466d" providerId="ADAL" clId="{3D0DB7AE-1BA7-45E8-B6C7-4A63B94ABB52}" dt="2024-06-10T13:47:32.140" v="1309"/>
          <ac:spMkLst>
            <pc:docMk/>
            <pc:sldMk cId="2752004613" sldId="2147481965"/>
            <ac:spMk id="142" creationId="{60D9951A-6E49-A69F-7585-4FEC816162AB}"/>
          </ac:spMkLst>
        </pc:spChg>
        <pc:spChg chg="mod">
          <ac:chgData name="Kateryna Levchuk (UA)" userId="5dbb0cbd-4dc1-41d4-910d-5f884aef466d" providerId="ADAL" clId="{3D0DB7AE-1BA7-45E8-B6C7-4A63B94ABB52}" dt="2024-06-10T13:48:04.871" v="1318"/>
          <ac:spMkLst>
            <pc:docMk/>
            <pc:sldMk cId="2752004613" sldId="2147481965"/>
            <ac:spMk id="144" creationId="{DE7C2418-F77A-26CD-43C2-794B6A0E788D}"/>
          </ac:spMkLst>
        </pc:spChg>
        <pc:spChg chg="mod">
          <ac:chgData name="Kateryna Levchuk (UA)" userId="5dbb0cbd-4dc1-41d4-910d-5f884aef466d" providerId="ADAL" clId="{3D0DB7AE-1BA7-45E8-B6C7-4A63B94ABB52}" dt="2024-06-10T13:48:04.871" v="1318"/>
          <ac:spMkLst>
            <pc:docMk/>
            <pc:sldMk cId="2752004613" sldId="2147481965"/>
            <ac:spMk id="145" creationId="{BDF8BAAE-F378-A1CA-FFA8-9F6187BB9755}"/>
          </ac:spMkLst>
        </pc:spChg>
        <pc:spChg chg="mod">
          <ac:chgData name="Kateryna Levchuk (UA)" userId="5dbb0cbd-4dc1-41d4-910d-5f884aef466d" providerId="ADAL" clId="{3D0DB7AE-1BA7-45E8-B6C7-4A63B94ABB52}" dt="2024-06-10T13:48:42.173" v="1328"/>
          <ac:spMkLst>
            <pc:docMk/>
            <pc:sldMk cId="2752004613" sldId="2147481965"/>
            <ac:spMk id="147" creationId="{AC919C68-9477-9F63-A318-A722736E2D80}"/>
          </ac:spMkLst>
        </pc:spChg>
        <pc:spChg chg="mod">
          <ac:chgData name="Kateryna Levchuk (UA)" userId="5dbb0cbd-4dc1-41d4-910d-5f884aef466d" providerId="ADAL" clId="{3D0DB7AE-1BA7-45E8-B6C7-4A63B94ABB52}" dt="2024-06-10T13:48:42.173" v="1328"/>
          <ac:spMkLst>
            <pc:docMk/>
            <pc:sldMk cId="2752004613" sldId="2147481965"/>
            <ac:spMk id="148" creationId="{AFD54573-524D-80FD-8DE3-F5FAFC1E51C8}"/>
          </ac:spMkLst>
        </pc:spChg>
        <pc:spChg chg="add mod">
          <ac:chgData name="Kateryna Levchuk (UA)" userId="5dbb0cbd-4dc1-41d4-910d-5f884aef466d" providerId="ADAL" clId="{3D0DB7AE-1BA7-45E8-B6C7-4A63B94ABB52}" dt="2024-06-10T13:50:21.139" v="1345" actId="14100"/>
          <ac:spMkLst>
            <pc:docMk/>
            <pc:sldMk cId="2752004613" sldId="2147481965"/>
            <ac:spMk id="149" creationId="{4F8D49D5-4873-CB69-4B18-8429A53BCC9A}"/>
          </ac:spMkLst>
        </pc:spChg>
        <pc:spChg chg="mod">
          <ac:chgData name="Kateryna Levchuk (UA)" userId="5dbb0cbd-4dc1-41d4-910d-5f884aef466d" providerId="ADAL" clId="{3D0DB7AE-1BA7-45E8-B6C7-4A63B94ABB52}" dt="2024-06-10T13:49:43.481" v="1340"/>
          <ac:spMkLst>
            <pc:docMk/>
            <pc:sldMk cId="2752004613" sldId="2147481965"/>
            <ac:spMk id="151" creationId="{15C0E6C2-CFC0-8BAA-7C8A-1936EA766DBA}"/>
          </ac:spMkLst>
        </pc:spChg>
        <pc:spChg chg="mod">
          <ac:chgData name="Kateryna Levchuk (UA)" userId="5dbb0cbd-4dc1-41d4-910d-5f884aef466d" providerId="ADAL" clId="{3D0DB7AE-1BA7-45E8-B6C7-4A63B94ABB52}" dt="2024-06-10T13:49:43.481" v="1340"/>
          <ac:spMkLst>
            <pc:docMk/>
            <pc:sldMk cId="2752004613" sldId="2147481965"/>
            <ac:spMk id="152" creationId="{14C15825-4B9D-5C21-583A-DFFB0846E9E5}"/>
          </ac:spMkLst>
        </pc:spChg>
        <pc:spChg chg="mod">
          <ac:chgData name="Kateryna Levchuk (UA)" userId="5dbb0cbd-4dc1-41d4-910d-5f884aef466d" providerId="ADAL" clId="{3D0DB7AE-1BA7-45E8-B6C7-4A63B94ABB52}" dt="2024-06-10T13:50:29.630" v="1347"/>
          <ac:spMkLst>
            <pc:docMk/>
            <pc:sldMk cId="2752004613" sldId="2147481965"/>
            <ac:spMk id="154" creationId="{239A7EAD-80E6-53A4-0012-83854CEB0D2C}"/>
          </ac:spMkLst>
        </pc:spChg>
        <pc:spChg chg="mod">
          <ac:chgData name="Kateryna Levchuk (UA)" userId="5dbb0cbd-4dc1-41d4-910d-5f884aef466d" providerId="ADAL" clId="{3D0DB7AE-1BA7-45E8-B6C7-4A63B94ABB52}" dt="2024-06-10T13:50:29.630" v="1347"/>
          <ac:spMkLst>
            <pc:docMk/>
            <pc:sldMk cId="2752004613" sldId="2147481965"/>
            <ac:spMk id="155" creationId="{AFC7ECDB-D72E-9367-ECF9-A210245BE440}"/>
          </ac:spMkLst>
        </pc:spChg>
        <pc:spChg chg="mod">
          <ac:chgData name="Kateryna Levchuk (UA)" userId="5dbb0cbd-4dc1-41d4-910d-5f884aef466d" providerId="ADAL" clId="{3D0DB7AE-1BA7-45E8-B6C7-4A63B94ABB52}" dt="2024-06-10T13:50:43.913" v="1350"/>
          <ac:spMkLst>
            <pc:docMk/>
            <pc:sldMk cId="2752004613" sldId="2147481965"/>
            <ac:spMk id="157" creationId="{AA70B7BA-D0AF-97BF-F514-2F6637DDF5C5}"/>
          </ac:spMkLst>
        </pc:spChg>
        <pc:spChg chg="mod">
          <ac:chgData name="Kateryna Levchuk (UA)" userId="5dbb0cbd-4dc1-41d4-910d-5f884aef466d" providerId="ADAL" clId="{3D0DB7AE-1BA7-45E8-B6C7-4A63B94ABB52}" dt="2024-06-10T13:50:43.913" v="1350"/>
          <ac:spMkLst>
            <pc:docMk/>
            <pc:sldMk cId="2752004613" sldId="2147481965"/>
            <ac:spMk id="158" creationId="{8D9FD2B4-8C54-7DC6-1792-FE0A3C844FE2}"/>
          </ac:spMkLst>
        </pc:spChg>
        <pc:spChg chg="mod">
          <ac:chgData name="Kateryna Levchuk (UA)" userId="5dbb0cbd-4dc1-41d4-910d-5f884aef466d" providerId="ADAL" clId="{3D0DB7AE-1BA7-45E8-B6C7-4A63B94ABB52}" dt="2024-06-10T13:51:02.782" v="1353"/>
          <ac:spMkLst>
            <pc:docMk/>
            <pc:sldMk cId="2752004613" sldId="2147481965"/>
            <ac:spMk id="160" creationId="{D3596DB3-2E71-CF7E-AB0A-7200A78B00F3}"/>
          </ac:spMkLst>
        </pc:spChg>
        <pc:spChg chg="mod">
          <ac:chgData name="Kateryna Levchuk (UA)" userId="5dbb0cbd-4dc1-41d4-910d-5f884aef466d" providerId="ADAL" clId="{3D0DB7AE-1BA7-45E8-B6C7-4A63B94ABB52}" dt="2024-06-10T13:51:02.782" v="1353"/>
          <ac:spMkLst>
            <pc:docMk/>
            <pc:sldMk cId="2752004613" sldId="2147481965"/>
            <ac:spMk id="161" creationId="{D932A0CA-F032-5FEF-42E4-4268945B51E5}"/>
          </ac:spMkLst>
        </pc:spChg>
        <pc:grpChg chg="add del mod">
          <ac:chgData name="Kateryna Levchuk (UA)" userId="5dbb0cbd-4dc1-41d4-910d-5f884aef466d" providerId="ADAL" clId="{3D0DB7AE-1BA7-45E8-B6C7-4A63B94ABB52}" dt="2024-06-10T10:53:56.028" v="574"/>
          <ac:grpSpMkLst>
            <pc:docMk/>
            <pc:sldMk cId="2752004613" sldId="2147481965"/>
            <ac:grpSpMk id="33" creationId="{9F2CAFD0-8441-C427-D492-C402DC9E39F0}"/>
          </ac:grpSpMkLst>
        </pc:grpChg>
        <pc:grpChg chg="del">
          <ac:chgData name="Kateryna Levchuk (UA)" userId="5dbb0cbd-4dc1-41d4-910d-5f884aef466d" providerId="ADAL" clId="{3D0DB7AE-1BA7-45E8-B6C7-4A63B94ABB52}" dt="2024-06-10T13:24:09.830" v="1027" actId="165"/>
          <ac:grpSpMkLst>
            <pc:docMk/>
            <pc:sldMk cId="2752004613" sldId="2147481965"/>
            <ac:grpSpMk id="35" creationId="{4216885A-4A4B-1C3E-A617-B432B7DE257E}"/>
          </ac:grpSpMkLst>
        </pc:grpChg>
        <pc:grpChg chg="add del mod">
          <ac:chgData name="Kateryna Levchuk (UA)" userId="5dbb0cbd-4dc1-41d4-910d-5f884aef466d" providerId="ADAL" clId="{3D0DB7AE-1BA7-45E8-B6C7-4A63B94ABB52}" dt="2024-06-10T10:53:56.028" v="574"/>
          <ac:grpSpMkLst>
            <pc:docMk/>
            <pc:sldMk cId="2752004613" sldId="2147481965"/>
            <ac:grpSpMk id="37" creationId="{07E18AC5-A96D-7180-C53A-1279F51DDBFD}"/>
          </ac:grpSpMkLst>
        </pc:grpChg>
        <pc:grpChg chg="add del mod">
          <ac:chgData name="Kateryna Levchuk (UA)" userId="5dbb0cbd-4dc1-41d4-910d-5f884aef466d" providerId="ADAL" clId="{3D0DB7AE-1BA7-45E8-B6C7-4A63B94ABB52}" dt="2024-06-10T10:53:56.028" v="574"/>
          <ac:grpSpMkLst>
            <pc:docMk/>
            <pc:sldMk cId="2752004613" sldId="2147481965"/>
            <ac:grpSpMk id="40" creationId="{2C4D6B5D-635A-3235-8DAE-A0D937AA3301}"/>
          </ac:grpSpMkLst>
        </pc:grpChg>
        <pc:grpChg chg="add del mod">
          <ac:chgData name="Kateryna Levchuk (UA)" userId="5dbb0cbd-4dc1-41d4-910d-5f884aef466d" providerId="ADAL" clId="{3D0DB7AE-1BA7-45E8-B6C7-4A63B94ABB52}" dt="2024-06-10T10:53:56.028" v="574"/>
          <ac:grpSpMkLst>
            <pc:docMk/>
            <pc:sldMk cId="2752004613" sldId="2147481965"/>
            <ac:grpSpMk id="43" creationId="{E0CAA616-4788-4CC3-2796-FE569C2658C5}"/>
          </ac:grpSpMkLst>
        </pc:grpChg>
        <pc:grpChg chg="add del mod">
          <ac:chgData name="Kateryna Levchuk (UA)" userId="5dbb0cbd-4dc1-41d4-910d-5f884aef466d" providerId="ADAL" clId="{3D0DB7AE-1BA7-45E8-B6C7-4A63B94ABB52}" dt="2024-06-10T10:53:56.028" v="574"/>
          <ac:grpSpMkLst>
            <pc:docMk/>
            <pc:sldMk cId="2752004613" sldId="2147481965"/>
            <ac:grpSpMk id="46" creationId="{02B6F70D-9E07-2D29-BDE4-678E8F0137EF}"/>
          </ac:grpSpMkLst>
        </pc:grpChg>
        <pc:grpChg chg="add del mod">
          <ac:chgData name="Kateryna Levchuk (UA)" userId="5dbb0cbd-4dc1-41d4-910d-5f884aef466d" providerId="ADAL" clId="{3D0DB7AE-1BA7-45E8-B6C7-4A63B94ABB52}" dt="2024-06-10T10:53:56.028" v="574"/>
          <ac:grpSpMkLst>
            <pc:docMk/>
            <pc:sldMk cId="2752004613" sldId="2147481965"/>
            <ac:grpSpMk id="49" creationId="{EB4A8AEF-773F-BE1E-D497-9B8A3E79B218}"/>
          </ac:grpSpMkLst>
        </pc:grpChg>
        <pc:grpChg chg="add del mod">
          <ac:chgData name="Kateryna Levchuk (UA)" userId="5dbb0cbd-4dc1-41d4-910d-5f884aef466d" providerId="ADAL" clId="{3D0DB7AE-1BA7-45E8-B6C7-4A63B94ABB52}" dt="2024-06-10T11:33:06.152" v="731" actId="478"/>
          <ac:grpSpMkLst>
            <pc:docMk/>
            <pc:sldMk cId="2752004613" sldId="2147481965"/>
            <ac:grpSpMk id="53" creationId="{D37B160B-DB10-490B-9C76-A9BB7A2933EC}"/>
          </ac:grpSpMkLst>
        </pc:grpChg>
        <pc:grpChg chg="add del mod">
          <ac:chgData name="Kateryna Levchuk (UA)" userId="5dbb0cbd-4dc1-41d4-910d-5f884aef466d" providerId="ADAL" clId="{3D0DB7AE-1BA7-45E8-B6C7-4A63B94ABB52}" dt="2024-06-10T11:27:21.042" v="675" actId="478"/>
          <ac:grpSpMkLst>
            <pc:docMk/>
            <pc:sldMk cId="2752004613" sldId="2147481965"/>
            <ac:grpSpMk id="56" creationId="{4A418FE8-6A65-0305-7D99-D30A81B445BB}"/>
          </ac:grpSpMkLst>
        </pc:grpChg>
        <pc:grpChg chg="add del mod">
          <ac:chgData name="Kateryna Levchuk (UA)" userId="5dbb0cbd-4dc1-41d4-910d-5f884aef466d" providerId="ADAL" clId="{3D0DB7AE-1BA7-45E8-B6C7-4A63B94ABB52}" dt="2024-06-10T11:27:21.593" v="676" actId="478"/>
          <ac:grpSpMkLst>
            <pc:docMk/>
            <pc:sldMk cId="2752004613" sldId="2147481965"/>
            <ac:grpSpMk id="60" creationId="{A7448216-C1A5-097D-1322-1D488C4E0AC0}"/>
          </ac:grpSpMkLst>
        </pc:grpChg>
        <pc:grpChg chg="add del mod">
          <ac:chgData name="Kateryna Levchuk (UA)" userId="5dbb0cbd-4dc1-41d4-910d-5f884aef466d" providerId="ADAL" clId="{3D0DB7AE-1BA7-45E8-B6C7-4A63B94ABB52}" dt="2024-06-10T11:27:22.049" v="677" actId="478"/>
          <ac:grpSpMkLst>
            <pc:docMk/>
            <pc:sldMk cId="2752004613" sldId="2147481965"/>
            <ac:grpSpMk id="64" creationId="{7BF5BBBD-27A2-D6AA-1739-E6F51A1517A3}"/>
          </ac:grpSpMkLst>
        </pc:grpChg>
        <pc:grpChg chg="add del mod">
          <ac:chgData name="Kateryna Levchuk (UA)" userId="5dbb0cbd-4dc1-41d4-910d-5f884aef466d" providerId="ADAL" clId="{3D0DB7AE-1BA7-45E8-B6C7-4A63B94ABB52}" dt="2024-06-10T11:28:37.985" v="703" actId="478"/>
          <ac:grpSpMkLst>
            <pc:docMk/>
            <pc:sldMk cId="2752004613" sldId="2147481965"/>
            <ac:grpSpMk id="69" creationId="{67770368-464A-BE57-28C2-3027588EEC87}"/>
          </ac:grpSpMkLst>
        </pc:grpChg>
        <pc:grpChg chg="add del mod">
          <ac:chgData name="Kateryna Levchuk (UA)" userId="5dbb0cbd-4dc1-41d4-910d-5f884aef466d" providerId="ADAL" clId="{3D0DB7AE-1BA7-45E8-B6C7-4A63B94ABB52}" dt="2024-06-10T11:28:38.784" v="704" actId="478"/>
          <ac:grpSpMkLst>
            <pc:docMk/>
            <pc:sldMk cId="2752004613" sldId="2147481965"/>
            <ac:grpSpMk id="73" creationId="{8BAD5588-BE88-691E-0F8F-F045BAC2524C}"/>
          </ac:grpSpMkLst>
        </pc:grpChg>
        <pc:grpChg chg="add del mod">
          <ac:chgData name="Kateryna Levchuk (UA)" userId="5dbb0cbd-4dc1-41d4-910d-5f884aef466d" providerId="ADAL" clId="{3D0DB7AE-1BA7-45E8-B6C7-4A63B94ABB52}" dt="2024-06-10T11:28:39.530" v="705" actId="478"/>
          <ac:grpSpMkLst>
            <pc:docMk/>
            <pc:sldMk cId="2752004613" sldId="2147481965"/>
            <ac:grpSpMk id="77" creationId="{E41CD33A-036A-5842-BC45-B41744FEB1E8}"/>
          </ac:grpSpMkLst>
        </pc:grpChg>
        <pc:grpChg chg="add mod">
          <ac:chgData name="Kateryna Levchuk (UA)" userId="5dbb0cbd-4dc1-41d4-910d-5f884aef466d" providerId="ADAL" clId="{3D0DB7AE-1BA7-45E8-B6C7-4A63B94ABB52}" dt="2024-06-10T11:26:29.008" v="649" actId="571"/>
          <ac:grpSpMkLst>
            <pc:docMk/>
            <pc:sldMk cId="2752004613" sldId="2147481965"/>
            <ac:grpSpMk id="80" creationId="{48B2418B-1C5E-2F92-725D-C40CD1A3161C}"/>
          </ac:grpSpMkLst>
        </pc:grpChg>
        <pc:grpChg chg="add del mod">
          <ac:chgData name="Kateryna Levchuk (UA)" userId="5dbb0cbd-4dc1-41d4-910d-5f884aef466d" providerId="ADAL" clId="{3D0DB7AE-1BA7-45E8-B6C7-4A63B94ABB52}" dt="2024-06-10T11:33:04.487" v="729" actId="478"/>
          <ac:grpSpMkLst>
            <pc:docMk/>
            <pc:sldMk cId="2752004613" sldId="2147481965"/>
            <ac:grpSpMk id="84" creationId="{64A0D86B-D9A8-6746-A334-51BD0EAF5D89}"/>
          </ac:grpSpMkLst>
        </pc:grpChg>
        <pc:grpChg chg="add del mod">
          <ac:chgData name="Kateryna Levchuk (UA)" userId="5dbb0cbd-4dc1-41d4-910d-5f884aef466d" providerId="ADAL" clId="{3D0DB7AE-1BA7-45E8-B6C7-4A63B94ABB52}" dt="2024-06-10T11:33:04.487" v="729" actId="478"/>
          <ac:grpSpMkLst>
            <pc:docMk/>
            <pc:sldMk cId="2752004613" sldId="2147481965"/>
            <ac:grpSpMk id="87" creationId="{D3C52690-329F-248E-4968-AD81FC02C42F}"/>
          </ac:grpSpMkLst>
        </pc:grpChg>
        <pc:grpChg chg="add del mod">
          <ac:chgData name="Kateryna Levchuk (UA)" userId="5dbb0cbd-4dc1-41d4-910d-5f884aef466d" providerId="ADAL" clId="{3D0DB7AE-1BA7-45E8-B6C7-4A63B94ABB52}" dt="2024-06-10T11:33:10.227" v="734" actId="478"/>
          <ac:grpSpMkLst>
            <pc:docMk/>
            <pc:sldMk cId="2752004613" sldId="2147481965"/>
            <ac:grpSpMk id="90" creationId="{ED3ED94B-5853-FBB1-776B-774900F20D12}"/>
          </ac:grpSpMkLst>
        </pc:grpChg>
        <pc:grpChg chg="add del mod">
          <ac:chgData name="Kateryna Levchuk (UA)" userId="5dbb0cbd-4dc1-41d4-910d-5f884aef466d" providerId="ADAL" clId="{3D0DB7AE-1BA7-45E8-B6C7-4A63B94ABB52}" dt="2024-06-10T11:33:04.487" v="729" actId="478"/>
          <ac:grpSpMkLst>
            <pc:docMk/>
            <pc:sldMk cId="2752004613" sldId="2147481965"/>
            <ac:grpSpMk id="93" creationId="{55495842-AA57-131F-3B24-9FE2DCF78083}"/>
          </ac:grpSpMkLst>
        </pc:grpChg>
        <pc:grpChg chg="add del mod">
          <ac:chgData name="Kateryna Levchuk (UA)" userId="5dbb0cbd-4dc1-41d4-910d-5f884aef466d" providerId="ADAL" clId="{3D0DB7AE-1BA7-45E8-B6C7-4A63B94ABB52}" dt="2024-06-10T11:33:04.487" v="729" actId="478"/>
          <ac:grpSpMkLst>
            <pc:docMk/>
            <pc:sldMk cId="2752004613" sldId="2147481965"/>
            <ac:grpSpMk id="96" creationId="{0B24A8FC-A505-8458-4A0A-D728F1ED8F60}"/>
          </ac:grpSpMkLst>
        </pc:grpChg>
        <pc:grpChg chg="add del mod">
          <ac:chgData name="Kateryna Levchuk (UA)" userId="5dbb0cbd-4dc1-41d4-910d-5f884aef466d" providerId="ADAL" clId="{3D0DB7AE-1BA7-45E8-B6C7-4A63B94ABB52}" dt="2024-06-10T13:46:24.708" v="1285" actId="478"/>
          <ac:grpSpMkLst>
            <pc:docMk/>
            <pc:sldMk cId="2752004613" sldId="2147481965"/>
            <ac:grpSpMk id="100" creationId="{9D6E8294-5C3A-DAE2-0B8E-8262C7E3635A}"/>
          </ac:grpSpMkLst>
        </pc:grpChg>
        <pc:grpChg chg="add del mod">
          <ac:chgData name="Kateryna Levchuk (UA)" userId="5dbb0cbd-4dc1-41d4-910d-5f884aef466d" providerId="ADAL" clId="{3D0DB7AE-1BA7-45E8-B6C7-4A63B94ABB52}" dt="2024-06-10T13:47:28.617" v="1306" actId="478"/>
          <ac:grpSpMkLst>
            <pc:docMk/>
            <pc:sldMk cId="2752004613" sldId="2147481965"/>
            <ac:grpSpMk id="104" creationId="{137BA1D0-4C77-B736-4D02-7A088A5D2B98}"/>
          </ac:grpSpMkLst>
        </pc:grpChg>
        <pc:grpChg chg="add del mod">
          <ac:chgData name="Kateryna Levchuk (UA)" userId="5dbb0cbd-4dc1-41d4-910d-5f884aef466d" providerId="ADAL" clId="{3D0DB7AE-1BA7-45E8-B6C7-4A63B94ABB52}" dt="2024-06-10T13:47:03.382" v="1299" actId="478"/>
          <ac:grpSpMkLst>
            <pc:docMk/>
            <pc:sldMk cId="2752004613" sldId="2147481965"/>
            <ac:grpSpMk id="108" creationId="{4430977A-5A50-1280-3EB5-8B3D7FC73198}"/>
          </ac:grpSpMkLst>
        </pc:grpChg>
        <pc:grpChg chg="add del mod">
          <ac:chgData name="Kateryna Levchuk (UA)" userId="5dbb0cbd-4dc1-41d4-910d-5f884aef466d" providerId="ADAL" clId="{3D0DB7AE-1BA7-45E8-B6C7-4A63B94ABB52}" dt="2024-06-10T13:47:30.245" v="1308" actId="478"/>
          <ac:grpSpMkLst>
            <pc:docMk/>
            <pc:sldMk cId="2752004613" sldId="2147481965"/>
            <ac:grpSpMk id="112" creationId="{8B3DA2DC-1263-B59F-301A-157586AAA69B}"/>
          </ac:grpSpMkLst>
        </pc:grpChg>
        <pc:grpChg chg="add del mod">
          <ac:chgData name="Kateryna Levchuk (UA)" userId="5dbb0cbd-4dc1-41d4-910d-5f884aef466d" providerId="ADAL" clId="{3D0DB7AE-1BA7-45E8-B6C7-4A63B94ABB52}" dt="2024-06-10T13:47:29.219" v="1307" actId="478"/>
          <ac:grpSpMkLst>
            <pc:docMk/>
            <pc:sldMk cId="2752004613" sldId="2147481965"/>
            <ac:grpSpMk id="116" creationId="{EDDE9C3D-1C5D-8FB1-9781-D31D2DA2EB5F}"/>
          </ac:grpSpMkLst>
        </pc:grpChg>
        <pc:grpChg chg="add del mod">
          <ac:chgData name="Kateryna Levchuk (UA)" userId="5dbb0cbd-4dc1-41d4-910d-5f884aef466d" providerId="ADAL" clId="{3D0DB7AE-1BA7-45E8-B6C7-4A63B94ABB52}" dt="2024-06-10T13:47:04.032" v="1300" actId="478"/>
          <ac:grpSpMkLst>
            <pc:docMk/>
            <pc:sldMk cId="2752004613" sldId="2147481965"/>
            <ac:grpSpMk id="120" creationId="{81FC2C56-8C1D-B131-4936-E9C0A6D051B9}"/>
          </ac:grpSpMkLst>
        </pc:grpChg>
        <pc:grpChg chg="add del mod">
          <ac:chgData name="Kateryna Levchuk (UA)" userId="5dbb0cbd-4dc1-41d4-910d-5f884aef466d" providerId="ADAL" clId="{3D0DB7AE-1BA7-45E8-B6C7-4A63B94ABB52}" dt="2024-06-10T13:47:04.574" v="1301" actId="478"/>
          <ac:grpSpMkLst>
            <pc:docMk/>
            <pc:sldMk cId="2752004613" sldId="2147481965"/>
            <ac:grpSpMk id="124" creationId="{4EC32981-ABC8-660E-430A-740152E47333}"/>
          </ac:grpSpMkLst>
        </pc:grpChg>
        <pc:grpChg chg="add mod">
          <ac:chgData name="Kateryna Levchuk (UA)" userId="5dbb0cbd-4dc1-41d4-910d-5f884aef466d" providerId="ADAL" clId="{3D0DB7AE-1BA7-45E8-B6C7-4A63B94ABB52}" dt="2024-06-10T11:49:24.358" v="956" actId="1076"/>
          <ac:grpSpMkLst>
            <pc:docMk/>
            <pc:sldMk cId="2752004613" sldId="2147481965"/>
            <ac:grpSpMk id="128" creationId="{D9A5D3FD-8794-50EB-12C4-B95355AE4257}"/>
          </ac:grpSpMkLst>
        </pc:grpChg>
        <pc:grpChg chg="add mod">
          <ac:chgData name="Kateryna Levchuk (UA)" userId="5dbb0cbd-4dc1-41d4-910d-5f884aef466d" providerId="ADAL" clId="{3D0DB7AE-1BA7-45E8-B6C7-4A63B94ABB52}" dt="2024-06-10T11:49:24.358" v="956" actId="1076"/>
          <ac:grpSpMkLst>
            <pc:docMk/>
            <pc:sldMk cId="2752004613" sldId="2147481965"/>
            <ac:grpSpMk id="132" creationId="{069EA022-CD97-3BDC-29C5-13BD2F12F37E}"/>
          </ac:grpSpMkLst>
        </pc:grpChg>
        <pc:grpChg chg="add mod">
          <ac:chgData name="Kateryna Levchuk (UA)" userId="5dbb0cbd-4dc1-41d4-910d-5f884aef466d" providerId="ADAL" clId="{3D0DB7AE-1BA7-45E8-B6C7-4A63B94ABB52}" dt="2024-06-10T13:24:30.031" v="1030" actId="1076"/>
          <ac:grpSpMkLst>
            <pc:docMk/>
            <pc:sldMk cId="2752004613" sldId="2147481965"/>
            <ac:grpSpMk id="135" creationId="{90DF27BD-9BCC-CAE8-73D7-5818428FEDC5}"/>
          </ac:grpSpMkLst>
        </pc:grpChg>
        <pc:grpChg chg="add del mod">
          <ac:chgData name="Kateryna Levchuk (UA)" userId="5dbb0cbd-4dc1-41d4-910d-5f884aef466d" providerId="ADAL" clId="{3D0DB7AE-1BA7-45E8-B6C7-4A63B94ABB52}" dt="2024-06-10T13:49:26.515" v="1336" actId="478"/>
          <ac:grpSpMkLst>
            <pc:docMk/>
            <pc:sldMk cId="2752004613" sldId="2147481965"/>
            <ac:grpSpMk id="137" creationId="{071B7EB6-E382-8DB8-2A6F-97E3E61F8F6C}"/>
          </ac:grpSpMkLst>
        </pc:grpChg>
        <pc:grpChg chg="add del mod">
          <ac:chgData name="Kateryna Levchuk (UA)" userId="5dbb0cbd-4dc1-41d4-910d-5f884aef466d" providerId="ADAL" clId="{3D0DB7AE-1BA7-45E8-B6C7-4A63B94ABB52}" dt="2024-06-10T13:49:31.698" v="1337" actId="478"/>
          <ac:grpSpMkLst>
            <pc:docMk/>
            <pc:sldMk cId="2752004613" sldId="2147481965"/>
            <ac:grpSpMk id="140" creationId="{58AD4090-445B-F797-BE57-BC692DAA3D61}"/>
          </ac:grpSpMkLst>
        </pc:grpChg>
        <pc:grpChg chg="add del mod">
          <ac:chgData name="Kateryna Levchuk (UA)" userId="5dbb0cbd-4dc1-41d4-910d-5f884aef466d" providerId="ADAL" clId="{3D0DB7AE-1BA7-45E8-B6C7-4A63B94ABB52}" dt="2024-06-10T13:49:32.746" v="1338" actId="478"/>
          <ac:grpSpMkLst>
            <pc:docMk/>
            <pc:sldMk cId="2752004613" sldId="2147481965"/>
            <ac:grpSpMk id="143" creationId="{F1133140-DADC-38A0-1227-11DEF00A7355}"/>
          </ac:grpSpMkLst>
        </pc:grpChg>
        <pc:grpChg chg="add del mod">
          <ac:chgData name="Kateryna Levchuk (UA)" userId="5dbb0cbd-4dc1-41d4-910d-5f884aef466d" providerId="ADAL" clId="{3D0DB7AE-1BA7-45E8-B6C7-4A63B94ABB52}" dt="2024-06-10T13:49:33.239" v="1339" actId="478"/>
          <ac:grpSpMkLst>
            <pc:docMk/>
            <pc:sldMk cId="2752004613" sldId="2147481965"/>
            <ac:grpSpMk id="146" creationId="{6792D685-2107-72CE-8EE9-3707ECD53B93}"/>
          </ac:grpSpMkLst>
        </pc:grpChg>
        <pc:grpChg chg="add mod">
          <ac:chgData name="Kateryna Levchuk (UA)" userId="5dbb0cbd-4dc1-41d4-910d-5f884aef466d" providerId="ADAL" clId="{3D0DB7AE-1BA7-45E8-B6C7-4A63B94ABB52}" dt="2024-06-10T13:49:43.481" v="1340"/>
          <ac:grpSpMkLst>
            <pc:docMk/>
            <pc:sldMk cId="2752004613" sldId="2147481965"/>
            <ac:grpSpMk id="150" creationId="{3A459FDE-AE93-2BA8-F0C3-2E6B44F0C467}"/>
          </ac:grpSpMkLst>
        </pc:grpChg>
        <pc:grpChg chg="add mod">
          <ac:chgData name="Kateryna Levchuk (UA)" userId="5dbb0cbd-4dc1-41d4-910d-5f884aef466d" providerId="ADAL" clId="{3D0DB7AE-1BA7-45E8-B6C7-4A63B94ABB52}" dt="2024-06-10T13:50:34.128" v="1348" actId="1076"/>
          <ac:grpSpMkLst>
            <pc:docMk/>
            <pc:sldMk cId="2752004613" sldId="2147481965"/>
            <ac:grpSpMk id="153" creationId="{BA388B3F-A0A0-4D7C-29BF-FE9F7BDB818F}"/>
          </ac:grpSpMkLst>
        </pc:grpChg>
        <pc:grpChg chg="add mod">
          <ac:chgData name="Kateryna Levchuk (UA)" userId="5dbb0cbd-4dc1-41d4-910d-5f884aef466d" providerId="ADAL" clId="{3D0DB7AE-1BA7-45E8-B6C7-4A63B94ABB52}" dt="2024-06-10T13:50:54.203" v="1351" actId="1076"/>
          <ac:grpSpMkLst>
            <pc:docMk/>
            <pc:sldMk cId="2752004613" sldId="2147481965"/>
            <ac:grpSpMk id="156" creationId="{E6136448-5C65-CBF5-5816-6CAAAB1D970C}"/>
          </ac:grpSpMkLst>
        </pc:grpChg>
        <pc:grpChg chg="add mod">
          <ac:chgData name="Kateryna Levchuk (UA)" userId="5dbb0cbd-4dc1-41d4-910d-5f884aef466d" providerId="ADAL" clId="{3D0DB7AE-1BA7-45E8-B6C7-4A63B94ABB52}" dt="2024-06-10T13:51:06.776" v="1354" actId="1076"/>
          <ac:grpSpMkLst>
            <pc:docMk/>
            <pc:sldMk cId="2752004613" sldId="2147481965"/>
            <ac:grpSpMk id="159" creationId="{92631223-F23E-F821-95EE-54263AE4AA27}"/>
          </ac:grpSpMkLst>
        </pc:grpChg>
      </pc:sldChg>
      <pc:sldChg chg="addSp delSp modSp mod">
        <pc:chgData name="Kateryna Levchuk (UA)" userId="5dbb0cbd-4dc1-41d4-910d-5f884aef466d" providerId="ADAL" clId="{3D0DB7AE-1BA7-45E8-B6C7-4A63B94ABB52}" dt="2024-06-10T14:03:06.942" v="1431" actId="478"/>
        <pc:sldMkLst>
          <pc:docMk/>
          <pc:sldMk cId="3061079320" sldId="2147481966"/>
        </pc:sldMkLst>
        <pc:spChg chg="mod">
          <ac:chgData name="Kateryna Levchuk (UA)" userId="5dbb0cbd-4dc1-41d4-910d-5f884aef466d" providerId="ADAL" clId="{3D0DB7AE-1BA7-45E8-B6C7-4A63B94ABB52}" dt="2024-06-10T13:25:13.054" v="1043"/>
          <ac:spMkLst>
            <pc:docMk/>
            <pc:sldMk cId="3061079320" sldId="2147481966"/>
            <ac:spMk id="6" creationId="{5F0B7C26-8D9E-CC59-8567-E2980A0945D4}"/>
          </ac:spMkLst>
        </pc:spChg>
        <pc:spChg chg="mod">
          <ac:chgData name="Kateryna Levchuk (UA)" userId="5dbb0cbd-4dc1-41d4-910d-5f884aef466d" providerId="ADAL" clId="{3D0DB7AE-1BA7-45E8-B6C7-4A63B94ABB52}" dt="2024-06-10T13:25:13.054" v="1043"/>
          <ac:spMkLst>
            <pc:docMk/>
            <pc:sldMk cId="3061079320" sldId="2147481966"/>
            <ac:spMk id="13" creationId="{4BE1B4A9-4FE8-F5A7-C0CE-A273D02BF1C6}"/>
          </ac:spMkLst>
        </pc:spChg>
        <pc:spChg chg="mod">
          <ac:chgData name="Kateryna Levchuk (UA)" userId="5dbb0cbd-4dc1-41d4-910d-5f884aef466d" providerId="ADAL" clId="{3D0DB7AE-1BA7-45E8-B6C7-4A63B94ABB52}" dt="2024-06-10T13:25:13.054" v="1043"/>
          <ac:spMkLst>
            <pc:docMk/>
            <pc:sldMk cId="3061079320" sldId="2147481966"/>
            <ac:spMk id="14" creationId="{A958BAF4-7F4B-5FFE-24C3-9AD4192277FF}"/>
          </ac:spMkLst>
        </pc:spChg>
        <pc:spChg chg="mod">
          <ac:chgData name="Kateryna Levchuk (UA)" userId="5dbb0cbd-4dc1-41d4-910d-5f884aef466d" providerId="ADAL" clId="{3D0DB7AE-1BA7-45E8-B6C7-4A63B94ABB52}" dt="2024-06-10T13:59:56.456" v="1404" actId="1076"/>
          <ac:spMkLst>
            <pc:docMk/>
            <pc:sldMk cId="3061079320" sldId="2147481966"/>
            <ac:spMk id="15" creationId="{646673C4-B9B9-74BB-E212-CD6427C9067F}"/>
          </ac:spMkLst>
        </pc:spChg>
        <pc:spChg chg="mod">
          <ac:chgData name="Kateryna Levchuk (UA)" userId="5dbb0cbd-4dc1-41d4-910d-5f884aef466d" providerId="ADAL" clId="{3D0DB7AE-1BA7-45E8-B6C7-4A63B94ABB52}" dt="2024-06-10T13:25:13.054" v="1043"/>
          <ac:spMkLst>
            <pc:docMk/>
            <pc:sldMk cId="3061079320" sldId="2147481966"/>
            <ac:spMk id="17" creationId="{EF4C006A-D7CE-1984-D744-E048DAEF0BAC}"/>
          </ac:spMkLst>
        </pc:spChg>
        <pc:spChg chg="mod">
          <ac:chgData name="Kateryna Levchuk (UA)" userId="5dbb0cbd-4dc1-41d4-910d-5f884aef466d" providerId="ADAL" clId="{3D0DB7AE-1BA7-45E8-B6C7-4A63B94ABB52}" dt="2024-06-10T13:25:13.054" v="1043"/>
          <ac:spMkLst>
            <pc:docMk/>
            <pc:sldMk cId="3061079320" sldId="2147481966"/>
            <ac:spMk id="18" creationId="{59098F7D-FF57-9D6E-2C26-AE1220D68605}"/>
          </ac:spMkLst>
        </pc:spChg>
        <pc:spChg chg="mod">
          <ac:chgData name="Kateryna Levchuk (UA)" userId="5dbb0cbd-4dc1-41d4-910d-5f884aef466d" providerId="ADAL" clId="{3D0DB7AE-1BA7-45E8-B6C7-4A63B94ABB52}" dt="2024-06-10T13:25:13.054" v="1043"/>
          <ac:spMkLst>
            <pc:docMk/>
            <pc:sldMk cId="3061079320" sldId="2147481966"/>
            <ac:spMk id="19" creationId="{750694DD-D45A-459D-6ECB-EB36A2626BA9}"/>
          </ac:spMkLst>
        </pc:spChg>
        <pc:spChg chg="add del mod">
          <ac:chgData name="Kateryna Levchuk (UA)" userId="5dbb0cbd-4dc1-41d4-910d-5f884aef466d" providerId="ADAL" clId="{3D0DB7AE-1BA7-45E8-B6C7-4A63B94ABB52}" dt="2024-06-10T14:03:06.942" v="1431" actId="478"/>
          <ac:spMkLst>
            <pc:docMk/>
            <pc:sldMk cId="3061079320" sldId="2147481966"/>
            <ac:spMk id="20" creationId="{A7B346AE-CFF3-E0A1-CDF0-2C7B6BCB8C86}"/>
          </ac:spMkLst>
        </pc:spChg>
        <pc:spChg chg="mod">
          <ac:chgData name="Kateryna Levchuk (UA)" userId="5dbb0cbd-4dc1-41d4-910d-5f884aef466d" providerId="ADAL" clId="{3D0DB7AE-1BA7-45E8-B6C7-4A63B94ABB52}" dt="2024-06-10T13:56:48.715" v="1400" actId="12788"/>
          <ac:spMkLst>
            <pc:docMk/>
            <pc:sldMk cId="3061079320" sldId="2147481966"/>
            <ac:spMk id="52" creationId="{754EAF21-8364-40B5-103F-C971798338FA}"/>
          </ac:spMkLst>
        </pc:spChg>
        <pc:spChg chg="mod">
          <ac:chgData name="Kateryna Levchuk (UA)" userId="5dbb0cbd-4dc1-41d4-910d-5f884aef466d" providerId="ADAL" clId="{3D0DB7AE-1BA7-45E8-B6C7-4A63B94ABB52}" dt="2024-06-10T13:56:32.870" v="1398" actId="12788"/>
          <ac:spMkLst>
            <pc:docMk/>
            <pc:sldMk cId="3061079320" sldId="2147481966"/>
            <ac:spMk id="53" creationId="{6E6AD103-92DC-77F5-2DD7-C9640CA704CA}"/>
          </ac:spMkLst>
        </pc:spChg>
        <pc:spChg chg="mod">
          <ac:chgData name="Kateryna Levchuk (UA)" userId="5dbb0cbd-4dc1-41d4-910d-5f884aef466d" providerId="ADAL" clId="{3D0DB7AE-1BA7-45E8-B6C7-4A63B94ABB52}" dt="2024-06-10T13:56:39.998" v="1399" actId="12788"/>
          <ac:spMkLst>
            <pc:docMk/>
            <pc:sldMk cId="3061079320" sldId="2147481966"/>
            <ac:spMk id="54" creationId="{4CD0B799-859D-8D06-4ACC-37DFFC5D70E2}"/>
          </ac:spMkLst>
        </pc:spChg>
        <pc:spChg chg="mod">
          <ac:chgData name="Kateryna Levchuk (UA)" userId="5dbb0cbd-4dc1-41d4-910d-5f884aef466d" providerId="ADAL" clId="{3D0DB7AE-1BA7-45E8-B6C7-4A63B94ABB52}" dt="2024-06-10T14:02:07.139" v="1415" actId="1076"/>
          <ac:spMkLst>
            <pc:docMk/>
            <pc:sldMk cId="3061079320" sldId="2147481966"/>
            <ac:spMk id="59" creationId="{CE37DEFD-F7E1-1D17-896D-4B833690D0B7}"/>
          </ac:spMkLst>
        </pc:spChg>
        <pc:spChg chg="mod">
          <ac:chgData name="Kateryna Levchuk (UA)" userId="5dbb0cbd-4dc1-41d4-910d-5f884aef466d" providerId="ADAL" clId="{3D0DB7AE-1BA7-45E8-B6C7-4A63B94ABB52}" dt="2024-06-10T14:02:25.723" v="1420" actId="1076"/>
          <ac:spMkLst>
            <pc:docMk/>
            <pc:sldMk cId="3061079320" sldId="2147481966"/>
            <ac:spMk id="60" creationId="{F3A9469B-C6D4-CEE4-8E04-A57D05ED614E}"/>
          </ac:spMkLst>
        </pc:spChg>
        <pc:spChg chg="mod">
          <ac:chgData name="Kateryna Levchuk (UA)" userId="5dbb0cbd-4dc1-41d4-910d-5f884aef466d" providerId="ADAL" clId="{3D0DB7AE-1BA7-45E8-B6C7-4A63B94ABB52}" dt="2024-06-10T14:01:52.095" v="1411" actId="1076"/>
          <ac:spMkLst>
            <pc:docMk/>
            <pc:sldMk cId="3061079320" sldId="2147481966"/>
            <ac:spMk id="61" creationId="{9BADE996-6B0E-D4E1-5041-CC505899D892}"/>
          </ac:spMkLst>
        </pc:spChg>
        <pc:spChg chg="mod">
          <ac:chgData name="Kateryna Levchuk (UA)" userId="5dbb0cbd-4dc1-41d4-910d-5f884aef466d" providerId="ADAL" clId="{3D0DB7AE-1BA7-45E8-B6C7-4A63B94ABB52}" dt="2024-06-10T13:55:32.260" v="1397" actId="12788"/>
          <ac:spMkLst>
            <pc:docMk/>
            <pc:sldMk cId="3061079320" sldId="2147481966"/>
            <ac:spMk id="62" creationId="{5FAADB15-4E21-3C09-8DC6-C494DF454908}"/>
          </ac:spMkLst>
        </pc:spChg>
        <pc:spChg chg="mod">
          <ac:chgData name="Kateryna Levchuk (UA)" userId="5dbb0cbd-4dc1-41d4-910d-5f884aef466d" providerId="ADAL" clId="{3D0DB7AE-1BA7-45E8-B6C7-4A63B94ABB52}" dt="2024-06-10T14:03:05.751" v="1430" actId="1076"/>
          <ac:spMkLst>
            <pc:docMk/>
            <pc:sldMk cId="3061079320" sldId="2147481966"/>
            <ac:spMk id="70" creationId="{3F316D1B-3703-9EE0-5513-9FC627F0D3C4}"/>
          </ac:spMkLst>
        </pc:spChg>
        <pc:grpChg chg="add mod">
          <ac:chgData name="Kateryna Levchuk (UA)" userId="5dbb0cbd-4dc1-41d4-910d-5f884aef466d" providerId="ADAL" clId="{3D0DB7AE-1BA7-45E8-B6C7-4A63B94ABB52}" dt="2024-06-10T13:25:13.054" v="1043"/>
          <ac:grpSpMkLst>
            <pc:docMk/>
            <pc:sldMk cId="3061079320" sldId="2147481966"/>
            <ac:grpSpMk id="5" creationId="{15306046-6C9A-9941-5987-D1AA6146A04F}"/>
          </ac:grpSpMkLst>
        </pc:grpChg>
        <pc:grpChg chg="mod">
          <ac:chgData name="Kateryna Levchuk (UA)" userId="5dbb0cbd-4dc1-41d4-910d-5f884aef466d" providerId="ADAL" clId="{3D0DB7AE-1BA7-45E8-B6C7-4A63B94ABB52}" dt="2024-06-10T13:53:05.700" v="1364" actId="1076"/>
          <ac:grpSpMkLst>
            <pc:docMk/>
            <pc:sldMk cId="3061079320" sldId="2147481966"/>
            <ac:grpSpMk id="58" creationId="{6EC27B63-BDDA-61E7-C413-9296D3BA9668}"/>
          </ac:grpSpMkLst>
        </pc:grpChg>
        <pc:grpChg chg="mod">
          <ac:chgData name="Kateryna Levchuk (UA)" userId="5dbb0cbd-4dc1-41d4-910d-5f884aef466d" providerId="ADAL" clId="{3D0DB7AE-1BA7-45E8-B6C7-4A63B94ABB52}" dt="2024-06-10T13:53:00.809" v="1363" actId="1076"/>
          <ac:grpSpMkLst>
            <pc:docMk/>
            <pc:sldMk cId="3061079320" sldId="2147481966"/>
            <ac:grpSpMk id="63" creationId="{1B8D2600-D139-04F3-5D68-144782AFE9F1}"/>
          </ac:grpSpMkLst>
        </pc:grpChg>
        <pc:grpChg chg="mod">
          <ac:chgData name="Kateryna Levchuk (UA)" userId="5dbb0cbd-4dc1-41d4-910d-5f884aef466d" providerId="ADAL" clId="{3D0DB7AE-1BA7-45E8-B6C7-4A63B94ABB52}" dt="2024-06-10T14:02:51.093" v="1426" actId="1076"/>
          <ac:grpSpMkLst>
            <pc:docMk/>
            <pc:sldMk cId="3061079320" sldId="2147481966"/>
            <ac:grpSpMk id="64" creationId="{61A85F62-FF91-BD23-93B9-59A5FDE686AE}"/>
          </ac:grpSpMkLst>
        </pc:grpChg>
      </pc:sldChg>
      <pc:sldChg chg="add del">
        <pc:chgData name="Kateryna Levchuk (UA)" userId="5dbb0cbd-4dc1-41d4-910d-5f884aef466d" providerId="ADAL" clId="{3D0DB7AE-1BA7-45E8-B6C7-4A63B94ABB52}" dt="2024-06-10T13:23:01.010" v="1021"/>
        <pc:sldMkLst>
          <pc:docMk/>
          <pc:sldMk cId="220986385" sldId="2147481967"/>
        </pc:sldMkLst>
      </pc:sldChg>
    </pc:docChg>
  </pc:docChgLst>
  <pc:docChgLst>
    <pc:chgData name="Sindija Kirsteine (LV)" userId="5f25501a-2215-4bb3-9d9c-8d1484ffa7c1" providerId="ADAL" clId="{3C76B298-68B9-428E-B31F-3EF28769EE74}"/>
    <pc:docChg chg="custSel modSld sldOrd replTag">
      <pc:chgData name="Sindija Kirsteine (LV)" userId="5f25501a-2215-4bb3-9d9c-8d1484ffa7c1" providerId="ADAL" clId="{3C76B298-68B9-428E-B31F-3EF28769EE74}" dt="2024-09-02T07:23:34.722" v="28"/>
      <pc:docMkLst>
        <pc:docMk/>
      </pc:docMkLst>
      <pc:sldChg chg="modSp mod">
        <pc:chgData name="Sindija Kirsteine (LV)" userId="5f25501a-2215-4bb3-9d9c-8d1484ffa7c1" providerId="ADAL" clId="{3C76B298-68B9-428E-B31F-3EF28769EE74}" dt="2024-09-02T06:22:04.698" v="6" actId="21"/>
        <pc:sldMkLst>
          <pc:docMk/>
          <pc:sldMk cId="796361483" sldId="2147481942"/>
        </pc:sldMkLst>
        <pc:spChg chg="mod">
          <ac:chgData name="Sindija Kirsteine (LV)" userId="5f25501a-2215-4bb3-9d9c-8d1484ffa7c1" providerId="ADAL" clId="{3C76B298-68B9-428E-B31F-3EF28769EE74}" dt="2024-09-02T06:22:04.698" v="6" actId="21"/>
          <ac:spMkLst>
            <pc:docMk/>
            <pc:sldMk cId="796361483" sldId="2147481942"/>
            <ac:spMk id="24" creationId="{20F6161A-E3E2-A765-A44D-92728895AC83}"/>
          </ac:spMkLst>
        </pc:spChg>
      </pc:sldChg>
      <pc:sldChg chg="modSp mod ord">
        <pc:chgData name="Sindija Kirsteine (LV)" userId="5f25501a-2215-4bb3-9d9c-8d1484ffa7c1" providerId="ADAL" clId="{3C76B298-68B9-428E-B31F-3EF28769EE74}" dt="2024-09-02T06:22:12.957" v="14" actId="21"/>
        <pc:sldMkLst>
          <pc:docMk/>
          <pc:sldMk cId="1527880861" sldId="2147481962"/>
        </pc:sldMkLst>
        <pc:spChg chg="mod">
          <ac:chgData name="Sindija Kirsteine (LV)" userId="5f25501a-2215-4bb3-9d9c-8d1484ffa7c1" providerId="ADAL" clId="{3C76B298-68B9-428E-B31F-3EF28769EE74}" dt="2024-09-02T06:22:12.957" v="14" actId="21"/>
          <ac:spMkLst>
            <pc:docMk/>
            <pc:sldMk cId="1527880861" sldId="2147481962"/>
            <ac:spMk id="24" creationId="{20F6161A-E3E2-A765-A44D-92728895AC83}"/>
          </ac:spMkLst>
        </pc:spChg>
      </pc:sldChg>
      <pc:sldChg chg="modSp mod">
        <pc:chgData name="Sindija Kirsteine (LV)" userId="5f25501a-2215-4bb3-9d9c-8d1484ffa7c1" providerId="ADAL" clId="{3C76B298-68B9-428E-B31F-3EF28769EE74}" dt="2024-09-02T07:23:17.505" v="25" actId="20577"/>
        <pc:sldMkLst>
          <pc:docMk/>
          <pc:sldMk cId="3140329955" sldId="2147481963"/>
        </pc:sldMkLst>
        <pc:spChg chg="mod">
          <ac:chgData name="Sindija Kirsteine (LV)" userId="5f25501a-2215-4bb3-9d9c-8d1484ffa7c1" providerId="ADAL" clId="{3C76B298-68B9-428E-B31F-3EF28769EE74}" dt="2024-09-02T07:23:17.505" v="25" actId="20577"/>
          <ac:spMkLst>
            <pc:docMk/>
            <pc:sldMk cId="3140329955" sldId="2147481963"/>
            <ac:spMk id="24" creationId="{20F6161A-E3E2-A765-A44D-92728895AC83}"/>
          </ac:spMkLst>
        </pc:spChg>
      </pc:sldChg>
    </pc:docChg>
  </pc:docChgLst>
  <pc:docChgLst>
    <pc:chgData name="Annemarija Apine (LV)" userId="S::annemarija.apine@pwc.com::546f5c59-3b8d-47fd-b739-a8fadc631053" providerId="AD" clId="Web-{98E2DA2E-C2CA-3119-A2CF-7778927036C5}"/>
    <pc:docChg chg="mod modSld">
      <pc:chgData name="Annemarija Apine (LV)" userId="S::annemarija.apine@pwc.com::546f5c59-3b8d-47fd-b739-a8fadc631053" providerId="AD" clId="Web-{98E2DA2E-C2CA-3119-A2CF-7778927036C5}" dt="2024-06-04T12:34:55.338" v="5"/>
      <pc:docMkLst>
        <pc:docMk/>
      </pc:docMkLst>
      <pc:sldChg chg="modSp addCm modCm">
        <pc:chgData name="Annemarija Apine (LV)" userId="S::annemarija.apine@pwc.com::546f5c59-3b8d-47fd-b739-a8fadc631053" providerId="AD" clId="Web-{98E2DA2E-C2CA-3119-A2CF-7778927036C5}" dt="2024-06-04T12:34:55.338" v="5"/>
        <pc:sldMkLst>
          <pc:docMk/>
          <pc:sldMk cId="192098022" sldId="2147481877"/>
        </pc:sldMkLst>
        <pc:spChg chg="mod">
          <ac:chgData name="Annemarija Apine (LV)" userId="S::annemarija.apine@pwc.com::546f5c59-3b8d-47fd-b739-a8fadc631053" providerId="AD" clId="Web-{98E2DA2E-C2CA-3119-A2CF-7778927036C5}" dt="2024-06-04T12:34:28.072" v="2" actId="20577"/>
          <ac:spMkLst>
            <pc:docMk/>
            <pc:sldMk cId="192098022" sldId="2147481877"/>
            <ac:spMk id="4" creationId="{5D11349D-67E6-D358-56A1-2A641284DFB5}"/>
          </ac:spMkLst>
        </pc:spChg>
        <pc:extLst>
          <p:ext xmlns:p="http://schemas.openxmlformats.org/presentationml/2006/main" uri="{D6D511B9-2390-475A-947B-AFAB55BFBCF1}">
            <pc226:cmChg xmlns:pc226="http://schemas.microsoft.com/office/powerpoint/2022/06/main/command" chg="add">
              <pc226:chgData name="Annemarija Apine (LV)" userId="S::annemarija.apine@pwc.com::546f5c59-3b8d-47fd-b739-a8fadc631053" providerId="AD" clId="Web-{98E2DA2E-C2CA-3119-A2CF-7778927036C5}" dt="2024-06-04T12:34:55.338" v="5"/>
              <pc2:cmMkLst xmlns:pc2="http://schemas.microsoft.com/office/powerpoint/2019/9/main/command">
                <pc:docMk/>
                <pc:sldMk cId="192098022" sldId="2147481877"/>
                <pc2:cmMk id="{2BAFDAD7-4750-421D-879A-E56EE9100927}"/>
              </pc2:cmMkLst>
              <pc226:cmRplyChg chg="add">
                <pc226:chgData name="Annemarija Apine (LV)" userId="S::annemarija.apine@pwc.com::546f5c59-3b8d-47fd-b739-a8fadc631053" providerId="AD" clId="Web-{98E2DA2E-C2CA-3119-A2CF-7778927036C5}" dt="2024-06-04T12:34:55.338" v="5"/>
                <pc2:cmRplyMkLst xmlns:pc2="http://schemas.microsoft.com/office/powerpoint/2019/9/main/command">
                  <pc:docMk/>
                  <pc:sldMk cId="192098022" sldId="2147481877"/>
                  <pc2:cmMk id="{2BAFDAD7-4750-421D-879A-E56EE9100927}"/>
                  <pc2:cmRplyMk id="{F36101E0-00D0-40D2-B79A-679E30979133}"/>
                </pc2:cmRplyMkLst>
              </pc226:cmRplyChg>
            </pc226:cmChg>
          </p:ext>
        </pc:extLst>
      </pc:sldChg>
    </pc:docChg>
  </pc:docChgLst>
  <pc:docChgLst>
    <pc:chgData name="Olha Perminova (UA)" userId="3a6a8ff4-9418-475a-a23d-87d0c5689c66" providerId="ADAL" clId="{9A235F19-1981-498E-BA97-5613F340D513}"/>
    <pc:docChg chg="undo custSel addSld delSld modSld sldOrd replTag">
      <pc:chgData name="Olha Perminova (UA)" userId="3a6a8ff4-9418-475a-a23d-87d0c5689c66" providerId="ADAL" clId="{9A235F19-1981-498E-BA97-5613F340D513}" dt="2024-06-10T15:00:26.718" v="1405" actId="1036"/>
      <pc:docMkLst>
        <pc:docMk/>
      </pc:docMkLst>
      <pc:sldChg chg="addSp delSp modSp del mod">
        <pc:chgData name="Olha Perminova (UA)" userId="3a6a8ff4-9418-475a-a23d-87d0c5689c66" providerId="ADAL" clId="{9A235F19-1981-498E-BA97-5613F340D513}" dt="2024-06-10T14:55:24.427" v="1244" actId="2696"/>
        <pc:sldMkLst>
          <pc:docMk/>
          <pc:sldMk cId="3939567711" sldId="2147481951"/>
        </pc:sldMkLst>
        <pc:spChg chg="mod">
          <ac:chgData name="Olha Perminova (UA)" userId="3a6a8ff4-9418-475a-a23d-87d0c5689c66" providerId="ADAL" clId="{9A235F19-1981-498E-BA97-5613F340D513}" dt="2024-06-10T14:55:16.687" v="1241" actId="14100"/>
          <ac:spMkLst>
            <pc:docMk/>
            <pc:sldMk cId="3939567711" sldId="2147481951"/>
            <ac:spMk id="5" creationId="{8F5E4F9B-4FD0-1DD2-57B2-599862CD76E9}"/>
          </ac:spMkLst>
        </pc:spChg>
        <pc:spChg chg="add del mod">
          <ac:chgData name="Olha Perminova (UA)" userId="3a6a8ff4-9418-475a-a23d-87d0c5689c66" providerId="ADAL" clId="{9A235F19-1981-498E-BA97-5613F340D513}" dt="2024-06-10T13:21:49.157" v="51" actId="11529"/>
          <ac:spMkLst>
            <pc:docMk/>
            <pc:sldMk cId="3939567711" sldId="2147481951"/>
            <ac:spMk id="6" creationId="{6C19A639-317B-95BA-7E80-922C52640101}"/>
          </ac:spMkLst>
        </pc:spChg>
        <pc:spChg chg="add del mod">
          <ac:chgData name="Olha Perminova (UA)" userId="3a6a8ff4-9418-475a-a23d-87d0c5689c66" providerId="ADAL" clId="{9A235F19-1981-498E-BA97-5613F340D513}" dt="2024-06-10T14:55:21.851" v="1243"/>
          <ac:spMkLst>
            <pc:docMk/>
            <pc:sldMk cId="3939567711" sldId="2147481951"/>
            <ac:spMk id="22" creationId="{793040EA-83BD-F768-C51B-503C92EC5949}"/>
          </ac:spMkLst>
        </pc:spChg>
        <pc:spChg chg="mod">
          <ac:chgData name="Olha Perminova (UA)" userId="3a6a8ff4-9418-475a-a23d-87d0c5689c66" providerId="ADAL" clId="{9A235F19-1981-498E-BA97-5613F340D513}" dt="2024-06-10T13:21:56.836" v="56" actId="1076"/>
          <ac:spMkLst>
            <pc:docMk/>
            <pc:sldMk cId="3939567711" sldId="2147481951"/>
            <ac:spMk id="51" creationId="{2F6DC4B8-9940-E974-DFE7-A68FEC09CF64}"/>
          </ac:spMkLst>
        </pc:spChg>
        <pc:spChg chg="mod">
          <ac:chgData name="Olha Perminova (UA)" userId="3a6a8ff4-9418-475a-a23d-87d0c5689c66" providerId="ADAL" clId="{9A235F19-1981-498E-BA97-5613F340D513}" dt="2024-06-10T13:21:55.268" v="54" actId="1076"/>
          <ac:spMkLst>
            <pc:docMk/>
            <pc:sldMk cId="3939567711" sldId="2147481951"/>
            <ac:spMk id="52" creationId="{754EAF21-8364-40B5-103F-C971798338FA}"/>
          </ac:spMkLst>
        </pc:spChg>
        <pc:spChg chg="mod">
          <ac:chgData name="Olha Perminova (UA)" userId="3a6a8ff4-9418-475a-a23d-87d0c5689c66" providerId="ADAL" clId="{9A235F19-1981-498E-BA97-5613F340D513}" dt="2024-06-10T13:21:54.496" v="53" actId="1076"/>
          <ac:spMkLst>
            <pc:docMk/>
            <pc:sldMk cId="3939567711" sldId="2147481951"/>
            <ac:spMk id="70" creationId="{3F316D1B-3703-9EE0-5513-9FC627F0D3C4}"/>
          </ac:spMkLst>
        </pc:spChg>
        <pc:spChg chg="mod">
          <ac:chgData name="Olha Perminova (UA)" userId="3a6a8ff4-9418-475a-a23d-87d0c5689c66" providerId="ADAL" clId="{9A235F19-1981-498E-BA97-5613F340D513}" dt="2024-06-10T13:19:57.876" v="27" actId="1076"/>
          <ac:spMkLst>
            <pc:docMk/>
            <pc:sldMk cId="3939567711" sldId="2147481951"/>
            <ac:spMk id="86" creationId="{648F3B61-9E01-3FED-9478-2DF9456AD92A}"/>
          </ac:spMkLst>
        </pc:spChg>
        <pc:spChg chg="mod">
          <ac:chgData name="Olha Perminova (UA)" userId="3a6a8ff4-9418-475a-a23d-87d0c5689c66" providerId="ADAL" clId="{9A235F19-1981-498E-BA97-5613F340D513}" dt="2024-06-10T13:19:57.876" v="27" actId="1076"/>
          <ac:spMkLst>
            <pc:docMk/>
            <pc:sldMk cId="3939567711" sldId="2147481951"/>
            <ac:spMk id="87" creationId="{42505ED0-AC34-45B6-C247-BB91AC54A687}"/>
          </ac:spMkLst>
        </pc:spChg>
        <pc:spChg chg="mod">
          <ac:chgData name="Olha Perminova (UA)" userId="3a6a8ff4-9418-475a-a23d-87d0c5689c66" providerId="ADAL" clId="{9A235F19-1981-498E-BA97-5613F340D513}" dt="2024-06-10T13:19:57.876" v="27" actId="1076"/>
          <ac:spMkLst>
            <pc:docMk/>
            <pc:sldMk cId="3939567711" sldId="2147481951"/>
            <ac:spMk id="88" creationId="{B91EEFEC-A7F9-6A62-0B87-F926087694FF}"/>
          </ac:spMkLst>
        </pc:spChg>
        <pc:grpChg chg="mod">
          <ac:chgData name="Olha Perminova (UA)" userId="3a6a8ff4-9418-475a-a23d-87d0c5689c66" providerId="ADAL" clId="{9A235F19-1981-498E-BA97-5613F340D513}" dt="2024-06-10T13:19:57.876" v="27" actId="1076"/>
          <ac:grpSpMkLst>
            <pc:docMk/>
            <pc:sldMk cId="3939567711" sldId="2147481951"/>
            <ac:grpSpMk id="50" creationId="{35EBB9EC-EE3B-02CA-F3CD-1BDA4B3D07E0}"/>
          </ac:grpSpMkLst>
        </pc:grpChg>
        <pc:grpChg chg="mod">
          <ac:chgData name="Olha Perminova (UA)" userId="3a6a8ff4-9418-475a-a23d-87d0c5689c66" providerId="ADAL" clId="{9A235F19-1981-498E-BA97-5613F340D513}" dt="2024-06-10T13:21:44.454" v="47" actId="1076"/>
          <ac:grpSpMkLst>
            <pc:docMk/>
            <pc:sldMk cId="3939567711" sldId="2147481951"/>
            <ac:grpSpMk id="57" creationId="{BA1ACCB5-893B-3A37-D18B-1A8EB31DFE03}"/>
          </ac:grpSpMkLst>
        </pc:grpChg>
      </pc:sldChg>
      <pc:sldChg chg="mod ord modShow">
        <pc:chgData name="Olha Perminova (UA)" userId="3a6a8ff4-9418-475a-a23d-87d0c5689c66" providerId="ADAL" clId="{9A235F19-1981-498E-BA97-5613F340D513}" dt="2024-06-10T14:54:58.983" v="1231"/>
        <pc:sldMkLst>
          <pc:docMk/>
          <pc:sldMk cId="8764514" sldId="2147481952"/>
        </pc:sldMkLst>
      </pc:sldChg>
      <pc:sldChg chg="del mod modShow">
        <pc:chgData name="Olha Perminova (UA)" userId="3a6a8ff4-9418-475a-a23d-87d0c5689c66" providerId="ADAL" clId="{9A235F19-1981-498E-BA97-5613F340D513}" dt="2024-06-10T14:12:17.769" v="545" actId="2696"/>
        <pc:sldMkLst>
          <pc:docMk/>
          <pc:sldMk cId="2037616446" sldId="2147481956"/>
        </pc:sldMkLst>
      </pc:sldChg>
      <pc:sldChg chg="addSp delSp modSp mod">
        <pc:chgData name="Olha Perminova (UA)" userId="3a6a8ff4-9418-475a-a23d-87d0c5689c66" providerId="ADAL" clId="{9A235F19-1981-498E-BA97-5613F340D513}" dt="2024-06-10T15:00:26.718" v="1405" actId="1036"/>
        <pc:sldMkLst>
          <pc:docMk/>
          <pc:sldMk cId="329214126" sldId="2147481959"/>
        </pc:sldMkLst>
        <pc:spChg chg="mod">
          <ac:chgData name="Olha Perminova (UA)" userId="3a6a8ff4-9418-475a-a23d-87d0c5689c66" providerId="ADAL" clId="{9A235F19-1981-498E-BA97-5613F340D513}" dt="2024-06-10T14:59:06.443" v="1390" actId="552"/>
          <ac:spMkLst>
            <pc:docMk/>
            <pc:sldMk cId="329214126" sldId="2147481959"/>
            <ac:spMk id="2" creationId="{B1F6A68B-1597-6DFC-9E7D-71CFDA319A8C}"/>
          </ac:spMkLst>
        </pc:spChg>
        <pc:spChg chg="mod">
          <ac:chgData name="Olha Perminova (UA)" userId="3a6a8ff4-9418-475a-a23d-87d0c5689c66" providerId="ADAL" clId="{9A235F19-1981-498E-BA97-5613F340D513}" dt="2024-06-10T14:58:56.508" v="1389" actId="465"/>
          <ac:spMkLst>
            <pc:docMk/>
            <pc:sldMk cId="329214126" sldId="2147481959"/>
            <ac:spMk id="5" creationId="{4698077E-5F06-B355-0606-A7F29A25D317}"/>
          </ac:spMkLst>
        </pc:spChg>
        <pc:spChg chg="mod">
          <ac:chgData name="Olha Perminova (UA)" userId="3a6a8ff4-9418-475a-a23d-87d0c5689c66" providerId="ADAL" clId="{9A235F19-1981-498E-BA97-5613F340D513}" dt="2024-06-10T14:59:43.725" v="1397" actId="465"/>
          <ac:spMkLst>
            <pc:docMk/>
            <pc:sldMk cId="329214126" sldId="2147481959"/>
            <ac:spMk id="15" creationId="{59122A1E-8BC3-09F4-97FB-705F528E5398}"/>
          </ac:spMkLst>
        </pc:spChg>
        <pc:spChg chg="mod">
          <ac:chgData name="Olha Perminova (UA)" userId="3a6a8ff4-9418-475a-a23d-87d0c5689c66" providerId="ADAL" clId="{9A235F19-1981-498E-BA97-5613F340D513}" dt="2024-06-10T14:57:52.357" v="1355" actId="555"/>
          <ac:spMkLst>
            <pc:docMk/>
            <pc:sldMk cId="329214126" sldId="2147481959"/>
            <ac:spMk id="16" creationId="{4C1489AC-C832-C969-96C3-5B7A4ED02FB3}"/>
          </ac:spMkLst>
        </pc:spChg>
        <pc:spChg chg="mod">
          <ac:chgData name="Olha Perminova (UA)" userId="3a6a8ff4-9418-475a-a23d-87d0c5689c66" providerId="ADAL" clId="{9A235F19-1981-498E-BA97-5613F340D513}" dt="2024-06-10T14:58:05.572" v="1376" actId="553"/>
          <ac:spMkLst>
            <pc:docMk/>
            <pc:sldMk cId="329214126" sldId="2147481959"/>
            <ac:spMk id="17" creationId="{D67163D0-AFF2-0F5B-BEF8-713B9C5550B9}"/>
          </ac:spMkLst>
        </pc:spChg>
        <pc:spChg chg="mod">
          <ac:chgData name="Olha Perminova (UA)" userId="3a6a8ff4-9418-475a-a23d-87d0c5689c66" providerId="ADAL" clId="{9A235F19-1981-498E-BA97-5613F340D513}" dt="2024-06-10T14:57:18.507" v="1297" actId="552"/>
          <ac:spMkLst>
            <pc:docMk/>
            <pc:sldMk cId="329214126" sldId="2147481959"/>
            <ac:spMk id="18" creationId="{D3932FD6-4833-DAF0-8321-A600DDDF2D68}"/>
          </ac:spMkLst>
        </pc:spChg>
        <pc:spChg chg="mod">
          <ac:chgData name="Olha Perminova (UA)" userId="3a6a8ff4-9418-475a-a23d-87d0c5689c66" providerId="ADAL" clId="{9A235F19-1981-498E-BA97-5613F340D513}" dt="2024-06-10T14:56:44.004" v="1285" actId="1076"/>
          <ac:spMkLst>
            <pc:docMk/>
            <pc:sldMk cId="329214126" sldId="2147481959"/>
            <ac:spMk id="21" creationId="{036DED66-E299-1067-9D43-ADF12C7A1CC7}"/>
          </ac:spMkLst>
        </pc:spChg>
        <pc:spChg chg="mod">
          <ac:chgData name="Olha Perminova (UA)" userId="3a6a8ff4-9418-475a-a23d-87d0c5689c66" providerId="ADAL" clId="{9A235F19-1981-498E-BA97-5613F340D513}" dt="2024-06-10T14:59:49.789" v="1398" actId="14100"/>
          <ac:spMkLst>
            <pc:docMk/>
            <pc:sldMk cId="329214126" sldId="2147481959"/>
            <ac:spMk id="22" creationId="{5945FFC4-B564-FA15-EA24-EE9B63FADFEC}"/>
          </ac:spMkLst>
        </pc:spChg>
        <pc:spChg chg="mod">
          <ac:chgData name="Olha Perminova (UA)" userId="3a6a8ff4-9418-475a-a23d-87d0c5689c66" providerId="ADAL" clId="{9A235F19-1981-498E-BA97-5613F340D513}" dt="2024-06-10T14:57:12.663" v="1295" actId="552"/>
          <ac:spMkLst>
            <pc:docMk/>
            <pc:sldMk cId="329214126" sldId="2147481959"/>
            <ac:spMk id="23" creationId="{40D304C9-A45C-F440-2AD0-14A290FE5C9A}"/>
          </ac:spMkLst>
        </pc:spChg>
        <pc:spChg chg="del">
          <ac:chgData name="Olha Perminova (UA)" userId="3a6a8ff4-9418-475a-a23d-87d0c5689c66" providerId="ADAL" clId="{9A235F19-1981-498E-BA97-5613F340D513}" dt="2024-06-10T14:55:46.730" v="1250" actId="478"/>
          <ac:spMkLst>
            <pc:docMk/>
            <pc:sldMk cId="329214126" sldId="2147481959"/>
            <ac:spMk id="26" creationId="{A49585BF-400C-D97E-814D-A29D14EEAB69}"/>
          </ac:spMkLst>
        </pc:spChg>
        <pc:spChg chg="mod">
          <ac:chgData name="Olha Perminova (UA)" userId="3a6a8ff4-9418-475a-a23d-87d0c5689c66" providerId="ADAL" clId="{9A235F19-1981-498E-BA97-5613F340D513}" dt="2024-06-10T14:58:03.839" v="1363" actId="948"/>
          <ac:spMkLst>
            <pc:docMk/>
            <pc:sldMk cId="329214126" sldId="2147481959"/>
            <ac:spMk id="27" creationId="{32BEDB9C-EB44-3430-B207-FA719672649E}"/>
          </ac:spMkLst>
        </pc:spChg>
        <pc:spChg chg="mod">
          <ac:chgData name="Olha Perminova (UA)" userId="3a6a8ff4-9418-475a-a23d-87d0c5689c66" providerId="ADAL" clId="{9A235F19-1981-498E-BA97-5613F340D513}" dt="2024-06-10T14:57:07.881" v="1294" actId="1036"/>
          <ac:spMkLst>
            <pc:docMk/>
            <pc:sldMk cId="329214126" sldId="2147481959"/>
            <ac:spMk id="33" creationId="{5B2A4D2C-CD75-341E-580A-957F809C2018}"/>
          </ac:spMkLst>
        </pc:spChg>
        <pc:spChg chg="add mod">
          <ac:chgData name="Olha Perminova (UA)" userId="3a6a8ff4-9418-475a-a23d-87d0c5689c66" providerId="ADAL" clId="{9A235F19-1981-498E-BA97-5613F340D513}" dt="2024-06-10T14:55:47.127" v="1251"/>
          <ac:spMkLst>
            <pc:docMk/>
            <pc:sldMk cId="329214126" sldId="2147481959"/>
            <ac:spMk id="35" creationId="{E75B0771-339E-D70E-BF92-01FF7186E519}"/>
          </ac:spMkLst>
        </pc:spChg>
        <pc:spChg chg="add del mod">
          <ac:chgData name="Olha Perminova (UA)" userId="3a6a8ff4-9418-475a-a23d-87d0c5689c66" providerId="ADAL" clId="{9A235F19-1981-498E-BA97-5613F340D513}" dt="2024-06-10T14:59:10.481" v="1391" actId="478"/>
          <ac:spMkLst>
            <pc:docMk/>
            <pc:sldMk cId="329214126" sldId="2147481959"/>
            <ac:spMk id="36" creationId="{5067C077-31F1-307B-534B-67A59FD3F685}"/>
          </ac:spMkLst>
        </pc:spChg>
        <pc:spChg chg="mod">
          <ac:chgData name="Olha Perminova (UA)" userId="3a6a8ff4-9418-475a-a23d-87d0c5689c66" providerId="ADAL" clId="{9A235F19-1981-498E-BA97-5613F340D513}" dt="2024-06-10T14:58:05.572" v="1376" actId="553"/>
          <ac:spMkLst>
            <pc:docMk/>
            <pc:sldMk cId="329214126" sldId="2147481959"/>
            <ac:spMk id="37" creationId="{16C10275-D1DB-BDFC-B1ED-A4402FA73250}"/>
          </ac:spMkLst>
        </pc:spChg>
        <pc:spChg chg="add del mod modVis">
          <ac:chgData name="Olha Perminova (UA)" userId="3a6a8ff4-9418-475a-a23d-87d0c5689c66" providerId="ADAL" clId="{9A235F19-1981-498E-BA97-5613F340D513}" dt="2024-06-10T14:57:37.787" v="1325"/>
          <ac:spMkLst>
            <pc:docMk/>
            <pc:sldMk cId="329214126" sldId="2147481959"/>
            <ac:spMk id="38" creationId="{D7937ED7-9D28-30AE-3E1F-579BA429791D}"/>
          </ac:spMkLst>
        </pc:spChg>
        <pc:spChg chg="mod">
          <ac:chgData name="Olha Perminova (UA)" userId="3a6a8ff4-9418-475a-a23d-87d0c5689c66" providerId="ADAL" clId="{9A235F19-1981-498E-BA97-5613F340D513}" dt="2024-06-10T14:59:28.864" v="1393" actId="12788"/>
          <ac:spMkLst>
            <pc:docMk/>
            <pc:sldMk cId="329214126" sldId="2147481959"/>
            <ac:spMk id="43" creationId="{4D22AE43-6F09-8F6C-6BFB-B80568A76645}"/>
          </ac:spMkLst>
        </pc:spChg>
        <pc:spChg chg="mod">
          <ac:chgData name="Olha Perminova (UA)" userId="3a6a8ff4-9418-475a-a23d-87d0c5689c66" providerId="ADAL" clId="{9A235F19-1981-498E-BA97-5613F340D513}" dt="2024-06-10T14:59:28.864" v="1393" actId="12788"/>
          <ac:spMkLst>
            <pc:docMk/>
            <pc:sldMk cId="329214126" sldId="2147481959"/>
            <ac:spMk id="45" creationId="{351F422D-199E-63ED-F400-A5A2A505286D}"/>
          </ac:spMkLst>
        </pc:spChg>
        <pc:spChg chg="mod">
          <ac:chgData name="Olha Perminova (UA)" userId="3a6a8ff4-9418-475a-a23d-87d0c5689c66" providerId="ADAL" clId="{9A235F19-1981-498E-BA97-5613F340D513}" dt="2024-06-10T14:58:49.181" v="1387"/>
          <ac:spMkLst>
            <pc:docMk/>
            <pc:sldMk cId="329214126" sldId="2147481959"/>
            <ac:spMk id="48" creationId="{841DF6D9-4332-496D-9522-D7DE59AC6D9C}"/>
          </ac:spMkLst>
        </pc:spChg>
        <pc:spChg chg="mod">
          <ac:chgData name="Olha Perminova (UA)" userId="3a6a8ff4-9418-475a-a23d-87d0c5689c66" providerId="ADAL" clId="{9A235F19-1981-498E-BA97-5613F340D513}" dt="2024-06-10T14:58:49.181" v="1387"/>
          <ac:spMkLst>
            <pc:docMk/>
            <pc:sldMk cId="329214126" sldId="2147481959"/>
            <ac:spMk id="50" creationId="{5A1DDE0D-0789-8B95-CF6A-B534787C207C}"/>
          </ac:spMkLst>
        </pc:spChg>
        <pc:spChg chg="mod">
          <ac:chgData name="Olha Perminova (UA)" userId="3a6a8ff4-9418-475a-a23d-87d0c5689c66" providerId="ADAL" clId="{9A235F19-1981-498E-BA97-5613F340D513}" dt="2024-06-10T14:59:35.415" v="1395"/>
          <ac:spMkLst>
            <pc:docMk/>
            <pc:sldMk cId="329214126" sldId="2147481959"/>
            <ac:spMk id="54" creationId="{97C2D747-7EA4-AB85-62EB-9712560435D7}"/>
          </ac:spMkLst>
        </pc:spChg>
        <pc:spChg chg="mod">
          <ac:chgData name="Olha Perminova (UA)" userId="3a6a8ff4-9418-475a-a23d-87d0c5689c66" providerId="ADAL" clId="{9A235F19-1981-498E-BA97-5613F340D513}" dt="2024-06-10T14:57:18.507" v="1297" actId="552"/>
          <ac:spMkLst>
            <pc:docMk/>
            <pc:sldMk cId="329214126" sldId="2147481959"/>
            <ac:spMk id="55" creationId="{01DEE395-A1D3-A782-B617-02A79709E740}"/>
          </ac:spMkLst>
        </pc:spChg>
        <pc:spChg chg="mod">
          <ac:chgData name="Olha Perminova (UA)" userId="3a6a8ff4-9418-475a-a23d-87d0c5689c66" providerId="ADAL" clId="{9A235F19-1981-498E-BA97-5613F340D513}" dt="2024-06-10T14:59:35.415" v="1395"/>
          <ac:spMkLst>
            <pc:docMk/>
            <pc:sldMk cId="329214126" sldId="2147481959"/>
            <ac:spMk id="57" creationId="{E3F9568D-80D6-B7D3-B26D-0CF99F24FA39}"/>
          </ac:spMkLst>
        </pc:spChg>
        <pc:spChg chg="mod">
          <ac:chgData name="Olha Perminova (UA)" userId="3a6a8ff4-9418-475a-a23d-87d0c5689c66" providerId="ADAL" clId="{9A235F19-1981-498E-BA97-5613F340D513}" dt="2024-06-10T14:56:06.435" v="1267" actId="408"/>
          <ac:spMkLst>
            <pc:docMk/>
            <pc:sldMk cId="329214126" sldId="2147481959"/>
            <ac:spMk id="64" creationId="{67FBBA03-31E4-D7C8-090F-638F677E6A35}"/>
          </ac:spMkLst>
        </pc:spChg>
        <pc:spChg chg="mod">
          <ac:chgData name="Olha Perminova (UA)" userId="3a6a8ff4-9418-475a-a23d-87d0c5689c66" providerId="ADAL" clId="{9A235F19-1981-498E-BA97-5613F340D513}" dt="2024-06-10T14:56:40.800" v="1283" actId="1038"/>
          <ac:spMkLst>
            <pc:docMk/>
            <pc:sldMk cId="329214126" sldId="2147481959"/>
            <ac:spMk id="65" creationId="{894E5700-E975-D8D2-5AD3-2E35DE8CE365}"/>
          </ac:spMkLst>
        </pc:spChg>
        <pc:spChg chg="mod">
          <ac:chgData name="Olha Perminova (UA)" userId="3a6a8ff4-9418-475a-a23d-87d0c5689c66" providerId="ADAL" clId="{9A235F19-1981-498E-BA97-5613F340D513}" dt="2024-06-10T15:00:00.636" v="1399" actId="14100"/>
          <ac:spMkLst>
            <pc:docMk/>
            <pc:sldMk cId="329214126" sldId="2147481959"/>
            <ac:spMk id="66" creationId="{8D4E5B49-05F7-6DC9-B647-FEF3369AD289}"/>
          </ac:spMkLst>
        </pc:spChg>
        <pc:spChg chg="mod">
          <ac:chgData name="Olha Perminova (UA)" userId="3a6a8ff4-9418-475a-a23d-87d0c5689c66" providerId="ADAL" clId="{9A235F19-1981-498E-BA97-5613F340D513}" dt="2024-06-10T14:58:21.046" v="1378" actId="12788"/>
          <ac:spMkLst>
            <pc:docMk/>
            <pc:sldMk cId="329214126" sldId="2147481959"/>
            <ac:spMk id="76" creationId="{CED2266F-08FA-862E-8416-6D956A1445F1}"/>
          </ac:spMkLst>
        </pc:spChg>
        <pc:grpChg chg="add mod">
          <ac:chgData name="Olha Perminova (UA)" userId="3a6a8ff4-9418-475a-a23d-87d0c5689c66" providerId="ADAL" clId="{9A235F19-1981-498E-BA97-5613F340D513}" dt="2024-06-10T15:00:26.718" v="1405" actId="1036"/>
          <ac:grpSpMkLst>
            <pc:docMk/>
            <pc:sldMk cId="329214126" sldId="2147481959"/>
            <ac:grpSpMk id="41" creationId="{7791985C-12B3-8C09-1D30-21A08DE6D25B}"/>
          </ac:grpSpMkLst>
        </pc:grpChg>
        <pc:grpChg chg="mod">
          <ac:chgData name="Olha Perminova (UA)" userId="3a6a8ff4-9418-475a-a23d-87d0c5689c66" providerId="ADAL" clId="{9A235F19-1981-498E-BA97-5613F340D513}" dt="2024-06-10T14:58:30.804" v="1381"/>
          <ac:grpSpMkLst>
            <pc:docMk/>
            <pc:sldMk cId="329214126" sldId="2147481959"/>
            <ac:grpSpMk id="42" creationId="{A804AD52-C2B5-1BBD-590C-011CCC0F2E26}"/>
          </ac:grpSpMkLst>
        </pc:grpChg>
        <pc:grpChg chg="add del mod">
          <ac:chgData name="Olha Perminova (UA)" userId="3a6a8ff4-9418-475a-a23d-87d0c5689c66" providerId="ADAL" clId="{9A235F19-1981-498E-BA97-5613F340D513}" dt="2024-06-10T14:59:33.164" v="1394" actId="478"/>
          <ac:grpSpMkLst>
            <pc:docMk/>
            <pc:sldMk cId="329214126" sldId="2147481959"/>
            <ac:grpSpMk id="46" creationId="{A82894A8-ADDE-2EFA-008E-F067B8AA58B1}"/>
          </ac:grpSpMkLst>
        </pc:grpChg>
        <pc:grpChg chg="mod">
          <ac:chgData name="Olha Perminova (UA)" userId="3a6a8ff4-9418-475a-a23d-87d0c5689c66" providerId="ADAL" clId="{9A235F19-1981-498E-BA97-5613F340D513}" dt="2024-06-10T14:58:49.181" v="1387"/>
          <ac:grpSpMkLst>
            <pc:docMk/>
            <pc:sldMk cId="329214126" sldId="2147481959"/>
            <ac:grpSpMk id="47" creationId="{CD9E0CD8-9270-8D88-8F79-43616D751389}"/>
          </ac:grpSpMkLst>
        </pc:grpChg>
        <pc:grpChg chg="add mod">
          <ac:chgData name="Olha Perminova (UA)" userId="3a6a8ff4-9418-475a-a23d-87d0c5689c66" providerId="ADAL" clId="{9A235F19-1981-498E-BA97-5613F340D513}" dt="2024-06-10T15:00:24.270" v="1402" actId="1036"/>
          <ac:grpSpMkLst>
            <pc:docMk/>
            <pc:sldMk cId="329214126" sldId="2147481959"/>
            <ac:grpSpMk id="52" creationId="{F63A512F-4A6A-81D2-94DA-4195DD4BBA36}"/>
          </ac:grpSpMkLst>
        </pc:grpChg>
        <pc:grpChg chg="mod">
          <ac:chgData name="Olha Perminova (UA)" userId="3a6a8ff4-9418-475a-a23d-87d0c5689c66" providerId="ADAL" clId="{9A235F19-1981-498E-BA97-5613F340D513}" dt="2024-06-10T14:59:35.415" v="1395"/>
          <ac:grpSpMkLst>
            <pc:docMk/>
            <pc:sldMk cId="329214126" sldId="2147481959"/>
            <ac:grpSpMk id="53" creationId="{24AD5AF1-0601-3591-444D-06C11DAFA813}"/>
          </ac:grpSpMkLst>
        </pc:grpChg>
        <pc:grpChg chg="del mod">
          <ac:chgData name="Olha Perminova (UA)" userId="3a6a8ff4-9418-475a-a23d-87d0c5689c66" providerId="ADAL" clId="{9A235F19-1981-498E-BA97-5613F340D513}" dt="2024-06-10T14:58:46.603" v="1386" actId="478"/>
          <ac:grpSpMkLst>
            <pc:docMk/>
            <pc:sldMk cId="329214126" sldId="2147481959"/>
            <ac:grpSpMk id="74" creationId="{DC8D4467-09A5-99C5-1A03-64C59D279CAE}"/>
          </ac:grpSpMkLst>
        </pc:grpChg>
        <pc:grpChg chg="del mod">
          <ac:chgData name="Olha Perminova (UA)" userId="3a6a8ff4-9418-475a-a23d-87d0c5689c66" providerId="ADAL" clId="{9A235F19-1981-498E-BA97-5613F340D513}" dt="2024-06-10T14:58:27.916" v="1380" actId="478"/>
          <ac:grpSpMkLst>
            <pc:docMk/>
            <pc:sldMk cId="329214126" sldId="2147481959"/>
            <ac:grpSpMk id="79" creationId="{1F87BE46-ED96-5EBD-6F76-787AB1C42B50}"/>
          </ac:grpSpMkLst>
        </pc:grpChg>
        <pc:graphicFrameChg chg="add mod ord modVis replST">
          <ac:chgData name="Olha Perminova (UA)" userId="3a6a8ff4-9418-475a-a23d-87d0c5689c66" providerId="ADAL" clId="{9A235F19-1981-498E-BA97-5613F340D513}" dt="2024-06-10T14:58:03.854" v="1375"/>
          <ac:graphicFrameMkLst>
            <pc:docMk/>
            <pc:sldMk cId="329214126" sldId="2147481959"/>
            <ac:graphicFrameMk id="39" creationId="{895C67C0-8232-71F7-D5D4-B855F09A32F0}"/>
          </ac:graphicFrameMkLst>
        </pc:graphicFrameChg>
        <pc:cxnChg chg="mod">
          <ac:chgData name="Olha Perminova (UA)" userId="3a6a8ff4-9418-475a-a23d-87d0c5689c66" providerId="ADAL" clId="{9A235F19-1981-498E-BA97-5613F340D513}" dt="2024-06-10T14:59:28.864" v="1393" actId="12788"/>
          <ac:cxnSpMkLst>
            <pc:docMk/>
            <pc:sldMk cId="329214126" sldId="2147481959"/>
            <ac:cxnSpMk id="44" creationId="{94D6467B-3AEE-87CA-9CA3-D85B89F519C1}"/>
          </ac:cxnSpMkLst>
        </pc:cxnChg>
        <pc:cxnChg chg="mod">
          <ac:chgData name="Olha Perminova (UA)" userId="3a6a8ff4-9418-475a-a23d-87d0c5689c66" providerId="ADAL" clId="{9A235F19-1981-498E-BA97-5613F340D513}" dt="2024-06-10T14:58:49.181" v="1387"/>
          <ac:cxnSpMkLst>
            <pc:docMk/>
            <pc:sldMk cId="329214126" sldId="2147481959"/>
            <ac:cxnSpMk id="49" creationId="{3742EAF6-D80C-CAEB-C080-DE4F4142D306}"/>
          </ac:cxnSpMkLst>
        </pc:cxnChg>
        <pc:cxnChg chg="mod">
          <ac:chgData name="Olha Perminova (UA)" userId="3a6a8ff4-9418-475a-a23d-87d0c5689c66" providerId="ADAL" clId="{9A235F19-1981-498E-BA97-5613F340D513}" dt="2024-06-10T14:59:35.415" v="1395"/>
          <ac:cxnSpMkLst>
            <pc:docMk/>
            <pc:sldMk cId="329214126" sldId="2147481959"/>
            <ac:cxnSpMk id="56" creationId="{FC541874-E061-42A4-B950-AAC2700C2B87}"/>
          </ac:cxnSpMkLst>
        </pc:cxnChg>
        <pc:cxnChg chg="mod">
          <ac:chgData name="Olha Perminova (UA)" userId="3a6a8ff4-9418-475a-a23d-87d0c5689c66" providerId="ADAL" clId="{9A235F19-1981-498E-BA97-5613F340D513}" dt="2024-06-10T14:58:21.046" v="1378" actId="12788"/>
          <ac:cxnSpMkLst>
            <pc:docMk/>
            <pc:sldMk cId="329214126" sldId="2147481959"/>
            <ac:cxnSpMk id="77" creationId="{C44F6072-86B6-BB07-73AF-E4F831BD7E72}"/>
          </ac:cxnSpMkLst>
        </pc:cxnChg>
      </pc:sldChg>
      <pc:sldChg chg="modSp del mod">
        <pc:chgData name="Olha Perminova (UA)" userId="3a6a8ff4-9418-475a-a23d-87d0c5689c66" providerId="ADAL" clId="{9A235F19-1981-498E-BA97-5613F340D513}" dt="2024-06-10T14:55:04.272" v="1232" actId="2696"/>
        <pc:sldMkLst>
          <pc:docMk/>
          <pc:sldMk cId="2987133819" sldId="2147481961"/>
        </pc:sldMkLst>
        <pc:spChg chg="mod">
          <ac:chgData name="Olha Perminova (UA)" userId="3a6a8ff4-9418-475a-a23d-87d0c5689c66" providerId="ADAL" clId="{9A235F19-1981-498E-BA97-5613F340D513}" dt="2024-06-10T13:21:43.286" v="44" actId="1076"/>
          <ac:spMkLst>
            <pc:docMk/>
            <pc:sldMk cId="2987133819" sldId="2147481961"/>
            <ac:spMk id="53" creationId="{6E6AD103-92DC-77F5-2DD7-C9640CA704CA}"/>
          </ac:spMkLst>
        </pc:spChg>
        <pc:spChg chg="mod">
          <ac:chgData name="Olha Perminova (UA)" userId="3a6a8ff4-9418-475a-a23d-87d0c5689c66" providerId="ADAL" clId="{9A235F19-1981-498E-BA97-5613F340D513}" dt="2024-06-10T13:21:43.586" v="45" actId="1076"/>
          <ac:spMkLst>
            <pc:docMk/>
            <pc:sldMk cId="2987133819" sldId="2147481961"/>
            <ac:spMk id="59" creationId="{CE37DEFD-F7E1-1D17-896D-4B833690D0B7}"/>
          </ac:spMkLst>
        </pc:spChg>
        <pc:spChg chg="mod">
          <ac:chgData name="Olha Perminova (UA)" userId="3a6a8ff4-9418-475a-a23d-87d0c5689c66" providerId="ADAL" clId="{9A235F19-1981-498E-BA97-5613F340D513}" dt="2024-06-10T13:21:42.402" v="41" actId="1076"/>
          <ac:spMkLst>
            <pc:docMk/>
            <pc:sldMk cId="2987133819" sldId="2147481961"/>
            <ac:spMk id="60" creationId="{F3A9469B-C6D4-CEE4-8E04-A57D05ED614E}"/>
          </ac:spMkLst>
        </pc:spChg>
        <pc:spChg chg="mod">
          <ac:chgData name="Olha Perminova (UA)" userId="3a6a8ff4-9418-475a-a23d-87d0c5689c66" providerId="ADAL" clId="{9A235F19-1981-498E-BA97-5613F340D513}" dt="2024-06-10T13:21:44.060" v="46" actId="1076"/>
          <ac:spMkLst>
            <pc:docMk/>
            <pc:sldMk cId="2987133819" sldId="2147481961"/>
            <ac:spMk id="61" creationId="{9BADE996-6B0E-D4E1-5041-CC505899D892}"/>
          </ac:spMkLst>
        </pc:spChg>
        <pc:spChg chg="mod">
          <ac:chgData name="Olha Perminova (UA)" userId="3a6a8ff4-9418-475a-a23d-87d0c5689c66" providerId="ADAL" clId="{9A235F19-1981-498E-BA97-5613F340D513}" dt="2024-06-10T13:21:42.213" v="40" actId="1076"/>
          <ac:spMkLst>
            <pc:docMk/>
            <pc:sldMk cId="2987133819" sldId="2147481961"/>
            <ac:spMk id="70" creationId="{3F316D1B-3703-9EE0-5513-9FC627F0D3C4}"/>
          </ac:spMkLst>
        </pc:spChg>
        <pc:grpChg chg="mod">
          <ac:chgData name="Olha Perminova (UA)" userId="3a6a8ff4-9418-475a-a23d-87d0c5689c66" providerId="ADAL" clId="{9A235F19-1981-498E-BA97-5613F340D513}" dt="2024-06-10T13:21:42.561" v="42" actId="1076"/>
          <ac:grpSpMkLst>
            <pc:docMk/>
            <pc:sldMk cId="2987133819" sldId="2147481961"/>
            <ac:grpSpMk id="64" creationId="{61A85F62-FF91-BD23-93B9-59A5FDE686AE}"/>
          </ac:grpSpMkLst>
        </pc:grpChg>
      </pc:sldChg>
      <pc:sldChg chg="del mod modShow">
        <pc:chgData name="Olha Perminova (UA)" userId="3a6a8ff4-9418-475a-a23d-87d0c5689c66" providerId="ADAL" clId="{9A235F19-1981-498E-BA97-5613F340D513}" dt="2024-06-10T14:52:33.382" v="1194" actId="2696"/>
        <pc:sldMkLst>
          <pc:docMk/>
          <pc:sldMk cId="2374614574" sldId="2147481964"/>
        </pc:sldMkLst>
      </pc:sldChg>
      <pc:sldChg chg="del">
        <pc:chgData name="Olha Perminova (UA)" userId="3a6a8ff4-9418-475a-a23d-87d0c5689c66" providerId="ADAL" clId="{9A235F19-1981-498E-BA97-5613F340D513}" dt="2024-06-10T14:10:02.832" v="540" actId="2696"/>
        <pc:sldMkLst>
          <pc:docMk/>
          <pc:sldMk cId="2752004613" sldId="2147481965"/>
        </pc:sldMkLst>
      </pc:sldChg>
      <pc:sldChg chg="addSp delSp modSp add mod">
        <pc:chgData name="Olha Perminova (UA)" userId="3a6a8ff4-9418-475a-a23d-87d0c5689c66" providerId="ADAL" clId="{9A235F19-1981-498E-BA97-5613F340D513}" dt="2024-06-10T14:55:25.900" v="1245"/>
        <pc:sldMkLst>
          <pc:docMk/>
          <pc:sldMk cId="3061079320" sldId="2147481966"/>
        </pc:sldMkLst>
        <pc:spChg chg="mod">
          <ac:chgData name="Olha Perminova (UA)" userId="3a6a8ff4-9418-475a-a23d-87d0c5689c66" providerId="ADAL" clId="{9A235F19-1981-498E-BA97-5613F340D513}" dt="2024-06-10T13:52:55.328" v="152" actId="948"/>
          <ac:spMkLst>
            <pc:docMk/>
            <pc:sldMk cId="3061079320" sldId="2147481966"/>
            <ac:spMk id="2" creationId="{A25D6607-36FE-CCD1-92AE-34D0595FAF6F}"/>
          </ac:spMkLst>
        </pc:spChg>
        <pc:spChg chg="mod">
          <ac:chgData name="Olha Perminova (UA)" userId="3a6a8ff4-9418-475a-a23d-87d0c5689c66" providerId="ADAL" clId="{9A235F19-1981-498E-BA97-5613F340D513}" dt="2024-06-10T13:52:54.798" v="151" actId="552"/>
          <ac:spMkLst>
            <pc:docMk/>
            <pc:sldMk cId="3061079320" sldId="2147481966"/>
            <ac:spMk id="15" creationId="{646673C4-B9B9-74BB-E212-CD6427C9067F}"/>
          </ac:spMkLst>
        </pc:spChg>
        <pc:spChg chg="add del mod modVis">
          <ac:chgData name="Olha Perminova (UA)" userId="3a6a8ff4-9418-475a-a23d-87d0c5689c66" providerId="ADAL" clId="{9A235F19-1981-498E-BA97-5613F340D513}" dt="2024-06-10T13:52:55.479" v="175"/>
          <ac:spMkLst>
            <pc:docMk/>
            <pc:sldMk cId="3061079320" sldId="2147481966"/>
            <ac:spMk id="20" creationId="{931563C5-9369-780D-64B2-B7583AB942B8}"/>
          </ac:spMkLst>
        </pc:spChg>
        <pc:spChg chg="add mod">
          <ac:chgData name="Olha Perminova (UA)" userId="3a6a8ff4-9418-475a-a23d-87d0c5689c66" providerId="ADAL" clId="{9A235F19-1981-498E-BA97-5613F340D513}" dt="2024-06-10T14:55:25.900" v="1245"/>
          <ac:spMkLst>
            <pc:docMk/>
            <pc:sldMk cId="3061079320" sldId="2147481966"/>
            <ac:spMk id="22" creationId="{55FD3447-15FB-514A-421F-725EDAEB25EB}"/>
          </ac:spMkLst>
        </pc:spChg>
        <pc:spChg chg="mod">
          <ac:chgData name="Olha Perminova (UA)" userId="3a6a8ff4-9418-475a-a23d-87d0c5689c66" providerId="ADAL" clId="{9A235F19-1981-498E-BA97-5613F340D513}" dt="2024-06-10T13:22:08.674" v="61" actId="1076"/>
          <ac:spMkLst>
            <pc:docMk/>
            <pc:sldMk cId="3061079320" sldId="2147481966"/>
            <ac:spMk id="53" creationId="{6E6AD103-92DC-77F5-2DD7-C9640CA704CA}"/>
          </ac:spMkLst>
        </pc:spChg>
        <pc:spChg chg="mod">
          <ac:chgData name="Olha Perminova (UA)" userId="3a6a8ff4-9418-475a-a23d-87d0c5689c66" providerId="ADAL" clId="{9A235F19-1981-498E-BA97-5613F340D513}" dt="2024-06-10T13:22:10.831" v="62" actId="1076"/>
          <ac:spMkLst>
            <pc:docMk/>
            <pc:sldMk cId="3061079320" sldId="2147481966"/>
            <ac:spMk id="59" creationId="{CE37DEFD-F7E1-1D17-896D-4B833690D0B7}"/>
          </ac:spMkLst>
        </pc:spChg>
        <pc:spChg chg="mod">
          <ac:chgData name="Olha Perminova (UA)" userId="3a6a8ff4-9418-475a-a23d-87d0c5689c66" providerId="ADAL" clId="{9A235F19-1981-498E-BA97-5613F340D513}" dt="2024-06-10T13:22:14.382" v="63" actId="1076"/>
          <ac:spMkLst>
            <pc:docMk/>
            <pc:sldMk cId="3061079320" sldId="2147481966"/>
            <ac:spMk id="60" creationId="{F3A9469B-C6D4-CEE4-8E04-A57D05ED614E}"/>
          </ac:spMkLst>
        </pc:spChg>
        <pc:spChg chg="mod">
          <ac:chgData name="Olha Perminova (UA)" userId="3a6a8ff4-9418-475a-a23d-87d0c5689c66" providerId="ADAL" clId="{9A235F19-1981-498E-BA97-5613F340D513}" dt="2024-06-10T14:00:01.715" v="233" actId="1035"/>
          <ac:spMkLst>
            <pc:docMk/>
            <pc:sldMk cId="3061079320" sldId="2147481966"/>
            <ac:spMk id="61" creationId="{9BADE996-6B0E-D4E1-5041-CC505899D892}"/>
          </ac:spMkLst>
        </pc:spChg>
        <pc:spChg chg="mod">
          <ac:chgData name="Olha Perminova (UA)" userId="3a6a8ff4-9418-475a-a23d-87d0c5689c66" providerId="ADAL" clId="{9A235F19-1981-498E-BA97-5613F340D513}" dt="2024-06-10T13:22:25.343" v="66" actId="1076"/>
          <ac:spMkLst>
            <pc:docMk/>
            <pc:sldMk cId="3061079320" sldId="2147481966"/>
            <ac:spMk id="70" creationId="{3F316D1B-3703-9EE0-5513-9FC627F0D3C4}"/>
          </ac:spMkLst>
        </pc:spChg>
        <pc:grpChg chg="mod">
          <ac:chgData name="Olha Perminova (UA)" userId="3a6a8ff4-9418-475a-a23d-87d0c5689c66" providerId="ADAL" clId="{9A235F19-1981-498E-BA97-5613F340D513}" dt="2024-06-10T13:22:22.315" v="65" actId="1076"/>
          <ac:grpSpMkLst>
            <pc:docMk/>
            <pc:sldMk cId="3061079320" sldId="2147481966"/>
            <ac:grpSpMk id="64" creationId="{61A85F62-FF91-BD23-93B9-59A5FDE686AE}"/>
          </ac:grpSpMkLst>
        </pc:grpChg>
        <pc:graphicFrameChg chg="add mod ord modVis replST">
          <ac:chgData name="Olha Perminova (UA)" userId="3a6a8ff4-9418-475a-a23d-87d0c5689c66" providerId="ADAL" clId="{9A235F19-1981-498E-BA97-5613F340D513}" dt="2024-06-10T13:52:55.533" v="190"/>
          <ac:graphicFrameMkLst>
            <pc:docMk/>
            <pc:sldMk cId="3061079320" sldId="2147481966"/>
            <ac:graphicFrameMk id="21" creationId="{C965B053-827E-47AA-AA76-4F52A75CD6C7}"/>
          </ac:graphicFrameMkLst>
        </pc:graphicFrameChg>
      </pc:sldChg>
      <pc:sldChg chg="addSp delSp modSp add del mod ord">
        <pc:chgData name="Olha Perminova (UA)" userId="3a6a8ff4-9418-475a-a23d-87d0c5689c66" providerId="ADAL" clId="{9A235F19-1981-498E-BA97-5613F340D513}" dt="2024-06-10T14:49:36.761" v="1155" actId="2696"/>
        <pc:sldMkLst>
          <pc:docMk/>
          <pc:sldMk cId="932615064" sldId="2147481967"/>
        </pc:sldMkLst>
        <pc:spChg chg="mod">
          <ac:chgData name="Olha Perminova (UA)" userId="3a6a8ff4-9418-475a-a23d-87d0c5689c66" providerId="ADAL" clId="{9A235F19-1981-498E-BA97-5613F340D513}" dt="2024-06-10T13:32:11.400" v="119" actId="948"/>
          <ac:spMkLst>
            <pc:docMk/>
            <pc:sldMk cId="932615064" sldId="2147481967"/>
            <ac:spMk id="2" creationId="{1299C1A8-38BE-9556-5CBE-67D0E693F9D9}"/>
          </ac:spMkLst>
        </pc:spChg>
        <pc:spChg chg="add mod">
          <ac:chgData name="Olha Perminova (UA)" userId="3a6a8ff4-9418-475a-a23d-87d0c5689c66" providerId="ADAL" clId="{9A235F19-1981-498E-BA97-5613F340D513}" dt="2024-06-10T13:29:54.154" v="104" actId="1037"/>
          <ac:spMkLst>
            <pc:docMk/>
            <pc:sldMk cId="932615064" sldId="2147481967"/>
            <ac:spMk id="4" creationId="{0DD3275C-3415-859C-1E5A-45513935F085}"/>
          </ac:spMkLst>
        </pc:spChg>
        <pc:spChg chg="del">
          <ac:chgData name="Olha Perminova (UA)" userId="3a6a8ff4-9418-475a-a23d-87d0c5689c66" providerId="ADAL" clId="{9A235F19-1981-498E-BA97-5613F340D513}" dt="2024-06-10T13:31:38.724" v="111" actId="478"/>
          <ac:spMkLst>
            <pc:docMk/>
            <pc:sldMk cId="932615064" sldId="2147481967"/>
            <ac:spMk id="5" creationId="{EB70CDAA-B400-12D0-4931-7878309E90AD}"/>
          </ac:spMkLst>
        </pc:spChg>
        <pc:spChg chg="del">
          <ac:chgData name="Olha Perminova (UA)" userId="3a6a8ff4-9418-475a-a23d-87d0c5689c66" providerId="ADAL" clId="{9A235F19-1981-498E-BA97-5613F340D513}" dt="2024-06-10T13:31:38.724" v="111" actId="478"/>
          <ac:spMkLst>
            <pc:docMk/>
            <pc:sldMk cId="932615064" sldId="2147481967"/>
            <ac:spMk id="6" creationId="{976F9164-18B5-7B30-6C9E-4C5AC2AFB251}"/>
          </ac:spMkLst>
        </pc:spChg>
        <pc:spChg chg="del">
          <ac:chgData name="Olha Perminova (UA)" userId="3a6a8ff4-9418-475a-a23d-87d0c5689c66" providerId="ADAL" clId="{9A235F19-1981-498E-BA97-5613F340D513}" dt="2024-06-10T13:31:38.724" v="111" actId="478"/>
          <ac:spMkLst>
            <pc:docMk/>
            <pc:sldMk cId="932615064" sldId="2147481967"/>
            <ac:spMk id="7" creationId="{95F2504B-3C54-3ABF-D5FC-BF2DA17554A4}"/>
          </ac:spMkLst>
        </pc:spChg>
        <pc:spChg chg="del">
          <ac:chgData name="Olha Perminova (UA)" userId="3a6a8ff4-9418-475a-a23d-87d0c5689c66" providerId="ADAL" clId="{9A235F19-1981-498E-BA97-5613F340D513}" dt="2024-06-10T13:31:38.724" v="111" actId="478"/>
          <ac:spMkLst>
            <pc:docMk/>
            <pc:sldMk cId="932615064" sldId="2147481967"/>
            <ac:spMk id="8" creationId="{7783C402-0517-A40D-5AD3-C7B8CD89F746}"/>
          </ac:spMkLst>
        </pc:spChg>
        <pc:spChg chg="del mod">
          <ac:chgData name="Olha Perminova (UA)" userId="3a6a8ff4-9418-475a-a23d-87d0c5689c66" providerId="ADAL" clId="{9A235F19-1981-498E-BA97-5613F340D513}" dt="2024-06-10T13:31:38.724" v="111" actId="478"/>
          <ac:spMkLst>
            <pc:docMk/>
            <pc:sldMk cId="932615064" sldId="2147481967"/>
            <ac:spMk id="9" creationId="{E60771D5-36B1-5846-E0FD-EE10BA67E143}"/>
          </ac:spMkLst>
        </pc:spChg>
        <pc:spChg chg="del mod">
          <ac:chgData name="Olha Perminova (UA)" userId="3a6a8ff4-9418-475a-a23d-87d0c5689c66" providerId="ADAL" clId="{9A235F19-1981-498E-BA97-5613F340D513}" dt="2024-06-10T13:31:38.724" v="111" actId="478"/>
          <ac:spMkLst>
            <pc:docMk/>
            <pc:sldMk cId="932615064" sldId="2147481967"/>
            <ac:spMk id="10" creationId="{0E3AF958-70C4-357F-D986-53A75E5CF63B}"/>
          </ac:spMkLst>
        </pc:spChg>
        <pc:spChg chg="del">
          <ac:chgData name="Olha Perminova (UA)" userId="3a6a8ff4-9418-475a-a23d-87d0c5689c66" providerId="ADAL" clId="{9A235F19-1981-498E-BA97-5613F340D513}" dt="2024-06-10T13:31:38.724" v="111" actId="478"/>
          <ac:spMkLst>
            <pc:docMk/>
            <pc:sldMk cId="932615064" sldId="2147481967"/>
            <ac:spMk id="11" creationId="{70513DFC-D897-87EB-EF6A-D4829E31C2D1}"/>
          </ac:spMkLst>
        </pc:spChg>
        <pc:spChg chg="del mod">
          <ac:chgData name="Olha Perminova (UA)" userId="3a6a8ff4-9418-475a-a23d-87d0c5689c66" providerId="ADAL" clId="{9A235F19-1981-498E-BA97-5613F340D513}" dt="2024-06-10T13:31:38.724" v="111" actId="478"/>
          <ac:spMkLst>
            <pc:docMk/>
            <pc:sldMk cId="932615064" sldId="2147481967"/>
            <ac:spMk id="12" creationId="{9FE544F4-5FE9-EB4A-60A5-5DB0C11FA6FA}"/>
          </ac:spMkLst>
        </pc:spChg>
        <pc:spChg chg="del">
          <ac:chgData name="Olha Perminova (UA)" userId="3a6a8ff4-9418-475a-a23d-87d0c5689c66" providerId="ADAL" clId="{9A235F19-1981-498E-BA97-5613F340D513}" dt="2024-06-10T13:31:38.724" v="111" actId="478"/>
          <ac:spMkLst>
            <pc:docMk/>
            <pc:sldMk cId="932615064" sldId="2147481967"/>
            <ac:spMk id="13" creationId="{A6BE1D1D-3F01-1DF1-B44F-6D56DDF9CE64}"/>
          </ac:spMkLst>
        </pc:spChg>
        <pc:spChg chg="mod">
          <ac:chgData name="Olha Perminova (UA)" userId="3a6a8ff4-9418-475a-a23d-87d0c5689c66" providerId="ADAL" clId="{9A235F19-1981-498E-BA97-5613F340D513}" dt="2024-06-10T13:28:27.551" v="70"/>
          <ac:spMkLst>
            <pc:docMk/>
            <pc:sldMk cId="932615064" sldId="2147481967"/>
            <ac:spMk id="16" creationId="{6A65E6EA-26B8-1301-6E15-05F2414906C9}"/>
          </ac:spMkLst>
        </pc:spChg>
        <pc:spChg chg="mod">
          <ac:chgData name="Olha Perminova (UA)" userId="3a6a8ff4-9418-475a-a23d-87d0c5689c66" providerId="ADAL" clId="{9A235F19-1981-498E-BA97-5613F340D513}" dt="2024-06-10T13:28:27.551" v="70"/>
          <ac:spMkLst>
            <pc:docMk/>
            <pc:sldMk cId="932615064" sldId="2147481967"/>
            <ac:spMk id="20" creationId="{D39D21DD-1813-568A-988E-6828EA1B7A0E}"/>
          </ac:spMkLst>
        </pc:spChg>
        <pc:spChg chg="del mod">
          <ac:chgData name="Olha Perminova (UA)" userId="3a6a8ff4-9418-475a-a23d-87d0c5689c66" providerId="ADAL" clId="{9A235F19-1981-498E-BA97-5613F340D513}" dt="2024-06-10T13:31:42.324" v="113" actId="478"/>
          <ac:spMkLst>
            <pc:docMk/>
            <pc:sldMk cId="932615064" sldId="2147481967"/>
            <ac:spMk id="21" creationId="{1118417F-5F3E-C322-3338-E4C7A4CDB1CE}"/>
          </ac:spMkLst>
        </pc:spChg>
        <pc:spChg chg="add mod">
          <ac:chgData name="Olha Perminova (UA)" userId="3a6a8ff4-9418-475a-a23d-87d0c5689c66" providerId="ADAL" clId="{9A235F19-1981-498E-BA97-5613F340D513}" dt="2024-06-10T13:30:08.139" v="107" actId="1076"/>
          <ac:spMkLst>
            <pc:docMk/>
            <pc:sldMk cId="932615064" sldId="2147481967"/>
            <ac:spMk id="26" creationId="{71FC0C8D-6B0A-F187-9166-5AC87A0D8C6A}"/>
          </ac:spMkLst>
        </pc:spChg>
        <pc:spChg chg="add mod">
          <ac:chgData name="Olha Perminova (UA)" userId="3a6a8ff4-9418-475a-a23d-87d0c5689c66" providerId="ADAL" clId="{9A235F19-1981-498E-BA97-5613F340D513}" dt="2024-06-10T13:31:50.559" v="116" actId="552"/>
          <ac:spMkLst>
            <pc:docMk/>
            <pc:sldMk cId="932615064" sldId="2147481967"/>
            <ac:spMk id="27" creationId="{EA199BE5-7CF5-2A84-DDC5-340D9B64E222}"/>
          </ac:spMkLst>
        </pc:spChg>
        <pc:spChg chg="add mod">
          <ac:chgData name="Olha Perminova (UA)" userId="3a6a8ff4-9418-475a-a23d-87d0c5689c66" providerId="ADAL" clId="{9A235F19-1981-498E-BA97-5613F340D513}" dt="2024-06-10T13:31:53.418" v="117" actId="14100"/>
          <ac:spMkLst>
            <pc:docMk/>
            <pc:sldMk cId="932615064" sldId="2147481967"/>
            <ac:spMk id="28" creationId="{95B7D98C-125A-14C9-C260-8CB88867ABCD}"/>
          </ac:spMkLst>
        </pc:spChg>
        <pc:spChg chg="add mod">
          <ac:chgData name="Olha Perminova (UA)" userId="3a6a8ff4-9418-475a-a23d-87d0c5689c66" providerId="ADAL" clId="{9A235F19-1981-498E-BA97-5613F340D513}" dt="2024-06-10T13:31:39.308" v="112"/>
          <ac:spMkLst>
            <pc:docMk/>
            <pc:sldMk cId="932615064" sldId="2147481967"/>
            <ac:spMk id="29" creationId="{6AA3F061-9BB2-E5D0-E972-B3375C96DA85}"/>
          </ac:spMkLst>
        </pc:spChg>
        <pc:spChg chg="add mod">
          <ac:chgData name="Olha Perminova (UA)" userId="3a6a8ff4-9418-475a-a23d-87d0c5689c66" providerId="ADAL" clId="{9A235F19-1981-498E-BA97-5613F340D513}" dt="2024-06-10T13:31:39.308" v="112"/>
          <ac:spMkLst>
            <pc:docMk/>
            <pc:sldMk cId="932615064" sldId="2147481967"/>
            <ac:spMk id="30" creationId="{1634AB88-39BC-65D1-ED7D-706D5155546D}"/>
          </ac:spMkLst>
        </pc:spChg>
        <pc:spChg chg="add mod">
          <ac:chgData name="Olha Perminova (UA)" userId="3a6a8ff4-9418-475a-a23d-87d0c5689c66" providerId="ADAL" clId="{9A235F19-1981-498E-BA97-5613F340D513}" dt="2024-06-10T13:31:39.308" v="112"/>
          <ac:spMkLst>
            <pc:docMk/>
            <pc:sldMk cId="932615064" sldId="2147481967"/>
            <ac:spMk id="31" creationId="{5C18D48B-A503-224D-9A01-EBAA6B21F652}"/>
          </ac:spMkLst>
        </pc:spChg>
        <pc:spChg chg="add mod">
          <ac:chgData name="Olha Perminova (UA)" userId="3a6a8ff4-9418-475a-a23d-87d0c5689c66" providerId="ADAL" clId="{9A235F19-1981-498E-BA97-5613F340D513}" dt="2024-06-10T13:31:39.308" v="112"/>
          <ac:spMkLst>
            <pc:docMk/>
            <pc:sldMk cId="932615064" sldId="2147481967"/>
            <ac:spMk id="32" creationId="{78864CAA-0D46-CE29-E493-FF4B2BD222AF}"/>
          </ac:spMkLst>
        </pc:spChg>
        <pc:spChg chg="add mod">
          <ac:chgData name="Olha Perminova (UA)" userId="3a6a8ff4-9418-475a-a23d-87d0c5689c66" providerId="ADAL" clId="{9A235F19-1981-498E-BA97-5613F340D513}" dt="2024-06-10T13:31:39.308" v="112"/>
          <ac:spMkLst>
            <pc:docMk/>
            <pc:sldMk cId="932615064" sldId="2147481967"/>
            <ac:spMk id="33" creationId="{8B4B975B-16C0-F028-1203-5272F53F863A}"/>
          </ac:spMkLst>
        </pc:spChg>
        <pc:spChg chg="add mod">
          <ac:chgData name="Olha Perminova (UA)" userId="3a6a8ff4-9418-475a-a23d-87d0c5689c66" providerId="ADAL" clId="{9A235F19-1981-498E-BA97-5613F340D513}" dt="2024-06-10T13:31:50.559" v="116" actId="552"/>
          <ac:spMkLst>
            <pc:docMk/>
            <pc:sldMk cId="932615064" sldId="2147481967"/>
            <ac:spMk id="34" creationId="{C1DFD74B-4B29-F62C-B5A7-FDE298E3581B}"/>
          </ac:spMkLst>
        </pc:spChg>
        <pc:spChg chg="add del mod modVis">
          <ac:chgData name="Olha Perminova (UA)" userId="3a6a8ff4-9418-475a-a23d-87d0c5689c66" providerId="ADAL" clId="{9A235F19-1981-498E-BA97-5613F340D513}" dt="2024-06-10T13:32:11.447" v="142"/>
          <ac:spMkLst>
            <pc:docMk/>
            <pc:sldMk cId="932615064" sldId="2147481967"/>
            <ac:spMk id="35" creationId="{D26DEBBC-D856-D934-53BD-82AA71CDF7F7}"/>
          </ac:spMkLst>
        </pc:spChg>
        <pc:spChg chg="mod">
          <ac:chgData name="Olha Perminova (UA)" userId="3a6a8ff4-9418-475a-a23d-87d0c5689c66" providerId="ADAL" clId="{9A235F19-1981-498E-BA97-5613F340D513}" dt="2024-06-10T13:32:45.558" v="148" actId="12789"/>
          <ac:spMkLst>
            <pc:docMk/>
            <pc:sldMk cId="932615064" sldId="2147481967"/>
            <ac:spMk id="37" creationId="{52DDD974-0CAB-4E99-54F4-4AC7789B41E8}"/>
          </ac:spMkLst>
        </pc:spChg>
        <pc:spChg chg="mod">
          <ac:chgData name="Olha Perminova (UA)" userId="3a6a8ff4-9418-475a-a23d-87d0c5689c66" providerId="ADAL" clId="{9A235F19-1981-498E-BA97-5613F340D513}" dt="2024-06-10T13:32:45.558" v="148" actId="12789"/>
          <ac:spMkLst>
            <pc:docMk/>
            <pc:sldMk cId="932615064" sldId="2147481967"/>
            <ac:spMk id="38" creationId="{F9D46BA4-243C-066E-F112-E8206DBAF125}"/>
          </ac:spMkLst>
        </pc:spChg>
        <pc:spChg chg="mod">
          <ac:chgData name="Olha Perminova (UA)" userId="3a6a8ff4-9418-475a-a23d-87d0c5689c66" providerId="ADAL" clId="{9A235F19-1981-498E-BA97-5613F340D513}" dt="2024-06-10T13:29:47.324" v="80" actId="14100"/>
          <ac:spMkLst>
            <pc:docMk/>
            <pc:sldMk cId="932615064" sldId="2147481967"/>
            <ac:spMk id="99" creationId="{BC1ADCAE-2AA7-CAFD-AD2B-D57737AB195D}"/>
          </ac:spMkLst>
        </pc:spChg>
        <pc:spChg chg="mod">
          <ac:chgData name="Olha Perminova (UA)" userId="3a6a8ff4-9418-475a-a23d-87d0c5689c66" providerId="ADAL" clId="{9A235F19-1981-498E-BA97-5613F340D513}" dt="2024-06-10T13:29:47.324" v="80" actId="14100"/>
          <ac:spMkLst>
            <pc:docMk/>
            <pc:sldMk cId="932615064" sldId="2147481967"/>
            <ac:spMk id="103" creationId="{B8A2F7DC-E116-1BBE-5A6B-64C7E680F1BD}"/>
          </ac:spMkLst>
        </pc:spChg>
        <pc:spChg chg="mod">
          <ac:chgData name="Olha Perminova (UA)" userId="3a6a8ff4-9418-475a-a23d-87d0c5689c66" providerId="ADAL" clId="{9A235F19-1981-498E-BA97-5613F340D513}" dt="2024-06-10T13:29:54.154" v="104" actId="1037"/>
          <ac:spMkLst>
            <pc:docMk/>
            <pc:sldMk cId="932615064" sldId="2147481967"/>
            <ac:spMk id="107" creationId="{EEF73D00-2BC0-1F09-AB22-997BF5B5AEDC}"/>
          </ac:spMkLst>
        </pc:spChg>
        <pc:spChg chg="mod">
          <ac:chgData name="Olha Perminova (UA)" userId="3a6a8ff4-9418-475a-a23d-87d0c5689c66" providerId="ADAL" clId="{9A235F19-1981-498E-BA97-5613F340D513}" dt="2024-06-10T13:29:47.324" v="80" actId="14100"/>
          <ac:spMkLst>
            <pc:docMk/>
            <pc:sldMk cId="932615064" sldId="2147481967"/>
            <ac:spMk id="111" creationId="{2BE907A4-1571-B9F0-D513-57AB05B745BE}"/>
          </ac:spMkLst>
        </pc:spChg>
        <pc:spChg chg="mod">
          <ac:chgData name="Olha Perminova (UA)" userId="3a6a8ff4-9418-475a-a23d-87d0c5689c66" providerId="ADAL" clId="{9A235F19-1981-498E-BA97-5613F340D513}" dt="2024-06-10T13:29:47.324" v="80" actId="14100"/>
          <ac:spMkLst>
            <pc:docMk/>
            <pc:sldMk cId="932615064" sldId="2147481967"/>
            <ac:spMk id="115" creationId="{54FE79A9-8473-DE77-44E6-2C986EF74B03}"/>
          </ac:spMkLst>
        </pc:spChg>
        <pc:spChg chg="mod">
          <ac:chgData name="Olha Perminova (UA)" userId="3a6a8ff4-9418-475a-a23d-87d0c5689c66" providerId="ADAL" clId="{9A235F19-1981-498E-BA97-5613F340D513}" dt="2024-06-10T13:29:54.154" v="104" actId="1037"/>
          <ac:spMkLst>
            <pc:docMk/>
            <pc:sldMk cId="932615064" sldId="2147481967"/>
            <ac:spMk id="119" creationId="{25857B8E-3D4F-1175-6C7E-C82281D0DFB2}"/>
          </ac:spMkLst>
        </pc:spChg>
        <pc:spChg chg="mod">
          <ac:chgData name="Olha Perminova (UA)" userId="3a6a8ff4-9418-475a-a23d-87d0c5689c66" providerId="ADAL" clId="{9A235F19-1981-498E-BA97-5613F340D513}" dt="2024-06-10T13:29:54.154" v="104" actId="1037"/>
          <ac:spMkLst>
            <pc:docMk/>
            <pc:sldMk cId="932615064" sldId="2147481967"/>
            <ac:spMk id="123" creationId="{E540FF3B-2049-3D2C-DC6C-0CAFC95DAB95}"/>
          </ac:spMkLst>
        </pc:spChg>
        <pc:spChg chg="mod">
          <ac:chgData name="Olha Perminova (UA)" userId="3a6a8ff4-9418-475a-a23d-87d0c5689c66" providerId="ADAL" clId="{9A235F19-1981-498E-BA97-5613F340D513}" dt="2024-06-10T13:32:24.075" v="145" actId="1076"/>
          <ac:spMkLst>
            <pc:docMk/>
            <pc:sldMk cId="932615064" sldId="2147481967"/>
            <ac:spMk id="127" creationId="{FFE4CFE7-10FB-E0F9-AE54-A456443B207D}"/>
          </ac:spMkLst>
        </pc:spChg>
        <pc:spChg chg="mod">
          <ac:chgData name="Olha Perminova (UA)" userId="3a6a8ff4-9418-475a-a23d-87d0c5689c66" providerId="ADAL" clId="{9A235F19-1981-498E-BA97-5613F340D513}" dt="2024-06-10T13:32:24.075" v="145" actId="1076"/>
          <ac:spMkLst>
            <pc:docMk/>
            <pc:sldMk cId="932615064" sldId="2147481967"/>
            <ac:spMk id="131" creationId="{6764AC4B-FEF3-2CCD-15D3-7FDF812B793E}"/>
          </ac:spMkLst>
        </pc:spChg>
        <pc:grpChg chg="add mod">
          <ac:chgData name="Olha Perminova (UA)" userId="3a6a8ff4-9418-475a-a23d-87d0c5689c66" providerId="ADAL" clId="{9A235F19-1981-498E-BA97-5613F340D513}" dt="2024-06-10T13:29:54.154" v="104" actId="1037"/>
          <ac:grpSpMkLst>
            <pc:docMk/>
            <pc:sldMk cId="932615064" sldId="2147481967"/>
            <ac:grpSpMk id="14" creationId="{0F0EAB4D-1F88-EA1D-E866-D7DABCF10578}"/>
          </ac:grpSpMkLst>
        </pc:grpChg>
        <pc:grpChg chg="add mod">
          <ac:chgData name="Olha Perminova (UA)" userId="3a6a8ff4-9418-475a-a23d-87d0c5689c66" providerId="ADAL" clId="{9A235F19-1981-498E-BA97-5613F340D513}" dt="2024-06-10T13:32:51.615" v="150" actId="1076"/>
          <ac:grpSpMkLst>
            <pc:docMk/>
            <pc:sldMk cId="932615064" sldId="2147481967"/>
            <ac:grpSpMk id="36" creationId="{A1F95968-53D8-1D3B-3E49-894DD768A9FB}"/>
          </ac:grpSpMkLst>
        </pc:grpChg>
        <pc:grpChg chg="mod">
          <ac:chgData name="Olha Perminova (UA)" userId="3a6a8ff4-9418-475a-a23d-87d0c5689c66" providerId="ADAL" clId="{9A235F19-1981-498E-BA97-5613F340D513}" dt="2024-06-10T13:29:54.154" v="104" actId="1037"/>
          <ac:grpSpMkLst>
            <pc:docMk/>
            <pc:sldMk cId="932615064" sldId="2147481967"/>
            <ac:grpSpMk id="108" creationId="{4430977A-5A50-1280-3EB5-8B3D7FC73198}"/>
          </ac:grpSpMkLst>
        </pc:grpChg>
        <pc:grpChg chg="mod">
          <ac:chgData name="Olha Perminova (UA)" userId="3a6a8ff4-9418-475a-a23d-87d0c5689c66" providerId="ADAL" clId="{9A235F19-1981-498E-BA97-5613F340D513}" dt="2024-06-10T13:29:54.154" v="104" actId="1037"/>
          <ac:grpSpMkLst>
            <pc:docMk/>
            <pc:sldMk cId="932615064" sldId="2147481967"/>
            <ac:grpSpMk id="120" creationId="{81FC2C56-8C1D-B131-4936-E9C0A6D051B9}"/>
          </ac:grpSpMkLst>
        </pc:grpChg>
        <pc:grpChg chg="mod">
          <ac:chgData name="Olha Perminova (UA)" userId="3a6a8ff4-9418-475a-a23d-87d0c5689c66" providerId="ADAL" clId="{9A235F19-1981-498E-BA97-5613F340D513}" dt="2024-06-10T13:29:54.154" v="104" actId="1037"/>
          <ac:grpSpMkLst>
            <pc:docMk/>
            <pc:sldMk cId="932615064" sldId="2147481967"/>
            <ac:grpSpMk id="124" creationId="{4EC32981-ABC8-660E-430A-740152E47333}"/>
          </ac:grpSpMkLst>
        </pc:grpChg>
        <pc:grpChg chg="mod">
          <ac:chgData name="Olha Perminova (UA)" userId="3a6a8ff4-9418-475a-a23d-87d0c5689c66" providerId="ADAL" clId="{9A235F19-1981-498E-BA97-5613F340D513}" dt="2024-06-10T13:32:24.075" v="145" actId="1076"/>
          <ac:grpSpMkLst>
            <pc:docMk/>
            <pc:sldMk cId="932615064" sldId="2147481967"/>
            <ac:grpSpMk id="128" creationId="{D9A5D3FD-8794-50EB-12C4-B95355AE4257}"/>
          </ac:grpSpMkLst>
        </pc:grpChg>
        <pc:grpChg chg="mod">
          <ac:chgData name="Olha Perminova (UA)" userId="3a6a8ff4-9418-475a-a23d-87d0c5689c66" providerId="ADAL" clId="{9A235F19-1981-498E-BA97-5613F340D513}" dt="2024-06-10T13:32:24.075" v="145" actId="1076"/>
          <ac:grpSpMkLst>
            <pc:docMk/>
            <pc:sldMk cId="932615064" sldId="2147481967"/>
            <ac:grpSpMk id="132" creationId="{069EA022-CD97-3BDC-29C5-13BD2F12F37E}"/>
          </ac:grpSpMkLst>
        </pc:grpChg>
        <pc:graphicFrameChg chg="mod">
          <ac:chgData name="Olha Perminova (UA)" userId="3a6a8ff4-9418-475a-a23d-87d0c5689c66" providerId="ADAL" clId="{9A235F19-1981-498E-BA97-5613F340D513}" dt="2024-06-10T13:32:11.451" v="144"/>
          <ac:graphicFrameMkLst>
            <pc:docMk/>
            <pc:sldMk cId="932615064" sldId="2147481967"/>
            <ac:graphicFrameMk id="18" creationId="{B17D7669-20A3-7481-8F23-CD69449C9745}"/>
          </ac:graphicFrameMkLst>
        </pc:graphicFrameChg>
      </pc:sldChg>
      <pc:sldChg chg="addSp delSp modSp add mod">
        <pc:chgData name="Olha Perminova (UA)" userId="3a6a8ff4-9418-475a-a23d-87d0c5689c66" providerId="ADAL" clId="{9A235F19-1981-498E-BA97-5613F340D513}" dt="2024-06-10T14:55:38.930" v="1249"/>
        <pc:sldMkLst>
          <pc:docMk/>
          <pc:sldMk cId="2820792045" sldId="2147481968"/>
        </pc:sldMkLst>
        <pc:spChg chg="mod">
          <ac:chgData name="Olha Perminova (UA)" userId="3a6a8ff4-9418-475a-a23d-87d0c5689c66" providerId="ADAL" clId="{9A235F19-1981-498E-BA97-5613F340D513}" dt="2024-06-10T14:09:34.978" v="524" actId="948"/>
          <ac:spMkLst>
            <pc:docMk/>
            <pc:sldMk cId="2820792045" sldId="2147481968"/>
            <ac:spMk id="2" creationId="{1299C1A8-38BE-9556-5CBE-67D0E693F9D9}"/>
          </ac:spMkLst>
        </pc:spChg>
        <pc:spChg chg="mod">
          <ac:chgData name="Olha Perminova (UA)" userId="3a6a8ff4-9418-475a-a23d-87d0c5689c66" providerId="ADAL" clId="{9A235F19-1981-498E-BA97-5613F340D513}" dt="2024-06-10T14:52:10.378" v="1188" actId="207"/>
          <ac:spMkLst>
            <pc:docMk/>
            <pc:sldMk cId="2820792045" sldId="2147481968"/>
            <ac:spMk id="9" creationId="{E60771D5-36B1-5846-E0FD-EE10BA67E143}"/>
          </ac:spMkLst>
        </pc:spChg>
        <pc:spChg chg="mod">
          <ac:chgData name="Olha Perminova (UA)" userId="3a6a8ff4-9418-475a-a23d-87d0c5689c66" providerId="ADAL" clId="{9A235F19-1981-498E-BA97-5613F340D513}" dt="2024-06-10T14:05:58.959" v="469" actId="14100"/>
          <ac:spMkLst>
            <pc:docMk/>
            <pc:sldMk cId="2820792045" sldId="2147481968"/>
            <ac:spMk id="10" creationId="{0E3AF958-70C4-357F-D986-53A75E5CF63B}"/>
          </ac:spMkLst>
        </pc:spChg>
        <pc:spChg chg="mod">
          <ac:chgData name="Olha Perminova (UA)" userId="3a6a8ff4-9418-475a-a23d-87d0c5689c66" providerId="ADAL" clId="{9A235F19-1981-498E-BA97-5613F340D513}" dt="2024-06-10T14:52:10.822" v="1189" actId="207"/>
          <ac:spMkLst>
            <pc:docMk/>
            <pc:sldMk cId="2820792045" sldId="2147481968"/>
            <ac:spMk id="12" creationId="{9FE544F4-5FE9-EB4A-60A5-5DB0C11FA6FA}"/>
          </ac:spMkLst>
        </pc:spChg>
        <pc:spChg chg="mod">
          <ac:chgData name="Olha Perminova (UA)" userId="3a6a8ff4-9418-475a-a23d-87d0c5689c66" providerId="ADAL" clId="{9A235F19-1981-498E-BA97-5613F340D513}" dt="2024-06-10T13:54:30.596" v="194"/>
          <ac:spMkLst>
            <pc:docMk/>
            <pc:sldMk cId="2820792045" sldId="2147481968"/>
            <ac:spMk id="14" creationId="{4D6CE07E-2640-CC9C-AD72-D053CE72E211}"/>
          </ac:spMkLst>
        </pc:spChg>
        <pc:spChg chg="mod">
          <ac:chgData name="Olha Perminova (UA)" userId="3a6a8ff4-9418-475a-a23d-87d0c5689c66" providerId="ADAL" clId="{9A235F19-1981-498E-BA97-5613F340D513}" dt="2024-06-10T13:54:30.596" v="194"/>
          <ac:spMkLst>
            <pc:docMk/>
            <pc:sldMk cId="2820792045" sldId="2147481968"/>
            <ac:spMk id="16" creationId="{E8BC1BC8-FF81-7FEF-D331-445C3611676F}"/>
          </ac:spMkLst>
        </pc:spChg>
        <pc:spChg chg="add del mod">
          <ac:chgData name="Olha Perminova (UA)" userId="3a6a8ff4-9418-475a-a23d-87d0c5689c66" providerId="ADAL" clId="{9A235F19-1981-498E-BA97-5613F340D513}" dt="2024-06-10T14:01:46.824" v="352" actId="478"/>
          <ac:spMkLst>
            <pc:docMk/>
            <pc:sldMk cId="2820792045" sldId="2147481968"/>
            <ac:spMk id="20" creationId="{A595EE69-B03F-7419-99BE-1B995DDB57FF}"/>
          </ac:spMkLst>
        </pc:spChg>
        <pc:spChg chg="mod">
          <ac:chgData name="Olha Perminova (UA)" userId="3a6a8ff4-9418-475a-a23d-87d0c5689c66" providerId="ADAL" clId="{9A235F19-1981-498E-BA97-5613F340D513}" dt="2024-06-10T14:03:09.143" v="383" actId="552"/>
          <ac:spMkLst>
            <pc:docMk/>
            <pc:sldMk cId="2820792045" sldId="2147481968"/>
            <ac:spMk id="21" creationId="{1118417F-5F3E-C322-3338-E4C7A4CDB1CE}"/>
          </ac:spMkLst>
        </pc:spChg>
        <pc:spChg chg="mod">
          <ac:chgData name="Olha Perminova (UA)" userId="3a6a8ff4-9418-475a-a23d-87d0c5689c66" providerId="ADAL" clId="{9A235F19-1981-498E-BA97-5613F340D513}" dt="2024-06-10T13:56:08.497" v="204"/>
          <ac:spMkLst>
            <pc:docMk/>
            <pc:sldMk cId="2820792045" sldId="2147481968"/>
            <ac:spMk id="27" creationId="{4B6A5055-7285-17BC-8209-9C82DBEF336C}"/>
          </ac:spMkLst>
        </pc:spChg>
        <pc:spChg chg="mod">
          <ac:chgData name="Olha Perminova (UA)" userId="3a6a8ff4-9418-475a-a23d-87d0c5689c66" providerId="ADAL" clId="{9A235F19-1981-498E-BA97-5613F340D513}" dt="2024-06-10T13:56:08.497" v="204"/>
          <ac:spMkLst>
            <pc:docMk/>
            <pc:sldMk cId="2820792045" sldId="2147481968"/>
            <ac:spMk id="28" creationId="{38B1F400-CE44-E69B-7398-793A82472A92}"/>
          </ac:spMkLst>
        </pc:spChg>
        <pc:spChg chg="add del mod">
          <ac:chgData name="Olha Perminova (UA)" userId="3a6a8ff4-9418-475a-a23d-87d0c5689c66" providerId="ADAL" clId="{9A235F19-1981-498E-BA97-5613F340D513}" dt="2024-06-10T14:01:44.752" v="351" actId="478"/>
          <ac:spMkLst>
            <pc:docMk/>
            <pc:sldMk cId="2820792045" sldId="2147481968"/>
            <ac:spMk id="29" creationId="{13DBB56C-F46F-074A-AA6E-A8065343F7B6}"/>
          </ac:spMkLst>
        </pc:spChg>
        <pc:spChg chg="mod">
          <ac:chgData name="Olha Perminova (UA)" userId="3a6a8ff4-9418-475a-a23d-87d0c5689c66" providerId="ADAL" clId="{9A235F19-1981-498E-BA97-5613F340D513}" dt="2024-06-10T14:02:52.827" v="375" actId="14100"/>
          <ac:spMkLst>
            <pc:docMk/>
            <pc:sldMk cId="2820792045" sldId="2147481968"/>
            <ac:spMk id="31" creationId="{0F8AF3D8-4A36-5BAD-7018-36E6F6AC90A9}"/>
          </ac:spMkLst>
        </pc:spChg>
        <pc:spChg chg="mod">
          <ac:chgData name="Olha Perminova (UA)" userId="3a6a8ff4-9418-475a-a23d-87d0c5689c66" providerId="ADAL" clId="{9A235F19-1981-498E-BA97-5613F340D513}" dt="2024-06-10T14:00:15.778" v="235"/>
          <ac:spMkLst>
            <pc:docMk/>
            <pc:sldMk cId="2820792045" sldId="2147481968"/>
            <ac:spMk id="32" creationId="{1D81532B-2339-E2C1-F336-A5A69EE823D2}"/>
          </ac:spMkLst>
        </pc:spChg>
        <pc:spChg chg="mod">
          <ac:chgData name="Olha Perminova (UA)" userId="3a6a8ff4-9418-475a-a23d-87d0c5689c66" providerId="ADAL" clId="{9A235F19-1981-498E-BA97-5613F340D513}" dt="2024-06-10T14:00:21.657" v="237"/>
          <ac:spMkLst>
            <pc:docMk/>
            <pc:sldMk cId="2820792045" sldId="2147481968"/>
            <ac:spMk id="34" creationId="{967EBE41-C82F-7448-B8EB-174E8B8A6355}"/>
          </ac:spMkLst>
        </pc:spChg>
        <pc:spChg chg="mod">
          <ac:chgData name="Olha Perminova (UA)" userId="3a6a8ff4-9418-475a-a23d-87d0c5689c66" providerId="ADAL" clId="{9A235F19-1981-498E-BA97-5613F340D513}" dt="2024-06-10T14:00:21.657" v="237"/>
          <ac:spMkLst>
            <pc:docMk/>
            <pc:sldMk cId="2820792045" sldId="2147481968"/>
            <ac:spMk id="35" creationId="{37F656F1-25BE-FAD1-DBD5-328EF73B7E3F}"/>
          </ac:spMkLst>
        </pc:spChg>
        <pc:spChg chg="mod">
          <ac:chgData name="Olha Perminova (UA)" userId="3a6a8ff4-9418-475a-a23d-87d0c5689c66" providerId="ADAL" clId="{9A235F19-1981-498E-BA97-5613F340D513}" dt="2024-06-10T14:00:46.164" v="239"/>
          <ac:spMkLst>
            <pc:docMk/>
            <pc:sldMk cId="2820792045" sldId="2147481968"/>
            <ac:spMk id="37" creationId="{777C3779-2288-0621-9BB5-C1043B71E506}"/>
          </ac:spMkLst>
        </pc:spChg>
        <pc:spChg chg="mod">
          <ac:chgData name="Olha Perminova (UA)" userId="3a6a8ff4-9418-475a-a23d-87d0c5689c66" providerId="ADAL" clId="{9A235F19-1981-498E-BA97-5613F340D513}" dt="2024-06-10T14:00:46.164" v="239"/>
          <ac:spMkLst>
            <pc:docMk/>
            <pc:sldMk cId="2820792045" sldId="2147481968"/>
            <ac:spMk id="38" creationId="{171B728B-543C-23CB-F591-476FFDFBF021}"/>
          </ac:spMkLst>
        </pc:spChg>
        <pc:spChg chg="add del mod modVis">
          <ac:chgData name="Olha Perminova (UA)" userId="3a6a8ff4-9418-475a-a23d-87d0c5689c66" providerId="ADAL" clId="{9A235F19-1981-498E-BA97-5613F340D513}" dt="2024-06-10T14:01:12.628" v="303"/>
          <ac:spMkLst>
            <pc:docMk/>
            <pc:sldMk cId="2820792045" sldId="2147481968"/>
            <ac:spMk id="39" creationId="{2A621441-478A-9ACC-D0E6-8E99DC612CAC}"/>
          </ac:spMkLst>
        </pc:spChg>
        <pc:spChg chg="add del mod modVis">
          <ac:chgData name="Olha Perminova (UA)" userId="3a6a8ff4-9418-475a-a23d-87d0c5689c66" providerId="ADAL" clId="{9A235F19-1981-498E-BA97-5613F340D513}" dt="2024-06-10T14:01:16.185" v="341"/>
          <ac:spMkLst>
            <pc:docMk/>
            <pc:sldMk cId="2820792045" sldId="2147481968"/>
            <ac:spMk id="40" creationId="{7D2ED85F-E252-0C2B-17DE-0E78ACFAB675}"/>
          </ac:spMkLst>
        </pc:spChg>
        <pc:spChg chg="add del mod">
          <ac:chgData name="Olha Perminova (UA)" userId="3a6a8ff4-9418-475a-a23d-87d0c5689c66" providerId="ADAL" clId="{9A235F19-1981-498E-BA97-5613F340D513}" dt="2024-06-10T14:09:40.205" v="535" actId="478"/>
          <ac:spMkLst>
            <pc:docMk/>
            <pc:sldMk cId="2820792045" sldId="2147481968"/>
            <ac:spMk id="41" creationId="{59638157-F9FD-CBB6-F34E-3632D270CD62}"/>
          </ac:spMkLst>
        </pc:spChg>
        <pc:spChg chg="add del mod">
          <ac:chgData name="Olha Perminova (UA)" userId="3a6a8ff4-9418-475a-a23d-87d0c5689c66" providerId="ADAL" clId="{9A235F19-1981-498E-BA97-5613F340D513}" dt="2024-06-10T14:06:46.912" v="499" actId="478"/>
          <ac:spMkLst>
            <pc:docMk/>
            <pc:sldMk cId="2820792045" sldId="2147481968"/>
            <ac:spMk id="42" creationId="{27B3DC38-7E68-36A5-A477-9AF8D46DA508}"/>
          </ac:spMkLst>
        </pc:spChg>
        <pc:spChg chg="add del mod">
          <ac:chgData name="Olha Perminova (UA)" userId="3a6a8ff4-9418-475a-a23d-87d0c5689c66" providerId="ADAL" clId="{9A235F19-1981-498E-BA97-5613F340D513}" dt="2024-06-10T14:09:56.857" v="539" actId="478"/>
          <ac:spMkLst>
            <pc:docMk/>
            <pc:sldMk cId="2820792045" sldId="2147481968"/>
            <ac:spMk id="43" creationId="{AA9B6509-4EE2-DC2C-FBA0-4F192E0CFB24}"/>
          </ac:spMkLst>
        </pc:spChg>
        <pc:spChg chg="add del mod">
          <ac:chgData name="Olha Perminova (UA)" userId="3a6a8ff4-9418-475a-a23d-87d0c5689c66" providerId="ADAL" clId="{9A235F19-1981-498E-BA97-5613F340D513}" dt="2024-06-10T14:09:56.857" v="539" actId="478"/>
          <ac:spMkLst>
            <pc:docMk/>
            <pc:sldMk cId="2820792045" sldId="2147481968"/>
            <ac:spMk id="44" creationId="{A6CD32D8-CAA7-E067-7870-85C0A9AB7F8C}"/>
          </ac:spMkLst>
        </pc:spChg>
        <pc:spChg chg="add del mod">
          <ac:chgData name="Olha Perminova (UA)" userId="3a6a8ff4-9418-475a-a23d-87d0c5689c66" providerId="ADAL" clId="{9A235F19-1981-498E-BA97-5613F340D513}" dt="2024-06-10T14:09:56.857" v="539" actId="478"/>
          <ac:spMkLst>
            <pc:docMk/>
            <pc:sldMk cId="2820792045" sldId="2147481968"/>
            <ac:spMk id="45" creationId="{0806157B-9697-D819-37EA-D24A8F835FEE}"/>
          </ac:spMkLst>
        </pc:spChg>
        <pc:spChg chg="mod">
          <ac:chgData name="Olha Perminova (UA)" userId="3a6a8ff4-9418-475a-a23d-87d0c5689c66" providerId="ADAL" clId="{9A235F19-1981-498E-BA97-5613F340D513}" dt="2024-06-10T14:02:56.435" v="377"/>
          <ac:spMkLst>
            <pc:docMk/>
            <pc:sldMk cId="2820792045" sldId="2147481968"/>
            <ac:spMk id="47" creationId="{656AB3C2-026C-E715-D925-A13B751C8473}"/>
          </ac:spMkLst>
        </pc:spChg>
        <pc:spChg chg="mod">
          <ac:chgData name="Olha Perminova (UA)" userId="3a6a8ff4-9418-475a-a23d-87d0c5689c66" providerId="ADAL" clId="{9A235F19-1981-498E-BA97-5613F340D513}" dt="2024-06-10T14:02:56.435" v="377"/>
          <ac:spMkLst>
            <pc:docMk/>
            <pc:sldMk cId="2820792045" sldId="2147481968"/>
            <ac:spMk id="48" creationId="{3112A528-1987-48A6-C4E9-818FC36C4A12}"/>
          </ac:spMkLst>
        </pc:spChg>
        <pc:spChg chg="mod">
          <ac:chgData name="Olha Perminova (UA)" userId="3a6a8ff4-9418-475a-a23d-87d0c5689c66" providerId="ADAL" clId="{9A235F19-1981-498E-BA97-5613F340D513}" dt="2024-06-10T14:03:00.012" v="379"/>
          <ac:spMkLst>
            <pc:docMk/>
            <pc:sldMk cId="2820792045" sldId="2147481968"/>
            <ac:spMk id="50" creationId="{FCFE4574-F139-F2EC-40BE-DBEDA717016C}"/>
          </ac:spMkLst>
        </pc:spChg>
        <pc:spChg chg="mod">
          <ac:chgData name="Olha Perminova (UA)" userId="3a6a8ff4-9418-475a-a23d-87d0c5689c66" providerId="ADAL" clId="{9A235F19-1981-498E-BA97-5613F340D513}" dt="2024-06-10T14:03:00.012" v="379"/>
          <ac:spMkLst>
            <pc:docMk/>
            <pc:sldMk cId="2820792045" sldId="2147481968"/>
            <ac:spMk id="51" creationId="{02A2C5A2-8161-6D93-7619-EC9A5EB42936}"/>
          </ac:spMkLst>
        </pc:spChg>
        <pc:spChg chg="mod">
          <ac:chgData name="Olha Perminova (UA)" userId="3a6a8ff4-9418-475a-a23d-87d0c5689c66" providerId="ADAL" clId="{9A235F19-1981-498E-BA97-5613F340D513}" dt="2024-06-10T14:03:01.036" v="380"/>
          <ac:spMkLst>
            <pc:docMk/>
            <pc:sldMk cId="2820792045" sldId="2147481968"/>
            <ac:spMk id="53" creationId="{5EF12559-BE2E-576B-038D-E2C7A1B20582}"/>
          </ac:spMkLst>
        </pc:spChg>
        <pc:spChg chg="mod">
          <ac:chgData name="Olha Perminova (UA)" userId="3a6a8ff4-9418-475a-a23d-87d0c5689c66" providerId="ADAL" clId="{9A235F19-1981-498E-BA97-5613F340D513}" dt="2024-06-10T14:03:01.036" v="380"/>
          <ac:spMkLst>
            <pc:docMk/>
            <pc:sldMk cId="2820792045" sldId="2147481968"/>
            <ac:spMk id="54" creationId="{39685821-24D3-DF28-56AC-8B1021756E17}"/>
          </ac:spMkLst>
        </pc:spChg>
        <pc:spChg chg="mod">
          <ac:chgData name="Olha Perminova (UA)" userId="3a6a8ff4-9418-475a-a23d-87d0c5689c66" providerId="ADAL" clId="{9A235F19-1981-498E-BA97-5613F340D513}" dt="2024-06-10T14:03:29.376" v="407"/>
          <ac:spMkLst>
            <pc:docMk/>
            <pc:sldMk cId="2820792045" sldId="2147481968"/>
            <ac:spMk id="56" creationId="{75D8EEEB-9CAC-F846-5568-353FD910116D}"/>
          </ac:spMkLst>
        </pc:spChg>
        <pc:spChg chg="mod">
          <ac:chgData name="Olha Perminova (UA)" userId="3a6a8ff4-9418-475a-a23d-87d0c5689c66" providerId="ADAL" clId="{9A235F19-1981-498E-BA97-5613F340D513}" dt="2024-06-10T14:03:29.376" v="407"/>
          <ac:spMkLst>
            <pc:docMk/>
            <pc:sldMk cId="2820792045" sldId="2147481968"/>
            <ac:spMk id="57" creationId="{F070B33B-437A-5C69-C12E-2E41A0E8517E}"/>
          </ac:spMkLst>
        </pc:spChg>
        <pc:spChg chg="mod">
          <ac:chgData name="Olha Perminova (UA)" userId="3a6a8ff4-9418-475a-a23d-87d0c5689c66" providerId="ADAL" clId="{9A235F19-1981-498E-BA97-5613F340D513}" dt="2024-06-10T14:04:54.616" v="411"/>
          <ac:spMkLst>
            <pc:docMk/>
            <pc:sldMk cId="2820792045" sldId="2147481968"/>
            <ac:spMk id="59" creationId="{FB9C0CA8-2B44-10CC-A190-3B3F03909D23}"/>
          </ac:spMkLst>
        </pc:spChg>
        <pc:spChg chg="mod">
          <ac:chgData name="Olha Perminova (UA)" userId="3a6a8ff4-9418-475a-a23d-87d0c5689c66" providerId="ADAL" clId="{9A235F19-1981-498E-BA97-5613F340D513}" dt="2024-06-10T14:04:54.616" v="411"/>
          <ac:spMkLst>
            <pc:docMk/>
            <pc:sldMk cId="2820792045" sldId="2147481968"/>
            <ac:spMk id="60" creationId="{93E394B4-8D38-D3D6-5C8F-E88C8B86D8A0}"/>
          </ac:spMkLst>
        </pc:spChg>
        <pc:spChg chg="mod">
          <ac:chgData name="Olha Perminova (UA)" userId="3a6a8ff4-9418-475a-a23d-87d0c5689c66" providerId="ADAL" clId="{9A235F19-1981-498E-BA97-5613F340D513}" dt="2024-06-10T14:05:08.375" v="416"/>
          <ac:spMkLst>
            <pc:docMk/>
            <pc:sldMk cId="2820792045" sldId="2147481968"/>
            <ac:spMk id="62" creationId="{AA519B1A-85B5-4834-6C1D-FA66349F4881}"/>
          </ac:spMkLst>
        </pc:spChg>
        <pc:spChg chg="mod">
          <ac:chgData name="Olha Perminova (UA)" userId="3a6a8ff4-9418-475a-a23d-87d0c5689c66" providerId="ADAL" clId="{9A235F19-1981-498E-BA97-5613F340D513}" dt="2024-06-10T14:05:08.375" v="416"/>
          <ac:spMkLst>
            <pc:docMk/>
            <pc:sldMk cId="2820792045" sldId="2147481968"/>
            <ac:spMk id="63" creationId="{4E32280F-63D6-5AEF-2F72-82958B197494}"/>
          </ac:spMkLst>
        </pc:spChg>
        <pc:spChg chg="mod topLvl">
          <ac:chgData name="Olha Perminova (UA)" userId="3a6a8ff4-9418-475a-a23d-87d0c5689c66" providerId="ADAL" clId="{9A235F19-1981-498E-BA97-5613F340D513}" dt="2024-06-10T14:52:19.083" v="1190" actId="207"/>
          <ac:spMkLst>
            <pc:docMk/>
            <pc:sldMk cId="2820792045" sldId="2147481968"/>
            <ac:spMk id="65" creationId="{B3400AB7-3203-205A-AB82-E6EAECD6E433}"/>
          </ac:spMkLst>
        </pc:spChg>
        <pc:spChg chg="mod topLvl">
          <ac:chgData name="Olha Perminova (UA)" userId="3a6a8ff4-9418-475a-a23d-87d0c5689c66" providerId="ADAL" clId="{9A235F19-1981-498E-BA97-5613F340D513}" dt="2024-06-10T14:52:21.952" v="1191" actId="207"/>
          <ac:spMkLst>
            <pc:docMk/>
            <pc:sldMk cId="2820792045" sldId="2147481968"/>
            <ac:spMk id="66" creationId="{867B4285-8A1E-1221-902B-200EA0DA3A62}"/>
          </ac:spMkLst>
        </pc:spChg>
        <pc:spChg chg="mod topLvl">
          <ac:chgData name="Olha Perminova (UA)" userId="3a6a8ff4-9418-475a-a23d-87d0c5689c66" providerId="ADAL" clId="{9A235F19-1981-498E-BA97-5613F340D513}" dt="2024-06-10T14:52:26.055" v="1192" actId="207"/>
          <ac:spMkLst>
            <pc:docMk/>
            <pc:sldMk cId="2820792045" sldId="2147481968"/>
            <ac:spMk id="68" creationId="{85D05539-A867-AD16-AE73-D6026034C9D4}"/>
          </ac:spMkLst>
        </pc:spChg>
        <pc:spChg chg="mod topLvl">
          <ac:chgData name="Olha Perminova (UA)" userId="3a6a8ff4-9418-475a-a23d-87d0c5689c66" providerId="ADAL" clId="{9A235F19-1981-498E-BA97-5613F340D513}" dt="2024-06-10T14:52:29.060" v="1193" actId="207"/>
          <ac:spMkLst>
            <pc:docMk/>
            <pc:sldMk cId="2820792045" sldId="2147481968"/>
            <ac:spMk id="69" creationId="{75ED93E3-D860-37A6-0C79-3788C254EE0A}"/>
          </ac:spMkLst>
        </pc:spChg>
        <pc:spChg chg="add mod">
          <ac:chgData name="Olha Perminova (UA)" userId="3a6a8ff4-9418-475a-a23d-87d0c5689c66" providerId="ADAL" clId="{9A235F19-1981-498E-BA97-5613F340D513}" dt="2024-06-10T14:55:38.930" v="1249"/>
          <ac:spMkLst>
            <pc:docMk/>
            <pc:sldMk cId="2820792045" sldId="2147481968"/>
            <ac:spMk id="72" creationId="{1713E620-B769-FB60-102D-E8F42D8A225B}"/>
          </ac:spMkLst>
        </pc:spChg>
        <pc:spChg chg="mod">
          <ac:chgData name="Olha Perminova (UA)" userId="3a6a8ff4-9418-475a-a23d-87d0c5689c66" providerId="ADAL" clId="{9A235F19-1981-498E-BA97-5613F340D513}" dt="2024-06-10T14:05:03.151" v="414" actId="554"/>
          <ac:spMkLst>
            <pc:docMk/>
            <pc:sldMk cId="2820792045" sldId="2147481968"/>
            <ac:spMk id="103" creationId="{B8A2F7DC-E116-1BBE-5A6B-64C7E680F1BD}"/>
          </ac:spMkLst>
        </pc:spChg>
        <pc:spChg chg="mod">
          <ac:chgData name="Olha Perminova (UA)" userId="3a6a8ff4-9418-475a-a23d-87d0c5689c66" providerId="ADAL" clId="{9A235F19-1981-498E-BA97-5613F340D513}" dt="2024-06-10T14:05:48.905" v="467" actId="555"/>
          <ac:spMkLst>
            <pc:docMk/>
            <pc:sldMk cId="2820792045" sldId="2147481968"/>
            <ac:spMk id="107" creationId="{EEF73D00-2BC0-1F09-AB22-997BF5B5AEDC}"/>
          </ac:spMkLst>
        </pc:spChg>
        <pc:spChg chg="mod">
          <ac:chgData name="Olha Perminova (UA)" userId="3a6a8ff4-9418-475a-a23d-87d0c5689c66" providerId="ADAL" clId="{9A235F19-1981-498E-BA97-5613F340D513}" dt="2024-06-10T14:06:56.926" v="500" actId="555"/>
          <ac:spMkLst>
            <pc:docMk/>
            <pc:sldMk cId="2820792045" sldId="2147481968"/>
            <ac:spMk id="111" creationId="{2BE907A4-1571-B9F0-D513-57AB05B745BE}"/>
          </ac:spMkLst>
        </pc:spChg>
        <pc:spChg chg="mod">
          <ac:chgData name="Olha Perminova (UA)" userId="3a6a8ff4-9418-475a-a23d-87d0c5689c66" providerId="ADAL" clId="{9A235F19-1981-498E-BA97-5613F340D513}" dt="2024-06-10T14:05:00.261" v="413" actId="465"/>
          <ac:spMkLst>
            <pc:docMk/>
            <pc:sldMk cId="2820792045" sldId="2147481968"/>
            <ac:spMk id="115" creationId="{54FE79A9-8473-DE77-44E6-2C986EF74B03}"/>
          </ac:spMkLst>
        </pc:spChg>
        <pc:spChg chg="mod">
          <ac:chgData name="Olha Perminova (UA)" userId="3a6a8ff4-9418-475a-a23d-87d0c5689c66" providerId="ADAL" clId="{9A235F19-1981-498E-BA97-5613F340D513}" dt="2024-06-10T14:05:45.713" v="466" actId="465"/>
          <ac:spMkLst>
            <pc:docMk/>
            <pc:sldMk cId="2820792045" sldId="2147481968"/>
            <ac:spMk id="119" creationId="{25857B8E-3D4F-1175-6C7E-C82281D0DFB2}"/>
          </ac:spMkLst>
        </pc:spChg>
        <pc:spChg chg="mod">
          <ac:chgData name="Olha Perminova (UA)" userId="3a6a8ff4-9418-475a-a23d-87d0c5689c66" providerId="ADAL" clId="{9A235F19-1981-498E-BA97-5613F340D513}" dt="2024-06-10T14:06:37.195" v="497" actId="20577"/>
          <ac:spMkLst>
            <pc:docMk/>
            <pc:sldMk cId="2820792045" sldId="2147481968"/>
            <ac:spMk id="123" creationId="{E540FF3B-2049-3D2C-DC6C-0CAFC95DAB95}"/>
          </ac:spMkLst>
        </pc:spChg>
        <pc:spChg chg="mod">
          <ac:chgData name="Olha Perminova (UA)" userId="3a6a8ff4-9418-475a-a23d-87d0c5689c66" providerId="ADAL" clId="{9A235F19-1981-498E-BA97-5613F340D513}" dt="2024-06-10T14:09:36.262" v="534" actId="555"/>
          <ac:spMkLst>
            <pc:docMk/>
            <pc:sldMk cId="2820792045" sldId="2147481968"/>
            <ac:spMk id="127" creationId="{FFE4CFE7-10FB-E0F9-AE54-A456443B207D}"/>
          </ac:spMkLst>
        </pc:spChg>
        <pc:spChg chg="mod">
          <ac:chgData name="Olha Perminova (UA)" userId="3a6a8ff4-9418-475a-a23d-87d0c5689c66" providerId="ADAL" clId="{9A235F19-1981-498E-BA97-5613F340D513}" dt="2024-06-10T14:09:32.303" v="523" actId="555"/>
          <ac:spMkLst>
            <pc:docMk/>
            <pc:sldMk cId="2820792045" sldId="2147481968"/>
            <ac:spMk id="131" creationId="{6764AC4B-FEF3-2CCD-15D3-7FDF812B793E}"/>
          </ac:spMkLst>
        </pc:spChg>
        <pc:spChg chg="del">
          <ac:chgData name="Olha Perminova (UA)" userId="3a6a8ff4-9418-475a-a23d-87d0c5689c66" providerId="ADAL" clId="{9A235F19-1981-498E-BA97-5613F340D513}" dt="2024-06-10T14:09:53.730" v="538" actId="478"/>
          <ac:spMkLst>
            <pc:docMk/>
            <pc:sldMk cId="2820792045" sldId="2147481968"/>
            <ac:spMk id="136" creationId="{B60BB224-6E63-2849-CFEF-1DB13A5F04B8}"/>
          </ac:spMkLst>
        </pc:spChg>
        <pc:spChg chg="mod">
          <ac:chgData name="Olha Perminova (UA)" userId="3a6a8ff4-9418-475a-a23d-87d0c5689c66" providerId="ADAL" clId="{9A235F19-1981-498E-BA97-5613F340D513}" dt="2024-06-10T14:03:14.946" v="400"/>
          <ac:spMkLst>
            <pc:docMk/>
            <pc:sldMk cId="2820792045" sldId="2147481968"/>
            <ac:spMk id="149" creationId="{4F8D49D5-4873-CB69-4B18-8429A53BCC9A}"/>
          </ac:spMkLst>
        </pc:spChg>
        <pc:grpChg chg="add del mod">
          <ac:chgData name="Olha Perminova (UA)" userId="3a6a8ff4-9418-475a-a23d-87d0c5689c66" providerId="ADAL" clId="{9A235F19-1981-498E-BA97-5613F340D513}" dt="2024-06-10T14:02:54.631" v="376" actId="478"/>
          <ac:grpSpMkLst>
            <pc:docMk/>
            <pc:sldMk cId="2820792045" sldId="2147481968"/>
            <ac:grpSpMk id="4" creationId="{3D35EE8A-C593-239F-C6C8-52025087F544}"/>
          </ac:grpSpMkLst>
        </pc:grpChg>
        <pc:grpChg chg="add del mod">
          <ac:chgData name="Olha Perminova (UA)" userId="3a6a8ff4-9418-475a-a23d-87d0c5689c66" providerId="ADAL" clId="{9A235F19-1981-498E-BA97-5613F340D513}" dt="2024-06-10T14:03:26.126" v="406" actId="478"/>
          <ac:grpSpMkLst>
            <pc:docMk/>
            <pc:sldMk cId="2820792045" sldId="2147481968"/>
            <ac:grpSpMk id="26" creationId="{08B8E964-0FA4-1A48-CD21-CCFA4EA1BD54}"/>
          </ac:grpSpMkLst>
        </pc:grpChg>
        <pc:grpChg chg="add mod">
          <ac:chgData name="Olha Perminova (UA)" userId="3a6a8ff4-9418-475a-a23d-87d0c5689c66" providerId="ADAL" clId="{9A235F19-1981-498E-BA97-5613F340D513}" dt="2024-06-10T14:03:18.747" v="405" actId="554"/>
          <ac:grpSpMkLst>
            <pc:docMk/>
            <pc:sldMk cId="2820792045" sldId="2147481968"/>
            <ac:grpSpMk id="30" creationId="{C5C4599D-50B9-1AA7-BE9F-BC3736FC71F2}"/>
          </ac:grpSpMkLst>
        </pc:grpChg>
        <pc:grpChg chg="add del mod">
          <ac:chgData name="Olha Perminova (UA)" userId="3a6a8ff4-9418-475a-a23d-87d0c5689c66" providerId="ADAL" clId="{9A235F19-1981-498E-BA97-5613F340D513}" dt="2024-06-10T14:02:54.631" v="376" actId="478"/>
          <ac:grpSpMkLst>
            <pc:docMk/>
            <pc:sldMk cId="2820792045" sldId="2147481968"/>
            <ac:grpSpMk id="33" creationId="{BF2550E1-5073-5FBC-ACE3-C262FC3B4B9F}"/>
          </ac:grpSpMkLst>
        </pc:grpChg>
        <pc:grpChg chg="add del mod">
          <ac:chgData name="Olha Perminova (UA)" userId="3a6a8ff4-9418-475a-a23d-87d0c5689c66" providerId="ADAL" clId="{9A235F19-1981-498E-BA97-5613F340D513}" dt="2024-06-10T14:02:54.631" v="376" actId="478"/>
          <ac:grpSpMkLst>
            <pc:docMk/>
            <pc:sldMk cId="2820792045" sldId="2147481968"/>
            <ac:grpSpMk id="36" creationId="{09962C0A-B06B-CAFF-872C-6B873AB2D6B0}"/>
          </ac:grpSpMkLst>
        </pc:grpChg>
        <pc:grpChg chg="add mod">
          <ac:chgData name="Olha Perminova (UA)" userId="3a6a8ff4-9418-475a-a23d-87d0c5689c66" providerId="ADAL" clId="{9A235F19-1981-498E-BA97-5613F340D513}" dt="2024-06-10T14:03:09.143" v="383" actId="552"/>
          <ac:grpSpMkLst>
            <pc:docMk/>
            <pc:sldMk cId="2820792045" sldId="2147481968"/>
            <ac:grpSpMk id="46" creationId="{1324A672-D1F1-FD5A-72D1-48C43942DF8F}"/>
          </ac:grpSpMkLst>
        </pc:grpChg>
        <pc:grpChg chg="add mod">
          <ac:chgData name="Olha Perminova (UA)" userId="3a6a8ff4-9418-475a-a23d-87d0c5689c66" providerId="ADAL" clId="{9A235F19-1981-498E-BA97-5613F340D513}" dt="2024-06-10T14:03:09.143" v="383" actId="552"/>
          <ac:grpSpMkLst>
            <pc:docMk/>
            <pc:sldMk cId="2820792045" sldId="2147481968"/>
            <ac:grpSpMk id="49" creationId="{0D8D010A-64F6-3698-58B5-25707D7DF964}"/>
          </ac:grpSpMkLst>
        </pc:grpChg>
        <pc:grpChg chg="add mod">
          <ac:chgData name="Olha Perminova (UA)" userId="3a6a8ff4-9418-475a-a23d-87d0c5689c66" providerId="ADAL" clId="{9A235F19-1981-498E-BA97-5613F340D513}" dt="2024-06-10T14:03:09.143" v="383" actId="552"/>
          <ac:grpSpMkLst>
            <pc:docMk/>
            <pc:sldMk cId="2820792045" sldId="2147481968"/>
            <ac:grpSpMk id="52" creationId="{671860C4-AE27-9D15-0B63-1F0D44C755A1}"/>
          </ac:grpSpMkLst>
        </pc:grpChg>
        <pc:grpChg chg="add mod">
          <ac:chgData name="Olha Perminova (UA)" userId="3a6a8ff4-9418-475a-a23d-87d0c5689c66" providerId="ADAL" clId="{9A235F19-1981-498E-BA97-5613F340D513}" dt="2024-06-10T14:05:48.905" v="467" actId="555"/>
          <ac:grpSpMkLst>
            <pc:docMk/>
            <pc:sldMk cId="2820792045" sldId="2147481968"/>
            <ac:grpSpMk id="55" creationId="{980BD1CA-D4A1-DC53-347E-8B3166BB9160}"/>
          </ac:grpSpMkLst>
        </pc:grpChg>
        <pc:grpChg chg="add mod">
          <ac:chgData name="Olha Perminova (UA)" userId="3a6a8ff4-9418-475a-a23d-87d0c5689c66" providerId="ADAL" clId="{9A235F19-1981-498E-BA97-5613F340D513}" dt="2024-06-10T14:05:06.081" v="415" actId="552"/>
          <ac:grpSpMkLst>
            <pc:docMk/>
            <pc:sldMk cId="2820792045" sldId="2147481968"/>
            <ac:grpSpMk id="58" creationId="{26DED851-1CA6-CEBE-9BC7-3282413222E8}"/>
          </ac:grpSpMkLst>
        </pc:grpChg>
        <pc:grpChg chg="add mod">
          <ac:chgData name="Olha Perminova (UA)" userId="3a6a8ff4-9418-475a-a23d-87d0c5689c66" providerId="ADAL" clId="{9A235F19-1981-498E-BA97-5613F340D513}" dt="2024-06-10T14:05:27.416" v="449" actId="555"/>
          <ac:grpSpMkLst>
            <pc:docMk/>
            <pc:sldMk cId="2820792045" sldId="2147481968"/>
            <ac:grpSpMk id="61" creationId="{1CE48FF5-39DC-629B-7D3A-387472804D3D}"/>
          </ac:grpSpMkLst>
        </pc:grpChg>
        <pc:grpChg chg="add del mod">
          <ac:chgData name="Olha Perminova (UA)" userId="3a6a8ff4-9418-475a-a23d-87d0c5689c66" providerId="ADAL" clId="{9A235F19-1981-498E-BA97-5613F340D513}" dt="2024-06-10T14:07:11.765" v="503" actId="165"/>
          <ac:grpSpMkLst>
            <pc:docMk/>
            <pc:sldMk cId="2820792045" sldId="2147481968"/>
            <ac:grpSpMk id="64" creationId="{CB62159B-1B54-56E6-1194-B21ACDA9448C}"/>
          </ac:grpSpMkLst>
        </pc:grpChg>
        <pc:grpChg chg="add del mod">
          <ac:chgData name="Olha Perminova (UA)" userId="3a6a8ff4-9418-475a-a23d-87d0c5689c66" providerId="ADAL" clId="{9A235F19-1981-498E-BA97-5613F340D513}" dt="2024-06-10T14:07:11.765" v="503" actId="165"/>
          <ac:grpSpMkLst>
            <pc:docMk/>
            <pc:sldMk cId="2820792045" sldId="2147481968"/>
            <ac:grpSpMk id="67" creationId="{D87B313D-29C7-B0F4-377E-CC4B4B8F20C3}"/>
          </ac:grpSpMkLst>
        </pc:grpChg>
        <pc:grpChg chg="add mod">
          <ac:chgData name="Olha Perminova (UA)" userId="3a6a8ff4-9418-475a-a23d-87d0c5689c66" providerId="ADAL" clId="{9A235F19-1981-498E-BA97-5613F340D513}" dt="2024-06-10T14:09:43.521" v="536" actId="164"/>
          <ac:grpSpMkLst>
            <pc:docMk/>
            <pc:sldMk cId="2820792045" sldId="2147481968"/>
            <ac:grpSpMk id="70" creationId="{89633096-6853-31FC-9D54-D6FD2D79A567}"/>
          </ac:grpSpMkLst>
        </pc:grpChg>
        <pc:grpChg chg="add mod">
          <ac:chgData name="Olha Perminova (UA)" userId="3a6a8ff4-9418-475a-a23d-87d0c5689c66" providerId="ADAL" clId="{9A235F19-1981-498E-BA97-5613F340D513}" dt="2024-06-10T14:09:49.551" v="537" actId="164"/>
          <ac:grpSpMkLst>
            <pc:docMk/>
            <pc:sldMk cId="2820792045" sldId="2147481968"/>
            <ac:grpSpMk id="71" creationId="{C05E4F0F-FB57-3CFE-9E92-93D6F012925D}"/>
          </ac:grpSpMkLst>
        </pc:grpChg>
        <pc:grpChg chg="del">
          <ac:chgData name="Olha Perminova (UA)" userId="3a6a8ff4-9418-475a-a23d-87d0c5689c66" providerId="ADAL" clId="{9A235F19-1981-498E-BA97-5613F340D513}" dt="2024-06-10T14:06:07.500" v="473" actId="478"/>
          <ac:grpSpMkLst>
            <pc:docMk/>
            <pc:sldMk cId="2820792045" sldId="2147481968"/>
            <ac:grpSpMk id="128" creationId="{D9A5D3FD-8794-50EB-12C4-B95355AE4257}"/>
          </ac:grpSpMkLst>
        </pc:grpChg>
        <pc:grpChg chg="del">
          <ac:chgData name="Olha Perminova (UA)" userId="3a6a8ff4-9418-475a-a23d-87d0c5689c66" providerId="ADAL" clId="{9A235F19-1981-498E-BA97-5613F340D513}" dt="2024-06-10T14:06:07.500" v="473" actId="478"/>
          <ac:grpSpMkLst>
            <pc:docMk/>
            <pc:sldMk cId="2820792045" sldId="2147481968"/>
            <ac:grpSpMk id="132" creationId="{069EA022-CD97-3BDC-29C5-13BD2F12F37E}"/>
          </ac:grpSpMkLst>
        </pc:grpChg>
        <pc:grpChg chg="del mod">
          <ac:chgData name="Olha Perminova (UA)" userId="3a6a8ff4-9418-475a-a23d-87d0c5689c66" providerId="ADAL" clId="{9A235F19-1981-498E-BA97-5613F340D513}" dt="2024-06-10T14:02:43.829" v="372" actId="478"/>
          <ac:grpSpMkLst>
            <pc:docMk/>
            <pc:sldMk cId="2820792045" sldId="2147481968"/>
            <ac:grpSpMk id="150" creationId="{3A459FDE-AE93-2BA8-F0C3-2E6B44F0C467}"/>
          </ac:grpSpMkLst>
        </pc:grpChg>
        <pc:grpChg chg="del">
          <ac:chgData name="Olha Perminova (UA)" userId="3a6a8ff4-9418-475a-a23d-87d0c5689c66" providerId="ADAL" clId="{9A235F19-1981-498E-BA97-5613F340D513}" dt="2024-06-10T14:00:14.018" v="234" actId="478"/>
          <ac:grpSpMkLst>
            <pc:docMk/>
            <pc:sldMk cId="2820792045" sldId="2147481968"/>
            <ac:grpSpMk id="153" creationId="{BA388B3F-A0A0-4D7C-29BF-FE9F7BDB818F}"/>
          </ac:grpSpMkLst>
        </pc:grpChg>
        <pc:grpChg chg="del">
          <ac:chgData name="Olha Perminova (UA)" userId="3a6a8ff4-9418-475a-a23d-87d0c5689c66" providerId="ADAL" clId="{9A235F19-1981-498E-BA97-5613F340D513}" dt="2024-06-10T14:00:14.018" v="234" actId="478"/>
          <ac:grpSpMkLst>
            <pc:docMk/>
            <pc:sldMk cId="2820792045" sldId="2147481968"/>
            <ac:grpSpMk id="156" creationId="{E6136448-5C65-CBF5-5816-6CAAAB1D970C}"/>
          </ac:grpSpMkLst>
        </pc:grpChg>
        <pc:grpChg chg="del">
          <ac:chgData name="Olha Perminova (UA)" userId="3a6a8ff4-9418-475a-a23d-87d0c5689c66" providerId="ADAL" clId="{9A235F19-1981-498E-BA97-5613F340D513}" dt="2024-06-10T14:00:14.018" v="234" actId="478"/>
          <ac:grpSpMkLst>
            <pc:docMk/>
            <pc:sldMk cId="2820792045" sldId="2147481968"/>
            <ac:grpSpMk id="159" creationId="{92631223-F23E-F821-95EE-54263AE4AA27}"/>
          </ac:grpSpMkLst>
        </pc:grpChg>
        <pc:graphicFrameChg chg="mod">
          <ac:chgData name="Olha Perminova (UA)" userId="3a6a8ff4-9418-475a-a23d-87d0c5689c66" providerId="ADAL" clId="{9A235F19-1981-498E-BA97-5613F340D513}" dt="2024-06-10T14:09:35.009" v="532"/>
          <ac:graphicFrameMkLst>
            <pc:docMk/>
            <pc:sldMk cId="2820792045" sldId="2147481968"/>
            <ac:graphicFrameMk id="18" creationId="{B17D7669-20A3-7481-8F23-CD69449C9745}"/>
          </ac:graphicFrameMkLst>
        </pc:graphicFrameChg>
      </pc:sldChg>
      <pc:sldChg chg="addSp delSp modSp add mod ord">
        <pc:chgData name="Olha Perminova (UA)" userId="3a6a8ff4-9418-475a-a23d-87d0c5689c66" providerId="ADAL" clId="{9A235F19-1981-498E-BA97-5613F340D513}" dt="2024-06-10T14:55:36.355" v="1248" actId="6549"/>
        <pc:sldMkLst>
          <pc:docMk/>
          <pc:sldMk cId="3998587978" sldId="2147481969"/>
        </pc:sldMkLst>
        <pc:spChg chg="mod">
          <ac:chgData name="Olha Perminova (UA)" userId="3a6a8ff4-9418-475a-a23d-87d0c5689c66" providerId="ADAL" clId="{9A235F19-1981-498E-BA97-5613F340D513}" dt="2024-06-10T14:48:58.465" v="1129" actId="948"/>
          <ac:spMkLst>
            <pc:docMk/>
            <pc:sldMk cId="3998587978" sldId="2147481969"/>
            <ac:spMk id="2" creationId="{1299C1A8-38BE-9556-5CBE-67D0E693F9D9}"/>
          </ac:spMkLst>
        </pc:spChg>
        <pc:spChg chg="add del mod">
          <ac:chgData name="Olha Perminova (UA)" userId="3a6a8ff4-9418-475a-a23d-87d0c5689c66" providerId="ADAL" clId="{9A235F19-1981-498E-BA97-5613F340D513}" dt="2024-06-10T14:14:45.715" v="575" actId="478"/>
          <ac:spMkLst>
            <pc:docMk/>
            <pc:sldMk cId="3998587978" sldId="2147481969"/>
            <ac:spMk id="4" creationId="{7D50FEDD-F149-5DBD-CBF6-A2D8736D190A}"/>
          </ac:spMkLst>
        </pc:spChg>
        <pc:spChg chg="del">
          <ac:chgData name="Olha Perminova (UA)" userId="3a6a8ff4-9418-475a-a23d-87d0c5689c66" providerId="ADAL" clId="{9A235F19-1981-498E-BA97-5613F340D513}" dt="2024-06-10T14:13:04.122" v="549" actId="478"/>
          <ac:spMkLst>
            <pc:docMk/>
            <pc:sldMk cId="3998587978" sldId="2147481969"/>
            <ac:spMk id="5" creationId="{EB70CDAA-B400-12D0-4931-7878309E90AD}"/>
          </ac:spMkLst>
        </pc:spChg>
        <pc:spChg chg="del">
          <ac:chgData name="Olha Perminova (UA)" userId="3a6a8ff4-9418-475a-a23d-87d0c5689c66" providerId="ADAL" clId="{9A235F19-1981-498E-BA97-5613F340D513}" dt="2024-06-10T14:13:04.122" v="549" actId="478"/>
          <ac:spMkLst>
            <pc:docMk/>
            <pc:sldMk cId="3998587978" sldId="2147481969"/>
            <ac:spMk id="6" creationId="{976F9164-18B5-7B30-6C9E-4C5AC2AFB251}"/>
          </ac:spMkLst>
        </pc:spChg>
        <pc:spChg chg="del">
          <ac:chgData name="Olha Perminova (UA)" userId="3a6a8ff4-9418-475a-a23d-87d0c5689c66" providerId="ADAL" clId="{9A235F19-1981-498E-BA97-5613F340D513}" dt="2024-06-10T14:13:04.122" v="549" actId="478"/>
          <ac:spMkLst>
            <pc:docMk/>
            <pc:sldMk cId="3998587978" sldId="2147481969"/>
            <ac:spMk id="7" creationId="{95F2504B-3C54-3ABF-D5FC-BF2DA17554A4}"/>
          </ac:spMkLst>
        </pc:spChg>
        <pc:spChg chg="del">
          <ac:chgData name="Olha Perminova (UA)" userId="3a6a8ff4-9418-475a-a23d-87d0c5689c66" providerId="ADAL" clId="{9A235F19-1981-498E-BA97-5613F340D513}" dt="2024-06-10T14:13:04.122" v="549" actId="478"/>
          <ac:spMkLst>
            <pc:docMk/>
            <pc:sldMk cId="3998587978" sldId="2147481969"/>
            <ac:spMk id="8" creationId="{7783C402-0517-A40D-5AD3-C7B8CD89F746}"/>
          </ac:spMkLst>
        </pc:spChg>
        <pc:spChg chg="del">
          <ac:chgData name="Olha Perminova (UA)" userId="3a6a8ff4-9418-475a-a23d-87d0c5689c66" providerId="ADAL" clId="{9A235F19-1981-498E-BA97-5613F340D513}" dt="2024-06-10T14:13:04.122" v="549" actId="478"/>
          <ac:spMkLst>
            <pc:docMk/>
            <pc:sldMk cId="3998587978" sldId="2147481969"/>
            <ac:spMk id="9" creationId="{E60771D5-36B1-5846-E0FD-EE10BA67E143}"/>
          </ac:spMkLst>
        </pc:spChg>
        <pc:spChg chg="del">
          <ac:chgData name="Olha Perminova (UA)" userId="3a6a8ff4-9418-475a-a23d-87d0c5689c66" providerId="ADAL" clId="{9A235F19-1981-498E-BA97-5613F340D513}" dt="2024-06-10T14:13:04.122" v="549" actId="478"/>
          <ac:spMkLst>
            <pc:docMk/>
            <pc:sldMk cId="3998587978" sldId="2147481969"/>
            <ac:spMk id="10" creationId="{0E3AF958-70C4-357F-D986-53A75E5CF63B}"/>
          </ac:spMkLst>
        </pc:spChg>
        <pc:spChg chg="del">
          <ac:chgData name="Olha Perminova (UA)" userId="3a6a8ff4-9418-475a-a23d-87d0c5689c66" providerId="ADAL" clId="{9A235F19-1981-498E-BA97-5613F340D513}" dt="2024-06-10T14:13:04.122" v="549" actId="478"/>
          <ac:spMkLst>
            <pc:docMk/>
            <pc:sldMk cId="3998587978" sldId="2147481969"/>
            <ac:spMk id="11" creationId="{70513DFC-D897-87EB-EF6A-D4829E31C2D1}"/>
          </ac:spMkLst>
        </pc:spChg>
        <pc:spChg chg="del">
          <ac:chgData name="Olha Perminova (UA)" userId="3a6a8ff4-9418-475a-a23d-87d0c5689c66" providerId="ADAL" clId="{9A235F19-1981-498E-BA97-5613F340D513}" dt="2024-06-10T14:13:04.122" v="549" actId="478"/>
          <ac:spMkLst>
            <pc:docMk/>
            <pc:sldMk cId="3998587978" sldId="2147481969"/>
            <ac:spMk id="12" creationId="{9FE544F4-5FE9-EB4A-60A5-5DB0C11FA6FA}"/>
          </ac:spMkLst>
        </pc:spChg>
        <pc:spChg chg="del">
          <ac:chgData name="Olha Perminova (UA)" userId="3a6a8ff4-9418-475a-a23d-87d0c5689c66" providerId="ADAL" clId="{9A235F19-1981-498E-BA97-5613F340D513}" dt="2024-06-10T14:13:04.122" v="549" actId="478"/>
          <ac:spMkLst>
            <pc:docMk/>
            <pc:sldMk cId="3998587978" sldId="2147481969"/>
            <ac:spMk id="13" creationId="{A6BE1D1D-3F01-1DF1-B44F-6D56DDF9CE64}"/>
          </ac:spMkLst>
        </pc:spChg>
        <pc:spChg chg="mod">
          <ac:chgData name="Olha Perminova (UA)" userId="3a6a8ff4-9418-475a-a23d-87d0c5689c66" providerId="ADAL" clId="{9A235F19-1981-498E-BA97-5613F340D513}" dt="2024-06-10T14:12:23.726" v="546"/>
          <ac:spMkLst>
            <pc:docMk/>
            <pc:sldMk cId="3998587978" sldId="2147481969"/>
            <ac:spMk id="16" creationId="{BDD5A941-A1AE-7A28-B2EE-6C369F224A53}"/>
          </ac:spMkLst>
        </pc:spChg>
        <pc:spChg chg="mod">
          <ac:chgData name="Olha Perminova (UA)" userId="3a6a8ff4-9418-475a-a23d-87d0c5689c66" providerId="ADAL" clId="{9A235F19-1981-498E-BA97-5613F340D513}" dt="2024-06-10T14:12:23.726" v="546"/>
          <ac:spMkLst>
            <pc:docMk/>
            <pc:sldMk cId="3998587978" sldId="2147481969"/>
            <ac:spMk id="20" creationId="{922BA4CC-1679-BE96-5D65-EF1BF57886D5}"/>
          </ac:spMkLst>
        </pc:spChg>
        <pc:spChg chg="del">
          <ac:chgData name="Olha Perminova (UA)" userId="3a6a8ff4-9418-475a-a23d-87d0c5689c66" providerId="ADAL" clId="{9A235F19-1981-498E-BA97-5613F340D513}" dt="2024-06-10T14:13:04.122" v="549" actId="478"/>
          <ac:spMkLst>
            <pc:docMk/>
            <pc:sldMk cId="3998587978" sldId="2147481969"/>
            <ac:spMk id="21" creationId="{1118417F-5F3E-C322-3338-E4C7A4CDB1CE}"/>
          </ac:spMkLst>
        </pc:spChg>
        <pc:spChg chg="add mod">
          <ac:chgData name="Olha Perminova (UA)" userId="3a6a8ff4-9418-475a-a23d-87d0c5689c66" providerId="ADAL" clId="{9A235F19-1981-498E-BA97-5613F340D513}" dt="2024-06-10T14:54:34.406" v="1227" actId="552"/>
          <ac:spMkLst>
            <pc:docMk/>
            <pc:sldMk cId="3998587978" sldId="2147481969"/>
            <ac:spMk id="26" creationId="{471F14E2-4096-90B5-C1ED-2A3C36F0DB47}"/>
          </ac:spMkLst>
        </pc:spChg>
        <pc:spChg chg="add mod">
          <ac:chgData name="Olha Perminova (UA)" userId="3a6a8ff4-9418-475a-a23d-87d0c5689c66" providerId="ADAL" clId="{9A235F19-1981-498E-BA97-5613F340D513}" dt="2024-06-10T14:54:26.226" v="1226" actId="554"/>
          <ac:spMkLst>
            <pc:docMk/>
            <pc:sldMk cId="3998587978" sldId="2147481969"/>
            <ac:spMk id="27" creationId="{4A84FC65-DA2C-6590-D2DB-1E7E4EA7E99F}"/>
          </ac:spMkLst>
        </pc:spChg>
        <pc:spChg chg="add mod">
          <ac:chgData name="Olha Perminova (UA)" userId="3a6a8ff4-9418-475a-a23d-87d0c5689c66" providerId="ADAL" clId="{9A235F19-1981-498E-BA97-5613F340D513}" dt="2024-06-10T14:13:04.462" v="550"/>
          <ac:spMkLst>
            <pc:docMk/>
            <pc:sldMk cId="3998587978" sldId="2147481969"/>
            <ac:spMk id="28" creationId="{44A18395-B644-1BDE-1D08-F115F090DB14}"/>
          </ac:spMkLst>
        </pc:spChg>
        <pc:spChg chg="add mod">
          <ac:chgData name="Olha Perminova (UA)" userId="3a6a8ff4-9418-475a-a23d-87d0c5689c66" providerId="ADAL" clId="{9A235F19-1981-498E-BA97-5613F340D513}" dt="2024-06-10T14:13:04.462" v="550"/>
          <ac:spMkLst>
            <pc:docMk/>
            <pc:sldMk cId="3998587978" sldId="2147481969"/>
            <ac:spMk id="29" creationId="{9694AFC2-83A7-1622-FF0D-CAA608337B5E}"/>
          </ac:spMkLst>
        </pc:spChg>
        <pc:spChg chg="mod topLvl">
          <ac:chgData name="Olha Perminova (UA)" userId="3a6a8ff4-9418-475a-a23d-87d0c5689c66" providerId="ADAL" clId="{9A235F19-1981-498E-BA97-5613F340D513}" dt="2024-06-10T14:18:55.990" v="714" actId="164"/>
          <ac:spMkLst>
            <pc:docMk/>
            <pc:sldMk cId="3998587978" sldId="2147481969"/>
            <ac:spMk id="31" creationId="{0F8AF3D8-4A36-5BAD-7018-36E6F6AC90A9}"/>
          </ac:spMkLst>
        </pc:spChg>
        <pc:spChg chg="mod topLvl">
          <ac:chgData name="Olha Perminova (UA)" userId="3a6a8ff4-9418-475a-a23d-87d0c5689c66" providerId="ADAL" clId="{9A235F19-1981-498E-BA97-5613F340D513}" dt="2024-06-10T14:18:55.990" v="714" actId="164"/>
          <ac:spMkLst>
            <pc:docMk/>
            <pc:sldMk cId="3998587978" sldId="2147481969"/>
            <ac:spMk id="32" creationId="{1D81532B-2339-E2C1-F336-A5A69EE823D2}"/>
          </ac:spMkLst>
        </pc:spChg>
        <pc:spChg chg="add mod">
          <ac:chgData name="Olha Perminova (UA)" userId="3a6a8ff4-9418-475a-a23d-87d0c5689c66" providerId="ADAL" clId="{9A235F19-1981-498E-BA97-5613F340D513}" dt="2024-06-10T14:13:04.462" v="550"/>
          <ac:spMkLst>
            <pc:docMk/>
            <pc:sldMk cId="3998587978" sldId="2147481969"/>
            <ac:spMk id="33" creationId="{2E6F1176-869E-B642-37E9-B0306CA30288}"/>
          </ac:spMkLst>
        </pc:spChg>
        <pc:spChg chg="add mod">
          <ac:chgData name="Olha Perminova (UA)" userId="3a6a8ff4-9418-475a-a23d-87d0c5689c66" providerId="ADAL" clId="{9A235F19-1981-498E-BA97-5613F340D513}" dt="2024-06-10T14:14:54.135" v="578" actId="1076"/>
          <ac:spMkLst>
            <pc:docMk/>
            <pc:sldMk cId="3998587978" sldId="2147481969"/>
            <ac:spMk id="34" creationId="{A8D0F764-24AA-5BAB-8270-91CEC7751B79}"/>
          </ac:spMkLst>
        </pc:spChg>
        <pc:spChg chg="add mod">
          <ac:chgData name="Olha Perminova (UA)" userId="3a6a8ff4-9418-475a-a23d-87d0c5689c66" providerId="ADAL" clId="{9A235F19-1981-498E-BA97-5613F340D513}" dt="2024-06-10T14:13:04.462" v="550"/>
          <ac:spMkLst>
            <pc:docMk/>
            <pc:sldMk cId="3998587978" sldId="2147481969"/>
            <ac:spMk id="35" creationId="{F081AD02-90FD-3FC1-F610-A41FCC2FB950}"/>
          </ac:spMkLst>
        </pc:spChg>
        <pc:spChg chg="add mod">
          <ac:chgData name="Olha Perminova (UA)" userId="3a6a8ff4-9418-475a-a23d-87d0c5689c66" providerId="ADAL" clId="{9A235F19-1981-498E-BA97-5613F340D513}" dt="2024-06-10T14:54:23.604" v="1225" actId="552"/>
          <ac:spMkLst>
            <pc:docMk/>
            <pc:sldMk cId="3998587978" sldId="2147481969"/>
            <ac:spMk id="36" creationId="{87942B9C-99D6-B14A-EB93-DE67A387C608}"/>
          </ac:spMkLst>
        </pc:spChg>
        <pc:spChg chg="add del mod">
          <ac:chgData name="Olha Perminova (UA)" userId="3a6a8ff4-9418-475a-a23d-87d0c5689c66" providerId="ADAL" clId="{9A235F19-1981-498E-BA97-5613F340D513}" dt="2024-06-10T14:13:26.418" v="553"/>
          <ac:spMkLst>
            <pc:docMk/>
            <pc:sldMk cId="3998587978" sldId="2147481969"/>
            <ac:spMk id="37" creationId="{42F060D7-7136-D31A-FE41-A83C0BFA748B}"/>
          </ac:spMkLst>
        </pc:spChg>
        <pc:spChg chg="add del mod">
          <ac:chgData name="Olha Perminova (UA)" userId="3a6a8ff4-9418-475a-a23d-87d0c5689c66" providerId="ADAL" clId="{9A235F19-1981-498E-BA97-5613F340D513}" dt="2024-06-10T14:13:26.418" v="553"/>
          <ac:spMkLst>
            <pc:docMk/>
            <pc:sldMk cId="3998587978" sldId="2147481969"/>
            <ac:spMk id="38" creationId="{B150B03C-EE43-4E75-BC6C-259B28FA66EC}"/>
          </ac:spMkLst>
        </pc:spChg>
        <pc:spChg chg="add del mod">
          <ac:chgData name="Olha Perminova (UA)" userId="3a6a8ff4-9418-475a-a23d-87d0c5689c66" providerId="ADAL" clId="{9A235F19-1981-498E-BA97-5613F340D513}" dt="2024-06-10T14:13:26.418" v="553"/>
          <ac:spMkLst>
            <pc:docMk/>
            <pc:sldMk cId="3998587978" sldId="2147481969"/>
            <ac:spMk id="39" creationId="{E8DF1305-64C1-2354-3AA1-23839B062043}"/>
          </ac:spMkLst>
        </pc:spChg>
        <pc:spChg chg="add del mod">
          <ac:chgData name="Olha Perminova (UA)" userId="3a6a8ff4-9418-475a-a23d-87d0c5689c66" providerId="ADAL" clId="{9A235F19-1981-498E-BA97-5613F340D513}" dt="2024-06-10T14:13:26.418" v="553"/>
          <ac:spMkLst>
            <pc:docMk/>
            <pc:sldMk cId="3998587978" sldId="2147481969"/>
            <ac:spMk id="40" creationId="{957E1CB1-CFBA-12D1-A820-3CE8E81B396B}"/>
          </ac:spMkLst>
        </pc:spChg>
        <pc:spChg chg="add del mod">
          <ac:chgData name="Olha Perminova (UA)" userId="3a6a8ff4-9418-475a-a23d-87d0c5689c66" providerId="ADAL" clId="{9A235F19-1981-498E-BA97-5613F340D513}" dt="2024-06-10T14:13:26.418" v="553"/>
          <ac:spMkLst>
            <pc:docMk/>
            <pc:sldMk cId="3998587978" sldId="2147481969"/>
            <ac:spMk id="41" creationId="{C62F2E6D-9D79-0058-16AD-CDCBBB49CC65}"/>
          </ac:spMkLst>
        </pc:spChg>
        <pc:spChg chg="add del mod">
          <ac:chgData name="Olha Perminova (UA)" userId="3a6a8ff4-9418-475a-a23d-87d0c5689c66" providerId="ADAL" clId="{9A235F19-1981-498E-BA97-5613F340D513}" dt="2024-06-10T14:13:26.418" v="553"/>
          <ac:spMkLst>
            <pc:docMk/>
            <pc:sldMk cId="3998587978" sldId="2147481969"/>
            <ac:spMk id="42" creationId="{6AB8A230-4EF4-FDE8-CAF1-DE1D055D266E}"/>
          </ac:spMkLst>
        </pc:spChg>
        <pc:spChg chg="add del mod">
          <ac:chgData name="Olha Perminova (UA)" userId="3a6a8ff4-9418-475a-a23d-87d0c5689c66" providerId="ADAL" clId="{9A235F19-1981-498E-BA97-5613F340D513}" dt="2024-06-10T14:13:26.418" v="553"/>
          <ac:spMkLst>
            <pc:docMk/>
            <pc:sldMk cId="3998587978" sldId="2147481969"/>
            <ac:spMk id="43" creationId="{E6110C1F-220E-62D9-DEE2-EE4F96BE8A63}"/>
          </ac:spMkLst>
        </pc:spChg>
        <pc:spChg chg="add del mod">
          <ac:chgData name="Olha Perminova (UA)" userId="3a6a8ff4-9418-475a-a23d-87d0c5689c66" providerId="ADAL" clId="{9A235F19-1981-498E-BA97-5613F340D513}" dt="2024-06-10T14:13:26.418" v="553"/>
          <ac:spMkLst>
            <pc:docMk/>
            <pc:sldMk cId="3998587978" sldId="2147481969"/>
            <ac:spMk id="44" creationId="{E4D637DD-CB45-5CCE-DB43-036CA456910C}"/>
          </ac:spMkLst>
        </pc:spChg>
        <pc:spChg chg="add del mod">
          <ac:chgData name="Olha Perminova (UA)" userId="3a6a8ff4-9418-475a-a23d-87d0c5689c66" providerId="ADAL" clId="{9A235F19-1981-498E-BA97-5613F340D513}" dt="2024-06-10T14:50:19.198" v="1161" actId="478"/>
          <ac:spMkLst>
            <pc:docMk/>
            <pc:sldMk cId="3998587978" sldId="2147481969"/>
            <ac:spMk id="45" creationId="{64FF748B-5901-36FD-15F2-7E71BCE595BA}"/>
          </ac:spMkLst>
        </pc:spChg>
        <pc:spChg chg="mod topLvl">
          <ac:chgData name="Olha Perminova (UA)" userId="3a6a8ff4-9418-475a-a23d-87d0c5689c66" providerId="ADAL" clId="{9A235F19-1981-498E-BA97-5613F340D513}" dt="2024-06-10T14:18:59.694" v="715" actId="164"/>
          <ac:spMkLst>
            <pc:docMk/>
            <pc:sldMk cId="3998587978" sldId="2147481969"/>
            <ac:spMk id="47" creationId="{656AB3C2-026C-E715-D925-A13B751C8473}"/>
          </ac:spMkLst>
        </pc:spChg>
        <pc:spChg chg="mod topLvl">
          <ac:chgData name="Olha Perminova (UA)" userId="3a6a8ff4-9418-475a-a23d-87d0c5689c66" providerId="ADAL" clId="{9A235F19-1981-498E-BA97-5613F340D513}" dt="2024-06-10T14:18:59.694" v="715" actId="164"/>
          <ac:spMkLst>
            <pc:docMk/>
            <pc:sldMk cId="3998587978" sldId="2147481969"/>
            <ac:spMk id="48" creationId="{3112A528-1987-48A6-C4E9-818FC36C4A12}"/>
          </ac:spMkLst>
        </pc:spChg>
        <pc:spChg chg="mod topLvl">
          <ac:chgData name="Olha Perminova (UA)" userId="3a6a8ff4-9418-475a-a23d-87d0c5689c66" providerId="ADAL" clId="{9A235F19-1981-498E-BA97-5613F340D513}" dt="2024-06-10T14:20:32.536" v="719" actId="164"/>
          <ac:spMkLst>
            <pc:docMk/>
            <pc:sldMk cId="3998587978" sldId="2147481969"/>
            <ac:spMk id="50" creationId="{FCFE4574-F139-F2EC-40BE-DBEDA717016C}"/>
          </ac:spMkLst>
        </pc:spChg>
        <pc:spChg chg="mod topLvl">
          <ac:chgData name="Olha Perminova (UA)" userId="3a6a8ff4-9418-475a-a23d-87d0c5689c66" providerId="ADAL" clId="{9A235F19-1981-498E-BA97-5613F340D513}" dt="2024-06-10T14:20:32.536" v="719" actId="164"/>
          <ac:spMkLst>
            <pc:docMk/>
            <pc:sldMk cId="3998587978" sldId="2147481969"/>
            <ac:spMk id="51" creationId="{02A2C5A2-8161-6D93-7619-EC9A5EB42936}"/>
          </ac:spMkLst>
        </pc:spChg>
        <pc:spChg chg="mod topLvl">
          <ac:chgData name="Olha Perminova (UA)" userId="3a6a8ff4-9418-475a-a23d-87d0c5689c66" providerId="ADAL" clId="{9A235F19-1981-498E-BA97-5613F340D513}" dt="2024-06-10T14:23:01.539" v="901" actId="165"/>
          <ac:spMkLst>
            <pc:docMk/>
            <pc:sldMk cId="3998587978" sldId="2147481969"/>
            <ac:spMk id="53" creationId="{5EF12559-BE2E-576B-038D-E2C7A1B20582}"/>
          </ac:spMkLst>
        </pc:spChg>
        <pc:spChg chg="mod topLvl">
          <ac:chgData name="Olha Perminova (UA)" userId="3a6a8ff4-9418-475a-a23d-87d0c5689c66" providerId="ADAL" clId="{9A235F19-1981-498E-BA97-5613F340D513}" dt="2024-06-10T14:23:01.539" v="901" actId="165"/>
          <ac:spMkLst>
            <pc:docMk/>
            <pc:sldMk cId="3998587978" sldId="2147481969"/>
            <ac:spMk id="54" creationId="{39685821-24D3-DF28-56AC-8B1021756E17}"/>
          </ac:spMkLst>
        </pc:spChg>
        <pc:spChg chg="add del mod">
          <ac:chgData name="Olha Perminova (UA)" userId="3a6a8ff4-9418-475a-a23d-87d0c5689c66" providerId="ADAL" clId="{9A235F19-1981-498E-BA97-5613F340D513}" dt="2024-06-10T14:48:24.967" v="989" actId="478"/>
          <ac:spMkLst>
            <pc:docMk/>
            <pc:sldMk cId="3998587978" sldId="2147481969"/>
            <ac:spMk id="64" creationId="{47D1CAB2-2BC1-3D4E-D84F-860BB7DCFABD}"/>
          </ac:spMkLst>
        </pc:spChg>
        <pc:spChg chg="mod topLvl">
          <ac:chgData name="Olha Perminova (UA)" userId="3a6a8ff4-9418-475a-a23d-87d0c5689c66" providerId="ADAL" clId="{9A235F19-1981-498E-BA97-5613F340D513}" dt="2024-06-10T14:50:30.171" v="1162" actId="207"/>
          <ac:spMkLst>
            <pc:docMk/>
            <pc:sldMk cId="3998587978" sldId="2147481969"/>
            <ac:spMk id="65" creationId="{B3400AB7-3203-205A-AB82-E6EAECD6E433}"/>
          </ac:spMkLst>
        </pc:spChg>
        <pc:spChg chg="mod topLvl">
          <ac:chgData name="Olha Perminova (UA)" userId="3a6a8ff4-9418-475a-a23d-87d0c5689c66" providerId="ADAL" clId="{9A235F19-1981-498E-BA97-5613F340D513}" dt="2024-06-10T14:50:33.286" v="1163" actId="207"/>
          <ac:spMkLst>
            <pc:docMk/>
            <pc:sldMk cId="3998587978" sldId="2147481969"/>
            <ac:spMk id="66" creationId="{867B4285-8A1E-1221-902B-200EA0DA3A62}"/>
          </ac:spMkLst>
        </pc:spChg>
        <pc:spChg chg="add del mod">
          <ac:chgData name="Olha Perminova (UA)" userId="3a6a8ff4-9418-475a-a23d-87d0c5689c66" providerId="ADAL" clId="{9A235F19-1981-498E-BA97-5613F340D513}" dt="2024-06-10T14:48:24.967" v="989" actId="478"/>
          <ac:spMkLst>
            <pc:docMk/>
            <pc:sldMk cId="3998587978" sldId="2147481969"/>
            <ac:spMk id="67" creationId="{2D72053B-CC75-72A7-4667-5439A731346F}"/>
          </ac:spMkLst>
        </pc:spChg>
        <pc:spChg chg="add del mod">
          <ac:chgData name="Olha Perminova (UA)" userId="3a6a8ff4-9418-475a-a23d-87d0c5689c66" providerId="ADAL" clId="{9A235F19-1981-498E-BA97-5613F340D513}" dt="2024-06-10T14:48:24.967" v="989" actId="478"/>
          <ac:spMkLst>
            <pc:docMk/>
            <pc:sldMk cId="3998587978" sldId="2147481969"/>
            <ac:spMk id="72" creationId="{F5E25890-FF86-6D81-CEF0-E81206C3A09A}"/>
          </ac:spMkLst>
        </pc:spChg>
        <pc:spChg chg="add del mod">
          <ac:chgData name="Olha Perminova (UA)" userId="3a6a8ff4-9418-475a-a23d-87d0c5689c66" providerId="ADAL" clId="{9A235F19-1981-498E-BA97-5613F340D513}" dt="2024-06-10T14:48:24.967" v="989" actId="478"/>
          <ac:spMkLst>
            <pc:docMk/>
            <pc:sldMk cId="3998587978" sldId="2147481969"/>
            <ac:spMk id="73" creationId="{02561E29-6B91-7573-0CF2-F6A4BF8CCE21}"/>
          </ac:spMkLst>
        </pc:spChg>
        <pc:spChg chg="add mod topLvl">
          <ac:chgData name="Olha Perminova (UA)" userId="3a6a8ff4-9418-475a-a23d-87d0c5689c66" providerId="ADAL" clId="{9A235F19-1981-498E-BA97-5613F340D513}" dt="2024-06-10T14:53:32.651" v="1204" actId="14100"/>
          <ac:spMkLst>
            <pc:docMk/>
            <pc:sldMk cId="3998587978" sldId="2147481969"/>
            <ac:spMk id="74" creationId="{1170A1F8-6836-7EF0-4E6F-697FD346D741}"/>
          </ac:spMkLst>
        </pc:spChg>
        <pc:spChg chg="add mod">
          <ac:chgData name="Olha Perminova (UA)" userId="3a6a8ff4-9418-475a-a23d-87d0c5689c66" providerId="ADAL" clId="{9A235F19-1981-498E-BA97-5613F340D513}" dt="2024-06-10T14:53:35.150" v="1205" actId="20577"/>
          <ac:spMkLst>
            <pc:docMk/>
            <pc:sldMk cId="3998587978" sldId="2147481969"/>
            <ac:spMk id="75" creationId="{C67A177E-02E9-E513-71FE-F516254B5B21}"/>
          </ac:spMkLst>
        </pc:spChg>
        <pc:spChg chg="add mod topLvl">
          <ac:chgData name="Olha Perminova (UA)" userId="3a6a8ff4-9418-475a-a23d-87d0c5689c66" providerId="ADAL" clId="{9A235F19-1981-498E-BA97-5613F340D513}" dt="2024-06-10T14:53:46.300" v="1216" actId="14100"/>
          <ac:spMkLst>
            <pc:docMk/>
            <pc:sldMk cId="3998587978" sldId="2147481969"/>
            <ac:spMk id="76" creationId="{7BBC6110-BA80-66C9-711A-C3D76CC8605F}"/>
          </ac:spMkLst>
        </pc:spChg>
        <pc:spChg chg="add mod">
          <ac:chgData name="Olha Perminova (UA)" userId="3a6a8ff4-9418-475a-a23d-87d0c5689c66" providerId="ADAL" clId="{9A235F19-1981-498E-BA97-5613F340D513}" dt="2024-06-10T14:53:32.651" v="1204" actId="14100"/>
          <ac:spMkLst>
            <pc:docMk/>
            <pc:sldMk cId="3998587978" sldId="2147481969"/>
            <ac:spMk id="77" creationId="{314D8D8F-B7D4-EAAE-D30E-252B00FF4285}"/>
          </ac:spMkLst>
        </pc:spChg>
        <pc:spChg chg="add mod">
          <ac:chgData name="Olha Perminova (UA)" userId="3a6a8ff4-9418-475a-a23d-87d0c5689c66" providerId="ADAL" clId="{9A235F19-1981-498E-BA97-5613F340D513}" dt="2024-06-10T14:53:32.651" v="1204" actId="14100"/>
          <ac:spMkLst>
            <pc:docMk/>
            <pc:sldMk cId="3998587978" sldId="2147481969"/>
            <ac:spMk id="78" creationId="{6551150D-9873-82B0-44E8-5190D9C2D304}"/>
          </ac:spMkLst>
        </pc:spChg>
        <pc:spChg chg="add mod">
          <ac:chgData name="Olha Perminova (UA)" userId="3a6a8ff4-9418-475a-a23d-87d0c5689c66" providerId="ADAL" clId="{9A235F19-1981-498E-BA97-5613F340D513}" dt="2024-06-10T14:53:46.300" v="1216" actId="14100"/>
          <ac:spMkLst>
            <pc:docMk/>
            <pc:sldMk cId="3998587978" sldId="2147481969"/>
            <ac:spMk id="79" creationId="{F894A031-0F31-B105-0AAA-4CF219846086}"/>
          </ac:spMkLst>
        </pc:spChg>
        <pc:spChg chg="add mod">
          <ac:chgData name="Olha Perminova (UA)" userId="3a6a8ff4-9418-475a-a23d-87d0c5689c66" providerId="ADAL" clId="{9A235F19-1981-498E-BA97-5613F340D513}" dt="2024-06-10T14:53:46.300" v="1216" actId="14100"/>
          <ac:spMkLst>
            <pc:docMk/>
            <pc:sldMk cId="3998587978" sldId="2147481969"/>
            <ac:spMk id="80" creationId="{570B6498-E0FA-658E-4D49-FD9D29C589E3}"/>
          </ac:spMkLst>
        </pc:spChg>
        <pc:spChg chg="add mod">
          <ac:chgData name="Olha Perminova (UA)" userId="3a6a8ff4-9418-475a-a23d-87d0c5689c66" providerId="ADAL" clId="{9A235F19-1981-498E-BA97-5613F340D513}" dt="2024-06-10T14:53:46.300" v="1216" actId="14100"/>
          <ac:spMkLst>
            <pc:docMk/>
            <pc:sldMk cId="3998587978" sldId="2147481969"/>
            <ac:spMk id="81" creationId="{94091B5D-4334-BE94-3E85-4663D5928A77}"/>
          </ac:spMkLst>
        </pc:spChg>
        <pc:spChg chg="add del mod">
          <ac:chgData name="Olha Perminova (UA)" userId="3a6a8ff4-9418-475a-a23d-87d0c5689c66" providerId="ADAL" clId="{9A235F19-1981-498E-BA97-5613F340D513}" dt="2024-06-10T14:48:24.967" v="989" actId="478"/>
          <ac:spMkLst>
            <pc:docMk/>
            <pc:sldMk cId="3998587978" sldId="2147481969"/>
            <ac:spMk id="82" creationId="{DBB72018-C6F4-0B67-2978-3A55BFB55081}"/>
          </ac:spMkLst>
        </pc:spChg>
        <pc:spChg chg="add del mod modVis">
          <ac:chgData name="Olha Perminova (UA)" userId="3a6a8ff4-9418-475a-a23d-87d0c5689c66" providerId="ADAL" clId="{9A235F19-1981-498E-BA97-5613F340D513}" dt="2024-06-10T14:16:34.486" v="693"/>
          <ac:spMkLst>
            <pc:docMk/>
            <pc:sldMk cId="3998587978" sldId="2147481969"/>
            <ac:spMk id="84" creationId="{8169752A-FF40-D0E5-104F-1EC2C342E0D2}"/>
          </ac:spMkLst>
        </pc:spChg>
        <pc:spChg chg="mod">
          <ac:chgData name="Olha Perminova (UA)" userId="3a6a8ff4-9418-475a-a23d-87d0c5689c66" providerId="ADAL" clId="{9A235F19-1981-498E-BA97-5613F340D513}" dt="2024-06-10T14:21:32.261" v="826"/>
          <ac:spMkLst>
            <pc:docMk/>
            <pc:sldMk cId="3998587978" sldId="2147481969"/>
            <ac:spMk id="90" creationId="{28CBF070-F51F-59A4-842A-CFF85EF436A3}"/>
          </ac:spMkLst>
        </pc:spChg>
        <pc:spChg chg="mod">
          <ac:chgData name="Olha Perminova (UA)" userId="3a6a8ff4-9418-475a-a23d-87d0c5689c66" providerId="ADAL" clId="{9A235F19-1981-498E-BA97-5613F340D513}" dt="2024-06-10T14:21:32.261" v="826"/>
          <ac:spMkLst>
            <pc:docMk/>
            <pc:sldMk cId="3998587978" sldId="2147481969"/>
            <ac:spMk id="91" creationId="{C346F0D0-FBBD-3268-EBE7-18F41C2D4CE9}"/>
          </ac:spMkLst>
        </pc:spChg>
        <pc:spChg chg="mod">
          <ac:chgData name="Olha Perminova (UA)" userId="3a6a8ff4-9418-475a-a23d-87d0c5689c66" providerId="ADAL" clId="{9A235F19-1981-498E-BA97-5613F340D513}" dt="2024-06-10T14:21:32.261" v="826"/>
          <ac:spMkLst>
            <pc:docMk/>
            <pc:sldMk cId="3998587978" sldId="2147481969"/>
            <ac:spMk id="93" creationId="{4194B9E0-F78D-0496-CC5C-972805E70A2A}"/>
          </ac:spMkLst>
        </pc:spChg>
        <pc:spChg chg="mod">
          <ac:chgData name="Olha Perminova (UA)" userId="3a6a8ff4-9418-475a-a23d-87d0c5689c66" providerId="ADAL" clId="{9A235F19-1981-498E-BA97-5613F340D513}" dt="2024-06-10T14:21:32.261" v="826"/>
          <ac:spMkLst>
            <pc:docMk/>
            <pc:sldMk cId="3998587978" sldId="2147481969"/>
            <ac:spMk id="94" creationId="{19C83FB6-E24E-28C8-9350-BB2EA80F157D}"/>
          </ac:spMkLst>
        </pc:spChg>
        <pc:spChg chg="mod">
          <ac:chgData name="Olha Perminova (UA)" userId="3a6a8ff4-9418-475a-a23d-87d0c5689c66" providerId="ADAL" clId="{9A235F19-1981-498E-BA97-5613F340D513}" dt="2024-06-10T14:21:32.261" v="826"/>
          <ac:spMkLst>
            <pc:docMk/>
            <pc:sldMk cId="3998587978" sldId="2147481969"/>
            <ac:spMk id="96" creationId="{3FC28010-F5D6-A6C7-E6B2-C6D2C9FECBDD}"/>
          </ac:spMkLst>
        </pc:spChg>
        <pc:spChg chg="mod">
          <ac:chgData name="Olha Perminova (UA)" userId="3a6a8ff4-9418-475a-a23d-87d0c5689c66" providerId="ADAL" clId="{9A235F19-1981-498E-BA97-5613F340D513}" dt="2024-06-10T14:21:32.261" v="826"/>
          <ac:spMkLst>
            <pc:docMk/>
            <pc:sldMk cId="3998587978" sldId="2147481969"/>
            <ac:spMk id="97" creationId="{067E863F-B189-B824-7A1E-FEB2D8E7E166}"/>
          </ac:spMkLst>
        </pc:spChg>
        <pc:spChg chg="mod">
          <ac:chgData name="Olha Perminova (UA)" userId="3a6a8ff4-9418-475a-a23d-87d0c5689c66" providerId="ADAL" clId="{9A235F19-1981-498E-BA97-5613F340D513}" dt="2024-06-10T14:23:01.539" v="901" actId="165"/>
          <ac:spMkLst>
            <pc:docMk/>
            <pc:sldMk cId="3998587978" sldId="2147481969"/>
            <ac:spMk id="99" creationId="{0679964F-B757-0126-DEEE-256C8182594E}"/>
          </ac:spMkLst>
        </pc:spChg>
        <pc:spChg chg="mod">
          <ac:chgData name="Olha Perminova (UA)" userId="3a6a8ff4-9418-475a-a23d-87d0c5689c66" providerId="ADAL" clId="{9A235F19-1981-498E-BA97-5613F340D513}" dt="2024-06-10T14:23:01.539" v="901" actId="165"/>
          <ac:spMkLst>
            <pc:docMk/>
            <pc:sldMk cId="3998587978" sldId="2147481969"/>
            <ac:spMk id="100" creationId="{F48E5BE5-E9A7-C0AF-13BE-F7E8DFA47B4F}"/>
          </ac:spMkLst>
        </pc:spChg>
        <pc:spChg chg="add del mod modVis">
          <ac:chgData name="Olha Perminova (UA)" userId="3a6a8ff4-9418-475a-a23d-87d0c5689c66" providerId="ADAL" clId="{9A235F19-1981-498E-BA97-5613F340D513}" dt="2024-06-10T14:21:44.043" v="856"/>
          <ac:spMkLst>
            <pc:docMk/>
            <pc:sldMk cId="3998587978" sldId="2147481969"/>
            <ac:spMk id="101" creationId="{0B9E88EA-6F24-DA94-56FE-13E548D7A9E1}"/>
          </ac:spMkLst>
        </pc:spChg>
        <pc:spChg chg="del mod">
          <ac:chgData name="Olha Perminova (UA)" userId="3a6a8ff4-9418-475a-a23d-87d0c5689c66" providerId="ADAL" clId="{9A235F19-1981-498E-BA97-5613F340D513}" dt="2024-06-10T14:14:45.715" v="575" actId="478"/>
          <ac:spMkLst>
            <pc:docMk/>
            <pc:sldMk cId="3998587978" sldId="2147481969"/>
            <ac:spMk id="103" creationId="{B8A2F7DC-E116-1BBE-5A6B-64C7E680F1BD}"/>
          </ac:spMkLst>
        </pc:spChg>
        <pc:spChg chg="mod">
          <ac:chgData name="Olha Perminova (UA)" userId="3a6a8ff4-9418-475a-a23d-87d0c5689c66" providerId="ADAL" clId="{9A235F19-1981-498E-BA97-5613F340D513}" dt="2024-06-10T14:22:08.074" v="894"/>
          <ac:spMkLst>
            <pc:docMk/>
            <pc:sldMk cId="3998587978" sldId="2147481969"/>
            <ac:spMk id="105" creationId="{B3484CF7-D13F-B1F4-7E8F-CF905D3AF219}"/>
          </ac:spMkLst>
        </pc:spChg>
        <pc:spChg chg="mod">
          <ac:chgData name="Olha Perminova (UA)" userId="3a6a8ff4-9418-475a-a23d-87d0c5689c66" providerId="ADAL" clId="{9A235F19-1981-498E-BA97-5613F340D513}" dt="2024-06-10T14:22:08.074" v="894"/>
          <ac:spMkLst>
            <pc:docMk/>
            <pc:sldMk cId="3998587978" sldId="2147481969"/>
            <ac:spMk id="106" creationId="{516D24E7-7B24-0104-F8C8-6A911A63032B}"/>
          </ac:spMkLst>
        </pc:spChg>
        <pc:spChg chg="del mod">
          <ac:chgData name="Olha Perminova (UA)" userId="3a6a8ff4-9418-475a-a23d-87d0c5689c66" providerId="ADAL" clId="{9A235F19-1981-498E-BA97-5613F340D513}" dt="2024-06-10T14:14:45.715" v="575" actId="478"/>
          <ac:spMkLst>
            <pc:docMk/>
            <pc:sldMk cId="3998587978" sldId="2147481969"/>
            <ac:spMk id="107" creationId="{EEF73D00-2BC0-1F09-AB22-997BF5B5AEDC}"/>
          </ac:spMkLst>
        </pc:spChg>
        <pc:spChg chg="add mod">
          <ac:chgData name="Olha Perminova (UA)" userId="3a6a8ff4-9418-475a-a23d-87d0c5689c66" providerId="ADAL" clId="{9A235F19-1981-498E-BA97-5613F340D513}" dt="2024-06-10T14:22:08.074" v="894"/>
          <ac:spMkLst>
            <pc:docMk/>
            <pc:sldMk cId="3998587978" sldId="2147481969"/>
            <ac:spMk id="108" creationId="{5F4D0EE5-A881-B0D8-8950-F80BED245C35}"/>
          </ac:spMkLst>
        </pc:spChg>
        <pc:spChg chg="add del mod">
          <ac:chgData name="Olha Perminova (UA)" userId="3a6a8ff4-9418-475a-a23d-87d0c5689c66" providerId="ADAL" clId="{9A235F19-1981-498E-BA97-5613F340D513}" dt="2024-06-10T14:48:24.967" v="989" actId="478"/>
          <ac:spMkLst>
            <pc:docMk/>
            <pc:sldMk cId="3998587978" sldId="2147481969"/>
            <ac:spMk id="110" creationId="{1A18C26C-F586-8657-9FF4-DF0BF88BDADC}"/>
          </ac:spMkLst>
        </pc:spChg>
        <pc:spChg chg="del mod">
          <ac:chgData name="Olha Perminova (UA)" userId="3a6a8ff4-9418-475a-a23d-87d0c5689c66" providerId="ADAL" clId="{9A235F19-1981-498E-BA97-5613F340D513}" dt="2024-06-10T14:14:45.715" v="575" actId="478"/>
          <ac:spMkLst>
            <pc:docMk/>
            <pc:sldMk cId="3998587978" sldId="2147481969"/>
            <ac:spMk id="111" creationId="{2BE907A4-1571-B9F0-D513-57AB05B745BE}"/>
          </ac:spMkLst>
        </pc:spChg>
        <pc:spChg chg="mod topLvl">
          <ac:chgData name="Olha Perminova (UA)" userId="3a6a8ff4-9418-475a-a23d-87d0c5689c66" providerId="ADAL" clId="{9A235F19-1981-498E-BA97-5613F340D513}" dt="2024-06-10T14:50:45.629" v="1166" actId="207"/>
          <ac:spMkLst>
            <pc:docMk/>
            <pc:sldMk cId="3998587978" sldId="2147481969"/>
            <ac:spMk id="113" creationId="{684C31D5-82AC-987C-A550-E7D8E25A5E6D}"/>
          </ac:spMkLst>
        </pc:spChg>
        <pc:spChg chg="mod topLvl">
          <ac:chgData name="Olha Perminova (UA)" userId="3a6a8ff4-9418-475a-a23d-87d0c5689c66" providerId="ADAL" clId="{9A235F19-1981-498E-BA97-5613F340D513}" dt="2024-06-10T14:50:49.337" v="1167" actId="207"/>
          <ac:spMkLst>
            <pc:docMk/>
            <pc:sldMk cId="3998587978" sldId="2147481969"/>
            <ac:spMk id="114" creationId="{5C1A735E-712C-C68B-BB32-3687589A4063}"/>
          </ac:spMkLst>
        </pc:spChg>
        <pc:spChg chg="del mod">
          <ac:chgData name="Olha Perminova (UA)" userId="3a6a8ff4-9418-475a-a23d-87d0c5689c66" providerId="ADAL" clId="{9A235F19-1981-498E-BA97-5613F340D513}" dt="2024-06-10T14:14:45.715" v="575" actId="478"/>
          <ac:spMkLst>
            <pc:docMk/>
            <pc:sldMk cId="3998587978" sldId="2147481969"/>
            <ac:spMk id="115" creationId="{54FE79A9-8473-DE77-44E6-2C986EF74B03}"/>
          </ac:spMkLst>
        </pc:spChg>
        <pc:spChg chg="mod topLvl">
          <ac:chgData name="Olha Perminova (UA)" userId="3a6a8ff4-9418-475a-a23d-87d0c5689c66" providerId="ADAL" clId="{9A235F19-1981-498E-BA97-5613F340D513}" dt="2024-06-10T14:51:06.702" v="1171" actId="207"/>
          <ac:spMkLst>
            <pc:docMk/>
            <pc:sldMk cId="3998587978" sldId="2147481969"/>
            <ac:spMk id="117" creationId="{500B6201-F997-E2F2-B8E6-E1EFF3246B14}"/>
          </ac:spMkLst>
        </pc:spChg>
        <pc:spChg chg="mod topLvl">
          <ac:chgData name="Olha Perminova (UA)" userId="3a6a8ff4-9418-475a-a23d-87d0c5689c66" providerId="ADAL" clId="{9A235F19-1981-498E-BA97-5613F340D513}" dt="2024-06-10T14:51:11.727" v="1172" actId="207"/>
          <ac:spMkLst>
            <pc:docMk/>
            <pc:sldMk cId="3998587978" sldId="2147481969"/>
            <ac:spMk id="118" creationId="{CB3A4046-F77C-FE09-6961-EBF93E16E703}"/>
          </ac:spMkLst>
        </pc:spChg>
        <pc:spChg chg="del">
          <ac:chgData name="Olha Perminova (UA)" userId="3a6a8ff4-9418-475a-a23d-87d0c5689c66" providerId="ADAL" clId="{9A235F19-1981-498E-BA97-5613F340D513}" dt="2024-06-10T14:14:45.715" v="575" actId="478"/>
          <ac:spMkLst>
            <pc:docMk/>
            <pc:sldMk cId="3998587978" sldId="2147481969"/>
            <ac:spMk id="119" creationId="{25857B8E-3D4F-1175-6C7E-C82281D0DFB2}"/>
          </ac:spMkLst>
        </pc:spChg>
        <pc:spChg chg="mod topLvl">
          <ac:chgData name="Olha Perminova (UA)" userId="3a6a8ff4-9418-475a-a23d-87d0c5689c66" providerId="ADAL" clId="{9A235F19-1981-498E-BA97-5613F340D513}" dt="2024-06-10T14:51:14.865" v="1173" actId="207"/>
          <ac:spMkLst>
            <pc:docMk/>
            <pc:sldMk cId="3998587978" sldId="2147481969"/>
            <ac:spMk id="121" creationId="{0C6D96B8-45C9-E7AF-CE7A-7926B50479BC}"/>
          </ac:spMkLst>
        </pc:spChg>
        <pc:spChg chg="mod topLvl">
          <ac:chgData name="Olha Perminova (UA)" userId="3a6a8ff4-9418-475a-a23d-87d0c5689c66" providerId="ADAL" clId="{9A235F19-1981-498E-BA97-5613F340D513}" dt="2024-06-10T14:51:17.817" v="1174" actId="207"/>
          <ac:spMkLst>
            <pc:docMk/>
            <pc:sldMk cId="3998587978" sldId="2147481969"/>
            <ac:spMk id="122" creationId="{75C53CB9-4BFE-45CF-5D20-6B20E2B83892}"/>
          </ac:spMkLst>
        </pc:spChg>
        <pc:spChg chg="del">
          <ac:chgData name="Olha Perminova (UA)" userId="3a6a8ff4-9418-475a-a23d-87d0c5689c66" providerId="ADAL" clId="{9A235F19-1981-498E-BA97-5613F340D513}" dt="2024-06-10T14:14:45.715" v="575" actId="478"/>
          <ac:spMkLst>
            <pc:docMk/>
            <pc:sldMk cId="3998587978" sldId="2147481969"/>
            <ac:spMk id="123" creationId="{E540FF3B-2049-3D2C-DC6C-0CAFC95DAB95}"/>
          </ac:spMkLst>
        </pc:spChg>
        <pc:spChg chg="mod topLvl">
          <ac:chgData name="Olha Perminova (UA)" userId="3a6a8ff4-9418-475a-a23d-87d0c5689c66" providerId="ADAL" clId="{9A235F19-1981-498E-BA97-5613F340D513}" dt="2024-06-10T14:51:24.427" v="1176" actId="207"/>
          <ac:spMkLst>
            <pc:docMk/>
            <pc:sldMk cId="3998587978" sldId="2147481969"/>
            <ac:spMk id="125" creationId="{84B92153-AB66-C681-88B5-B7EB190E8C25}"/>
          </ac:spMkLst>
        </pc:spChg>
        <pc:spChg chg="mod topLvl">
          <ac:chgData name="Olha Perminova (UA)" userId="3a6a8ff4-9418-475a-a23d-87d0c5689c66" providerId="ADAL" clId="{9A235F19-1981-498E-BA97-5613F340D513}" dt="2024-06-10T14:51:27.701" v="1177" actId="207"/>
          <ac:spMkLst>
            <pc:docMk/>
            <pc:sldMk cId="3998587978" sldId="2147481969"/>
            <ac:spMk id="126" creationId="{47E228DA-B553-5493-665C-44D1692A9D12}"/>
          </ac:spMkLst>
        </pc:spChg>
        <pc:spChg chg="del mod">
          <ac:chgData name="Olha Perminova (UA)" userId="3a6a8ff4-9418-475a-a23d-87d0c5689c66" providerId="ADAL" clId="{9A235F19-1981-498E-BA97-5613F340D513}" dt="2024-06-10T14:46:36.832" v="942" actId="478"/>
          <ac:spMkLst>
            <pc:docMk/>
            <pc:sldMk cId="3998587978" sldId="2147481969"/>
            <ac:spMk id="127" creationId="{FFE4CFE7-10FB-E0F9-AE54-A456443B207D}"/>
          </ac:spMkLst>
        </pc:spChg>
        <pc:spChg chg="del">
          <ac:chgData name="Olha Perminova (UA)" userId="3a6a8ff4-9418-475a-a23d-87d0c5689c66" providerId="ADAL" clId="{9A235F19-1981-498E-BA97-5613F340D513}" dt="2024-06-10T14:24:13.156" v="934" actId="478"/>
          <ac:spMkLst>
            <pc:docMk/>
            <pc:sldMk cId="3998587978" sldId="2147481969"/>
            <ac:spMk id="131" creationId="{6764AC4B-FEF3-2CCD-15D3-7FDF812B793E}"/>
          </ac:spMkLst>
        </pc:spChg>
        <pc:spChg chg="add mod">
          <ac:chgData name="Olha Perminova (UA)" userId="3a6a8ff4-9418-475a-a23d-87d0c5689c66" providerId="ADAL" clId="{9A235F19-1981-498E-BA97-5613F340D513}" dt="2024-06-10T14:54:47.497" v="1228" actId="14100"/>
          <ac:spMkLst>
            <pc:docMk/>
            <pc:sldMk cId="3998587978" sldId="2147481969"/>
            <ac:spMk id="134" creationId="{CFDEC673-F15A-A608-8775-B4A0A0928B31}"/>
          </ac:spMkLst>
        </pc:spChg>
        <pc:spChg chg="add mod">
          <ac:chgData name="Olha Perminova (UA)" userId="3a6a8ff4-9418-475a-a23d-87d0c5689c66" providerId="ADAL" clId="{9A235F19-1981-498E-BA97-5613F340D513}" dt="2024-06-10T14:54:47.497" v="1228" actId="14100"/>
          <ac:spMkLst>
            <pc:docMk/>
            <pc:sldMk cId="3998587978" sldId="2147481969"/>
            <ac:spMk id="136" creationId="{2828282F-656A-0349-78B5-C46022B059AE}"/>
          </ac:spMkLst>
        </pc:spChg>
        <pc:spChg chg="add mod">
          <ac:chgData name="Olha Perminova (UA)" userId="3a6a8ff4-9418-475a-a23d-87d0c5689c66" providerId="ADAL" clId="{9A235F19-1981-498E-BA97-5613F340D513}" dt="2024-06-10T14:54:47.497" v="1228" actId="14100"/>
          <ac:spMkLst>
            <pc:docMk/>
            <pc:sldMk cId="3998587978" sldId="2147481969"/>
            <ac:spMk id="137" creationId="{B47CA079-37BF-9902-F192-1A93144D5175}"/>
          </ac:spMkLst>
        </pc:spChg>
        <pc:spChg chg="add mod">
          <ac:chgData name="Olha Perminova (UA)" userId="3a6a8ff4-9418-475a-a23d-87d0c5689c66" providerId="ADAL" clId="{9A235F19-1981-498E-BA97-5613F340D513}" dt="2024-06-10T14:54:47.497" v="1228" actId="14100"/>
          <ac:spMkLst>
            <pc:docMk/>
            <pc:sldMk cId="3998587978" sldId="2147481969"/>
            <ac:spMk id="138" creationId="{B972725F-F05A-9AF8-A780-28AAAD7FFF00}"/>
          </ac:spMkLst>
        </pc:spChg>
        <pc:spChg chg="add del mod modVis">
          <ac:chgData name="Olha Perminova (UA)" userId="3a6a8ff4-9418-475a-a23d-87d0c5689c66" providerId="ADAL" clId="{9A235F19-1981-498E-BA97-5613F340D513}" dt="2024-06-10T14:48:40.376" v="1080"/>
          <ac:spMkLst>
            <pc:docMk/>
            <pc:sldMk cId="3998587978" sldId="2147481969"/>
            <ac:spMk id="139" creationId="{448E3C82-E0FF-E084-A157-79B46BDC24E8}"/>
          </ac:spMkLst>
        </pc:spChg>
        <pc:spChg chg="add del mod modVis">
          <ac:chgData name="Olha Perminova (UA)" userId="3a6a8ff4-9418-475a-a23d-87d0c5689c66" providerId="ADAL" clId="{9A235F19-1981-498E-BA97-5613F340D513}" dt="2024-06-10T14:48:44.556" v="1122"/>
          <ac:spMkLst>
            <pc:docMk/>
            <pc:sldMk cId="3998587978" sldId="2147481969"/>
            <ac:spMk id="140" creationId="{ED69CE99-F04F-DA70-BA06-7A13939980C3}"/>
          </ac:spMkLst>
        </pc:spChg>
        <pc:spChg chg="add mod">
          <ac:chgData name="Olha Perminova (UA)" userId="3a6a8ff4-9418-475a-a23d-87d0c5689c66" providerId="ADAL" clId="{9A235F19-1981-498E-BA97-5613F340D513}" dt="2024-06-10T14:54:47.497" v="1228" actId="14100"/>
          <ac:spMkLst>
            <pc:docMk/>
            <pc:sldMk cId="3998587978" sldId="2147481969"/>
            <ac:spMk id="141" creationId="{6E1D3BB9-1788-2704-DC25-F283CE60D0B3}"/>
          </ac:spMkLst>
        </pc:spChg>
        <pc:spChg chg="add del mod">
          <ac:chgData name="Olha Perminova (UA)" userId="3a6a8ff4-9418-475a-a23d-87d0c5689c66" providerId="ADAL" clId="{9A235F19-1981-498E-BA97-5613F340D513}" dt="2024-06-10T14:54:50.800" v="1229" actId="478"/>
          <ac:spMkLst>
            <pc:docMk/>
            <pc:sldMk cId="3998587978" sldId="2147481969"/>
            <ac:spMk id="142" creationId="{1CBFA2A5-FB2F-D4BA-3DF2-6E03149E729E}"/>
          </ac:spMkLst>
        </pc:spChg>
        <pc:spChg chg="add mod">
          <ac:chgData name="Olha Perminova (UA)" userId="3a6a8ff4-9418-475a-a23d-87d0c5689c66" providerId="ADAL" clId="{9A235F19-1981-498E-BA97-5613F340D513}" dt="2024-06-10T14:55:36.355" v="1248" actId="6549"/>
          <ac:spMkLst>
            <pc:docMk/>
            <pc:sldMk cId="3998587978" sldId="2147481969"/>
            <ac:spMk id="143" creationId="{5791E58A-C025-5D3A-CCC7-D729968B9DA2}"/>
          </ac:spMkLst>
        </pc:spChg>
        <pc:spChg chg="del mod">
          <ac:chgData name="Olha Perminova (UA)" userId="3a6a8ff4-9418-475a-a23d-87d0c5689c66" providerId="ADAL" clId="{9A235F19-1981-498E-BA97-5613F340D513}" dt="2024-06-10T14:14:45.715" v="575" actId="478"/>
          <ac:spMkLst>
            <pc:docMk/>
            <pc:sldMk cId="3998587978" sldId="2147481969"/>
            <ac:spMk id="149" creationId="{4F8D49D5-4873-CB69-4B18-8429A53BCC9A}"/>
          </ac:spMkLst>
        </pc:spChg>
        <pc:grpChg chg="add del mod">
          <ac:chgData name="Olha Perminova (UA)" userId="3a6a8ff4-9418-475a-a23d-87d0c5689c66" providerId="ADAL" clId="{9A235F19-1981-498E-BA97-5613F340D513}" dt="2024-06-10T14:21:24.343" v="806" actId="478"/>
          <ac:grpSpMkLst>
            <pc:docMk/>
            <pc:sldMk cId="3998587978" sldId="2147481969"/>
            <ac:grpSpMk id="14" creationId="{7F8D157E-B78E-7D15-14CB-D27BF0D1B1F7}"/>
          </ac:grpSpMkLst>
        </pc:grpChg>
        <pc:grpChg chg="del mod">
          <ac:chgData name="Olha Perminova (UA)" userId="3a6a8ff4-9418-475a-a23d-87d0c5689c66" providerId="ADAL" clId="{9A235F19-1981-498E-BA97-5613F340D513}" dt="2024-06-10T14:16:18.180" v="654" actId="165"/>
          <ac:grpSpMkLst>
            <pc:docMk/>
            <pc:sldMk cId="3998587978" sldId="2147481969"/>
            <ac:grpSpMk id="30" creationId="{C5C4599D-50B9-1AA7-BE9F-BC3736FC71F2}"/>
          </ac:grpSpMkLst>
        </pc:grpChg>
        <pc:grpChg chg="del mod">
          <ac:chgData name="Olha Perminova (UA)" userId="3a6a8ff4-9418-475a-a23d-87d0c5689c66" providerId="ADAL" clId="{9A235F19-1981-498E-BA97-5613F340D513}" dt="2024-06-10T14:16:18.180" v="654" actId="165"/>
          <ac:grpSpMkLst>
            <pc:docMk/>
            <pc:sldMk cId="3998587978" sldId="2147481969"/>
            <ac:grpSpMk id="46" creationId="{1324A672-D1F1-FD5A-72D1-48C43942DF8F}"/>
          </ac:grpSpMkLst>
        </pc:grpChg>
        <pc:grpChg chg="del mod">
          <ac:chgData name="Olha Perminova (UA)" userId="3a6a8ff4-9418-475a-a23d-87d0c5689c66" providerId="ADAL" clId="{9A235F19-1981-498E-BA97-5613F340D513}" dt="2024-06-10T14:16:18.180" v="654" actId="165"/>
          <ac:grpSpMkLst>
            <pc:docMk/>
            <pc:sldMk cId="3998587978" sldId="2147481969"/>
            <ac:grpSpMk id="49" creationId="{0D8D010A-64F6-3698-58B5-25707D7DF964}"/>
          </ac:grpSpMkLst>
        </pc:grpChg>
        <pc:grpChg chg="del mod">
          <ac:chgData name="Olha Perminova (UA)" userId="3a6a8ff4-9418-475a-a23d-87d0c5689c66" providerId="ADAL" clId="{9A235F19-1981-498E-BA97-5613F340D513}" dt="2024-06-10T14:16:18.180" v="654" actId="165"/>
          <ac:grpSpMkLst>
            <pc:docMk/>
            <pc:sldMk cId="3998587978" sldId="2147481969"/>
            <ac:grpSpMk id="52" creationId="{671860C4-AE27-9D15-0B63-1F0D44C755A1}"/>
          </ac:grpSpMkLst>
        </pc:grpChg>
        <pc:grpChg chg="del mod">
          <ac:chgData name="Olha Perminova (UA)" userId="3a6a8ff4-9418-475a-a23d-87d0c5689c66" providerId="ADAL" clId="{9A235F19-1981-498E-BA97-5613F340D513}" dt="2024-06-10T14:21:24.343" v="806" actId="478"/>
          <ac:grpSpMkLst>
            <pc:docMk/>
            <pc:sldMk cId="3998587978" sldId="2147481969"/>
            <ac:grpSpMk id="55" creationId="{980BD1CA-D4A1-DC53-347E-8B3166BB9160}"/>
          </ac:grpSpMkLst>
        </pc:grpChg>
        <pc:grpChg chg="del mod">
          <ac:chgData name="Olha Perminova (UA)" userId="3a6a8ff4-9418-475a-a23d-87d0c5689c66" providerId="ADAL" clId="{9A235F19-1981-498E-BA97-5613F340D513}" dt="2024-06-10T14:21:24.343" v="806" actId="478"/>
          <ac:grpSpMkLst>
            <pc:docMk/>
            <pc:sldMk cId="3998587978" sldId="2147481969"/>
            <ac:grpSpMk id="58" creationId="{26DED851-1CA6-CEBE-9BC7-3282413222E8}"/>
          </ac:grpSpMkLst>
        </pc:grpChg>
        <pc:grpChg chg="del mod">
          <ac:chgData name="Olha Perminova (UA)" userId="3a6a8ff4-9418-475a-a23d-87d0c5689c66" providerId="ADAL" clId="{9A235F19-1981-498E-BA97-5613F340D513}" dt="2024-06-10T14:21:24.343" v="806" actId="478"/>
          <ac:grpSpMkLst>
            <pc:docMk/>
            <pc:sldMk cId="3998587978" sldId="2147481969"/>
            <ac:grpSpMk id="61" creationId="{1CE48FF5-39DC-629B-7D3A-387472804D3D}"/>
          </ac:grpSpMkLst>
        </pc:grpChg>
        <pc:grpChg chg="del">
          <ac:chgData name="Olha Perminova (UA)" userId="3a6a8ff4-9418-475a-a23d-87d0c5689c66" providerId="ADAL" clId="{9A235F19-1981-498E-BA97-5613F340D513}" dt="2024-06-10T14:24:13.156" v="934" actId="478"/>
          <ac:grpSpMkLst>
            <pc:docMk/>
            <pc:sldMk cId="3998587978" sldId="2147481969"/>
            <ac:grpSpMk id="70" creationId="{89633096-6853-31FC-9D54-D6FD2D79A567}"/>
          </ac:grpSpMkLst>
        </pc:grpChg>
        <pc:grpChg chg="del mod">
          <ac:chgData name="Olha Perminova (UA)" userId="3a6a8ff4-9418-475a-a23d-87d0c5689c66" providerId="ADAL" clId="{9A235F19-1981-498E-BA97-5613F340D513}" dt="2024-06-10T14:16:03.919" v="650" actId="165"/>
          <ac:grpSpMkLst>
            <pc:docMk/>
            <pc:sldMk cId="3998587978" sldId="2147481969"/>
            <ac:grpSpMk id="71" creationId="{C05E4F0F-FB57-3CFE-9E92-93D6F012925D}"/>
          </ac:grpSpMkLst>
        </pc:grpChg>
        <pc:grpChg chg="add del mod">
          <ac:chgData name="Olha Perminova (UA)" userId="3a6a8ff4-9418-475a-a23d-87d0c5689c66" providerId="ADAL" clId="{9A235F19-1981-498E-BA97-5613F340D513}" dt="2024-06-10T14:47:34.250" v="952" actId="165"/>
          <ac:grpSpMkLst>
            <pc:docMk/>
            <pc:sldMk cId="3998587978" sldId="2147481969"/>
            <ac:grpSpMk id="83" creationId="{FB307459-1874-8169-EFFA-4D14D308BB08}"/>
          </ac:grpSpMkLst>
        </pc:grpChg>
        <pc:grpChg chg="add mod">
          <ac:chgData name="Olha Perminova (UA)" userId="3a6a8ff4-9418-475a-a23d-87d0c5689c66" providerId="ADAL" clId="{9A235F19-1981-498E-BA97-5613F340D513}" dt="2024-06-10T14:20:59.897" v="768" actId="1076"/>
          <ac:grpSpMkLst>
            <pc:docMk/>
            <pc:sldMk cId="3998587978" sldId="2147481969"/>
            <ac:grpSpMk id="85" creationId="{8942B4A7-B037-D953-3055-4B1C05D34065}"/>
          </ac:grpSpMkLst>
        </pc:grpChg>
        <pc:grpChg chg="add mod">
          <ac:chgData name="Olha Perminova (UA)" userId="3a6a8ff4-9418-475a-a23d-87d0c5689c66" providerId="ADAL" clId="{9A235F19-1981-498E-BA97-5613F340D513}" dt="2024-06-10T14:20:54.200" v="765" actId="554"/>
          <ac:grpSpMkLst>
            <pc:docMk/>
            <pc:sldMk cId="3998587978" sldId="2147481969"/>
            <ac:grpSpMk id="86" creationId="{A1ED5FC0-03AB-4FD5-B5A4-311BF7E24FA5}"/>
          </ac:grpSpMkLst>
        </pc:grpChg>
        <pc:grpChg chg="add mod topLvl">
          <ac:chgData name="Olha Perminova (UA)" userId="3a6a8ff4-9418-475a-a23d-87d0c5689c66" providerId="ADAL" clId="{9A235F19-1981-498E-BA97-5613F340D513}" dt="2024-06-10T14:23:01.539" v="901" actId="165"/>
          <ac:grpSpMkLst>
            <pc:docMk/>
            <pc:sldMk cId="3998587978" sldId="2147481969"/>
            <ac:grpSpMk id="87" creationId="{3E9CEFB6-7063-23FE-C68F-CE74EA719DEC}"/>
          </ac:grpSpMkLst>
        </pc:grpChg>
        <pc:grpChg chg="add mod">
          <ac:chgData name="Olha Perminova (UA)" userId="3a6a8ff4-9418-475a-a23d-87d0c5689c66" providerId="ADAL" clId="{9A235F19-1981-498E-BA97-5613F340D513}" dt="2024-06-10T14:20:52.366" v="764" actId="554"/>
          <ac:grpSpMkLst>
            <pc:docMk/>
            <pc:sldMk cId="3998587978" sldId="2147481969"/>
            <ac:grpSpMk id="88" creationId="{252DCC70-2CD2-A590-0C8D-95B507F7ABCE}"/>
          </ac:grpSpMkLst>
        </pc:grpChg>
        <pc:grpChg chg="add mod">
          <ac:chgData name="Olha Perminova (UA)" userId="3a6a8ff4-9418-475a-a23d-87d0c5689c66" providerId="ADAL" clId="{9A235F19-1981-498E-BA97-5613F340D513}" dt="2024-06-10T14:53:39.647" v="1214" actId="1037"/>
          <ac:grpSpMkLst>
            <pc:docMk/>
            <pc:sldMk cId="3998587978" sldId="2147481969"/>
            <ac:grpSpMk id="89" creationId="{488753B2-E69D-A02A-D079-8A62C0B593B5}"/>
          </ac:grpSpMkLst>
        </pc:grpChg>
        <pc:grpChg chg="add mod">
          <ac:chgData name="Olha Perminova (UA)" userId="3a6a8ff4-9418-475a-a23d-87d0c5689c66" providerId="ADAL" clId="{9A235F19-1981-498E-BA97-5613F340D513}" dt="2024-06-10T14:53:39.647" v="1214" actId="1037"/>
          <ac:grpSpMkLst>
            <pc:docMk/>
            <pc:sldMk cId="3998587978" sldId="2147481969"/>
            <ac:grpSpMk id="92" creationId="{A8F7375C-32A3-BB97-3BA1-E98792ECC3E4}"/>
          </ac:grpSpMkLst>
        </pc:grpChg>
        <pc:grpChg chg="add mod">
          <ac:chgData name="Olha Perminova (UA)" userId="3a6a8ff4-9418-475a-a23d-87d0c5689c66" providerId="ADAL" clId="{9A235F19-1981-498E-BA97-5613F340D513}" dt="2024-06-10T14:53:39.647" v="1214" actId="1037"/>
          <ac:grpSpMkLst>
            <pc:docMk/>
            <pc:sldMk cId="3998587978" sldId="2147481969"/>
            <ac:grpSpMk id="95" creationId="{4EEFDCDC-EBE9-5665-2952-5B1BD1A32D5D}"/>
          </ac:grpSpMkLst>
        </pc:grpChg>
        <pc:grpChg chg="add mod topLvl">
          <ac:chgData name="Olha Perminova (UA)" userId="3a6a8ff4-9418-475a-a23d-87d0c5689c66" providerId="ADAL" clId="{9A235F19-1981-498E-BA97-5613F340D513}" dt="2024-06-10T14:53:39.647" v="1214" actId="1037"/>
          <ac:grpSpMkLst>
            <pc:docMk/>
            <pc:sldMk cId="3998587978" sldId="2147481969"/>
            <ac:grpSpMk id="98" creationId="{88BE07E1-AD47-FE58-C6C5-7DA7BED804DC}"/>
          </ac:grpSpMkLst>
        </pc:grpChg>
        <pc:grpChg chg="add del mod">
          <ac:chgData name="Olha Perminova (UA)" userId="3a6a8ff4-9418-475a-a23d-87d0c5689c66" providerId="ADAL" clId="{9A235F19-1981-498E-BA97-5613F340D513}" dt="2024-06-10T14:23:01.539" v="901" actId="165"/>
          <ac:grpSpMkLst>
            <pc:docMk/>
            <pc:sldMk cId="3998587978" sldId="2147481969"/>
            <ac:grpSpMk id="102" creationId="{65615B9B-AEFF-E75C-9E59-E5D2C1A6C39A}"/>
          </ac:grpSpMkLst>
        </pc:grpChg>
        <pc:grpChg chg="add mod">
          <ac:chgData name="Olha Perminova (UA)" userId="3a6a8ff4-9418-475a-a23d-87d0c5689c66" providerId="ADAL" clId="{9A235F19-1981-498E-BA97-5613F340D513}" dt="2024-06-10T14:22:08.074" v="894"/>
          <ac:grpSpMkLst>
            <pc:docMk/>
            <pc:sldMk cId="3998587978" sldId="2147481969"/>
            <ac:grpSpMk id="104" creationId="{880F8A21-5B82-3560-8D5D-2FD7D58C765F}"/>
          </ac:grpSpMkLst>
        </pc:grpChg>
        <pc:grpChg chg="add del mod">
          <ac:chgData name="Olha Perminova (UA)" userId="3a6a8ff4-9418-475a-a23d-87d0c5689c66" providerId="ADAL" clId="{9A235F19-1981-498E-BA97-5613F340D513}" dt="2024-06-10T14:23:01.539" v="901" actId="165"/>
          <ac:grpSpMkLst>
            <pc:docMk/>
            <pc:sldMk cId="3998587978" sldId="2147481969"/>
            <ac:grpSpMk id="109" creationId="{DAC4680B-1131-8085-0FF8-843E2E87F21F}"/>
          </ac:grpSpMkLst>
        </pc:grpChg>
        <pc:grpChg chg="add del mod">
          <ac:chgData name="Olha Perminova (UA)" userId="3a6a8ff4-9418-475a-a23d-87d0c5689c66" providerId="ADAL" clId="{9A235F19-1981-498E-BA97-5613F340D513}" dt="2024-06-10T14:47:34.250" v="952" actId="165"/>
          <ac:grpSpMkLst>
            <pc:docMk/>
            <pc:sldMk cId="3998587978" sldId="2147481969"/>
            <ac:grpSpMk id="112" creationId="{13B43323-84BD-E7A6-1633-76638E5D00D8}"/>
          </ac:grpSpMkLst>
        </pc:grpChg>
        <pc:grpChg chg="add del mod">
          <ac:chgData name="Olha Perminova (UA)" userId="3a6a8ff4-9418-475a-a23d-87d0c5689c66" providerId="ADAL" clId="{9A235F19-1981-498E-BA97-5613F340D513}" dt="2024-06-10T14:47:34.250" v="952" actId="165"/>
          <ac:grpSpMkLst>
            <pc:docMk/>
            <pc:sldMk cId="3998587978" sldId="2147481969"/>
            <ac:grpSpMk id="116" creationId="{054E125B-6AEC-5978-BB3D-04F18FE83DC3}"/>
          </ac:grpSpMkLst>
        </pc:grpChg>
        <pc:grpChg chg="add del mod">
          <ac:chgData name="Olha Perminova (UA)" userId="3a6a8ff4-9418-475a-a23d-87d0c5689c66" providerId="ADAL" clId="{9A235F19-1981-498E-BA97-5613F340D513}" dt="2024-06-10T14:47:34.250" v="952" actId="165"/>
          <ac:grpSpMkLst>
            <pc:docMk/>
            <pc:sldMk cId="3998587978" sldId="2147481969"/>
            <ac:grpSpMk id="120" creationId="{7FA26ACD-A827-D399-B469-1940308093B2}"/>
          </ac:grpSpMkLst>
        </pc:grpChg>
        <pc:grpChg chg="add del mod">
          <ac:chgData name="Olha Perminova (UA)" userId="3a6a8ff4-9418-475a-a23d-87d0c5689c66" providerId="ADAL" clId="{9A235F19-1981-498E-BA97-5613F340D513}" dt="2024-06-10T14:47:34.250" v="952" actId="165"/>
          <ac:grpSpMkLst>
            <pc:docMk/>
            <pc:sldMk cId="3998587978" sldId="2147481969"/>
            <ac:grpSpMk id="124" creationId="{24B9EDC6-52B8-F719-0D34-0D5ED21CA4D2}"/>
          </ac:grpSpMkLst>
        </pc:grpChg>
        <pc:grpChg chg="add mod">
          <ac:chgData name="Olha Perminova (UA)" userId="3a6a8ff4-9418-475a-a23d-87d0c5689c66" providerId="ADAL" clId="{9A235F19-1981-498E-BA97-5613F340D513}" dt="2024-06-10T14:54:34.406" v="1227" actId="552"/>
          <ac:grpSpMkLst>
            <pc:docMk/>
            <pc:sldMk cId="3998587978" sldId="2147481969"/>
            <ac:grpSpMk id="128" creationId="{1BBF61EB-54A3-8665-D91C-30DDDF4098C8}"/>
          </ac:grpSpMkLst>
        </pc:grpChg>
        <pc:grpChg chg="add mod">
          <ac:chgData name="Olha Perminova (UA)" userId="3a6a8ff4-9418-475a-a23d-87d0c5689c66" providerId="ADAL" clId="{9A235F19-1981-498E-BA97-5613F340D513}" dt="2024-06-10T14:54:34.406" v="1227" actId="552"/>
          <ac:grpSpMkLst>
            <pc:docMk/>
            <pc:sldMk cId="3998587978" sldId="2147481969"/>
            <ac:grpSpMk id="129" creationId="{E19A6BF1-A235-FF4C-2DB0-D32164F9C357}"/>
          </ac:grpSpMkLst>
        </pc:grpChg>
        <pc:grpChg chg="add mod">
          <ac:chgData name="Olha Perminova (UA)" userId="3a6a8ff4-9418-475a-a23d-87d0c5689c66" providerId="ADAL" clId="{9A235F19-1981-498E-BA97-5613F340D513}" dt="2024-06-10T14:54:34.406" v="1227" actId="552"/>
          <ac:grpSpMkLst>
            <pc:docMk/>
            <pc:sldMk cId="3998587978" sldId="2147481969"/>
            <ac:grpSpMk id="130" creationId="{FAD7FD5B-8D9F-0AF3-470D-AAC77EE25811}"/>
          </ac:grpSpMkLst>
        </pc:grpChg>
        <pc:grpChg chg="add mod">
          <ac:chgData name="Olha Perminova (UA)" userId="3a6a8ff4-9418-475a-a23d-87d0c5689c66" providerId="ADAL" clId="{9A235F19-1981-498E-BA97-5613F340D513}" dt="2024-06-10T14:54:34.406" v="1227" actId="552"/>
          <ac:grpSpMkLst>
            <pc:docMk/>
            <pc:sldMk cId="3998587978" sldId="2147481969"/>
            <ac:grpSpMk id="132" creationId="{916DCBBB-40AC-CB72-D782-374D03857D2F}"/>
          </ac:grpSpMkLst>
        </pc:grpChg>
        <pc:grpChg chg="add mod">
          <ac:chgData name="Olha Perminova (UA)" userId="3a6a8ff4-9418-475a-a23d-87d0c5689c66" providerId="ADAL" clId="{9A235F19-1981-498E-BA97-5613F340D513}" dt="2024-06-10T14:54:34.406" v="1227" actId="552"/>
          <ac:grpSpMkLst>
            <pc:docMk/>
            <pc:sldMk cId="3998587978" sldId="2147481969"/>
            <ac:grpSpMk id="133" creationId="{4C2AFF10-FE6F-4ADE-CB07-1E4A03BD9D16}"/>
          </ac:grpSpMkLst>
        </pc:grpChg>
        <pc:graphicFrameChg chg="mod">
          <ac:chgData name="Olha Perminova (UA)" userId="3a6a8ff4-9418-475a-a23d-87d0c5689c66" providerId="ADAL" clId="{9A235F19-1981-498E-BA97-5613F340D513}" dt="2024-06-10T14:48:58.471" v="1145"/>
          <ac:graphicFrameMkLst>
            <pc:docMk/>
            <pc:sldMk cId="3998587978" sldId="2147481969"/>
            <ac:graphicFrameMk id="18" creationId="{B17D7669-20A3-7481-8F23-CD69449C9745}"/>
          </ac:graphicFrameMkLst>
        </pc:graphicFrameChg>
      </pc:sldChg>
    </pc:docChg>
  </pc:docChgLst>
  <pc:docChgLst>
    <pc:chgData name="Sindija Kirsteine (LV)" userId="S::sindija.kirsteine@pwc.com::5f25501a-2215-4bb3-9d9c-8d1484ffa7c1" providerId="AD" clId="Web-{A9C07906-ABAB-3479-47CF-AF5DA4371241}"/>
    <pc:docChg chg="modSld">
      <pc:chgData name="Sindija Kirsteine (LV)" userId="S::sindija.kirsteine@pwc.com::5f25501a-2215-4bb3-9d9c-8d1484ffa7c1" providerId="AD" clId="Web-{A9C07906-ABAB-3479-47CF-AF5DA4371241}" dt="2024-06-10T06:10:45.171" v="4"/>
      <pc:docMkLst>
        <pc:docMk/>
      </pc:docMkLst>
      <pc:sldChg chg="modSp delCm modCm">
        <pc:chgData name="Sindija Kirsteine (LV)" userId="S::sindija.kirsteine@pwc.com::5f25501a-2215-4bb3-9d9c-8d1484ffa7c1" providerId="AD" clId="Web-{A9C07906-ABAB-3479-47CF-AF5DA4371241}" dt="2024-06-10T06:10:45.171" v="4"/>
        <pc:sldMkLst>
          <pc:docMk/>
          <pc:sldMk cId="1076096228" sldId="2147481883"/>
        </pc:sldMkLst>
        <pc:spChg chg="mod">
          <ac:chgData name="Sindija Kirsteine (LV)" userId="S::sindija.kirsteine@pwc.com::5f25501a-2215-4bb3-9d9c-8d1484ffa7c1" providerId="AD" clId="Web-{A9C07906-ABAB-3479-47CF-AF5DA4371241}" dt="2024-06-10T06:10:45.124" v="3" actId="20577"/>
          <ac:spMkLst>
            <pc:docMk/>
            <pc:sldMk cId="1076096228" sldId="2147481883"/>
            <ac:spMk id="7" creationId="{8955B2C7-F22E-6F52-733B-63ECB21657CB}"/>
          </ac:spMkLst>
        </pc:spChg>
        <pc:extLst>
          <p:ext xmlns:p="http://schemas.openxmlformats.org/presentationml/2006/main" uri="{D6D511B9-2390-475A-947B-AFAB55BFBCF1}">
            <pc226:cmChg xmlns:pc226="http://schemas.microsoft.com/office/powerpoint/2022/06/main/command" chg="del mod">
              <pc226:chgData name="Sindija Kirsteine (LV)" userId="S::sindija.kirsteine@pwc.com::5f25501a-2215-4bb3-9d9c-8d1484ffa7c1" providerId="AD" clId="Web-{A9C07906-ABAB-3479-47CF-AF5DA4371241}" dt="2024-06-10T06:10:45.171" v="4"/>
              <pc2:cmMkLst xmlns:pc2="http://schemas.microsoft.com/office/powerpoint/2019/9/main/command">
                <pc:docMk/>
                <pc:sldMk cId="1076096228" sldId="2147481883"/>
                <pc2:cmMk id="{707E228F-5D4F-4CF3-9C8B-94FC641A42B0}"/>
              </pc2:cmMkLst>
            </pc226:cmChg>
          </p:ext>
        </pc:extLst>
      </pc:sldChg>
    </pc:docChg>
  </pc:docChgLst>
  <pc:docChgLst>
    <pc:chgData name="Kateryna Levchuk (UA)" userId="S::kateryna.levchuk@pwc.com::5dbb0cbd-4dc1-41d4-910d-5f884aef466d" providerId="AD" clId="Web-{89694F84-7348-D6C0-79E4-C0B3F9EA4431}"/>
    <pc:docChg chg="modSld">
      <pc:chgData name="Kateryna Levchuk (UA)" userId="S::kateryna.levchuk@pwc.com::5dbb0cbd-4dc1-41d4-910d-5f884aef466d" providerId="AD" clId="Web-{89694F84-7348-D6C0-79E4-C0B3F9EA4431}" dt="2024-06-10T09:17:33.629" v="111"/>
      <pc:docMkLst>
        <pc:docMk/>
      </pc:docMkLst>
      <pc:sldChg chg="addSp delSp modSp">
        <pc:chgData name="Kateryna Levchuk (UA)" userId="S::kateryna.levchuk@pwc.com::5dbb0cbd-4dc1-41d4-910d-5f884aef466d" providerId="AD" clId="Web-{89694F84-7348-D6C0-79E4-C0B3F9EA4431}" dt="2024-06-10T09:13:44.044" v="77"/>
        <pc:sldMkLst>
          <pc:docMk/>
          <pc:sldMk cId="0" sldId="317"/>
        </pc:sldMkLst>
        <pc:spChg chg="mod topLvl">
          <ac:chgData name="Kateryna Levchuk (UA)" userId="S::kateryna.levchuk@pwc.com::5dbb0cbd-4dc1-41d4-910d-5f884aef466d" providerId="AD" clId="Web-{89694F84-7348-D6C0-79E4-C0B3F9EA4431}" dt="2024-06-10T09:13:31.903" v="76" actId="1076"/>
          <ac:spMkLst>
            <pc:docMk/>
            <pc:sldMk cId="0" sldId="317"/>
            <ac:spMk id="5" creationId="{811FBC76-38A1-3D0C-CA42-D9229C2EBEB2}"/>
          </ac:spMkLst>
        </pc:spChg>
        <pc:spChg chg="mod topLvl">
          <ac:chgData name="Kateryna Levchuk (UA)" userId="S::kateryna.levchuk@pwc.com::5dbb0cbd-4dc1-41d4-910d-5f884aef466d" providerId="AD" clId="Web-{89694F84-7348-D6C0-79E4-C0B3F9EA4431}" dt="2024-06-10T09:13:31.872" v="75" actId="1076"/>
          <ac:spMkLst>
            <pc:docMk/>
            <pc:sldMk cId="0" sldId="317"/>
            <ac:spMk id="6" creationId="{854733CA-77D5-53D8-34FD-33C7350DC9E9}"/>
          </ac:spMkLst>
        </pc:spChg>
        <pc:spChg chg="mod topLvl">
          <ac:chgData name="Kateryna Levchuk (UA)" userId="S::kateryna.levchuk@pwc.com::5dbb0cbd-4dc1-41d4-910d-5f884aef466d" providerId="AD" clId="Web-{89694F84-7348-D6C0-79E4-C0B3F9EA4431}" dt="2024-06-10T09:13:31.747" v="72" actId="1076"/>
          <ac:spMkLst>
            <pc:docMk/>
            <pc:sldMk cId="0" sldId="317"/>
            <ac:spMk id="7" creationId="{BAE5EC89-5375-5422-44C1-548532963130}"/>
          </ac:spMkLst>
        </pc:spChg>
        <pc:spChg chg="mod topLvl">
          <ac:chgData name="Kateryna Levchuk (UA)" userId="S::kateryna.levchuk@pwc.com::5dbb0cbd-4dc1-41d4-910d-5f884aef466d" providerId="AD" clId="Web-{89694F84-7348-D6C0-79E4-C0B3F9EA4431}" dt="2024-06-10T09:13:31.778" v="73" actId="1076"/>
          <ac:spMkLst>
            <pc:docMk/>
            <pc:sldMk cId="0" sldId="317"/>
            <ac:spMk id="8" creationId="{7922B9AC-D06F-291B-14D6-CC66BCC27C1C}"/>
          </ac:spMkLst>
        </pc:spChg>
        <pc:spChg chg="mod topLvl">
          <ac:chgData name="Kateryna Levchuk (UA)" userId="S::kateryna.levchuk@pwc.com::5dbb0cbd-4dc1-41d4-910d-5f884aef466d" providerId="AD" clId="Web-{89694F84-7348-D6C0-79E4-C0B3F9EA4431}" dt="2024-06-10T09:13:31.841" v="74" actId="1076"/>
          <ac:spMkLst>
            <pc:docMk/>
            <pc:sldMk cId="0" sldId="317"/>
            <ac:spMk id="9" creationId="{3EEFE46F-1E14-3996-0E3A-8704BA16695C}"/>
          </ac:spMkLst>
        </pc:spChg>
        <pc:spChg chg="mod topLvl">
          <ac:chgData name="Kateryna Levchuk (UA)" userId="S::kateryna.levchuk@pwc.com::5dbb0cbd-4dc1-41d4-910d-5f884aef466d" providerId="AD" clId="Web-{89694F84-7348-D6C0-79E4-C0B3F9EA4431}" dt="2024-06-10T09:11:56.478" v="63"/>
          <ac:spMkLst>
            <pc:docMk/>
            <pc:sldMk cId="0" sldId="317"/>
            <ac:spMk id="10" creationId="{7C153D51-E589-669E-2102-30184770539A}"/>
          </ac:spMkLst>
        </pc:spChg>
        <pc:spChg chg="del">
          <ac:chgData name="Kateryna Levchuk (UA)" userId="S::kateryna.levchuk@pwc.com::5dbb0cbd-4dc1-41d4-910d-5f884aef466d" providerId="AD" clId="Web-{89694F84-7348-D6C0-79E4-C0B3F9EA4431}" dt="2024-06-10T09:01:25.317" v="40"/>
          <ac:spMkLst>
            <pc:docMk/>
            <pc:sldMk cId="0" sldId="317"/>
            <ac:spMk id="11" creationId="{CA5D8FF2-E36A-CFBC-2EF3-7BE51989331D}"/>
          </ac:spMkLst>
        </pc:spChg>
        <pc:spChg chg="del">
          <ac:chgData name="Kateryna Levchuk (UA)" userId="S::kateryna.levchuk@pwc.com::5dbb0cbd-4dc1-41d4-910d-5f884aef466d" providerId="AD" clId="Web-{89694F84-7348-D6C0-79E4-C0B3F9EA4431}" dt="2024-06-10T09:05:28.138" v="43"/>
          <ac:spMkLst>
            <pc:docMk/>
            <pc:sldMk cId="0" sldId="317"/>
            <ac:spMk id="12" creationId="{59783A96-B5FE-DDBB-D9D0-8B2BC464F04F}"/>
          </ac:spMkLst>
        </pc:spChg>
        <pc:spChg chg="add mod">
          <ac:chgData name="Kateryna Levchuk (UA)" userId="S::kateryna.levchuk@pwc.com::5dbb0cbd-4dc1-41d4-910d-5f884aef466d" providerId="AD" clId="Web-{89694F84-7348-D6C0-79E4-C0B3F9EA4431}" dt="2024-06-10T09:13:11.981" v="71" actId="1076"/>
          <ac:spMkLst>
            <pc:docMk/>
            <pc:sldMk cId="0" sldId="317"/>
            <ac:spMk id="15" creationId="{31A2804C-4571-7FEE-08F8-B950DFA9EE6A}"/>
          </ac:spMkLst>
        </pc:spChg>
        <pc:spChg chg="mod">
          <ac:chgData name="Kateryna Levchuk (UA)" userId="S::kateryna.levchuk@pwc.com::5dbb0cbd-4dc1-41d4-910d-5f884aef466d" providerId="AD" clId="Web-{89694F84-7348-D6C0-79E4-C0B3F9EA4431}" dt="2024-06-10T09:05:42.828" v="46" actId="20577"/>
          <ac:spMkLst>
            <pc:docMk/>
            <pc:sldMk cId="0" sldId="317"/>
            <ac:spMk id="21" creationId="{81BA8ACB-F717-622A-8E55-7DDEAFC69175}"/>
          </ac:spMkLst>
        </pc:spChg>
        <pc:grpChg chg="del mod">
          <ac:chgData name="Kateryna Levchuk (UA)" userId="S::kateryna.levchuk@pwc.com::5dbb0cbd-4dc1-41d4-910d-5f884aef466d" providerId="AD" clId="Web-{89694F84-7348-D6C0-79E4-C0B3F9EA4431}" dt="2024-06-10T09:11:56.478" v="63"/>
          <ac:grpSpMkLst>
            <pc:docMk/>
            <pc:sldMk cId="0" sldId="317"/>
            <ac:grpSpMk id="2" creationId="{7DD15C27-0EEF-6252-C492-2DB4D44A4344}"/>
          </ac:grpSpMkLst>
        </pc:grpChg>
        <pc:grpChg chg="add">
          <ac:chgData name="Kateryna Levchuk (UA)" userId="S::kateryna.levchuk@pwc.com::5dbb0cbd-4dc1-41d4-910d-5f884aef466d" providerId="AD" clId="Web-{89694F84-7348-D6C0-79E4-C0B3F9EA4431}" dt="2024-06-10T09:13:44.044" v="77"/>
          <ac:grpSpMkLst>
            <pc:docMk/>
            <pc:sldMk cId="0" sldId="317"/>
            <ac:grpSpMk id="16" creationId="{4D2927F5-FDFD-6294-32A1-D2C0E893BC44}"/>
          </ac:grpSpMkLst>
        </pc:grpChg>
        <pc:cxnChg chg="del">
          <ac:chgData name="Kateryna Levchuk (UA)" userId="S::kateryna.levchuk@pwc.com::5dbb0cbd-4dc1-41d4-910d-5f884aef466d" providerId="AD" clId="Web-{89694F84-7348-D6C0-79E4-C0B3F9EA4431}" dt="2024-06-10T09:05:45.419" v="47"/>
          <ac:cxnSpMkLst>
            <pc:docMk/>
            <pc:sldMk cId="0" sldId="317"/>
            <ac:cxnSpMk id="14" creationId="{65702FDC-13D4-230D-4AE7-857EDCD012F2}"/>
          </ac:cxnSpMkLst>
        </pc:cxnChg>
      </pc:sldChg>
      <pc:sldChg chg="addSp delSp">
        <pc:chgData name="Kateryna Levchuk (UA)" userId="S::kateryna.levchuk@pwc.com::5dbb0cbd-4dc1-41d4-910d-5f884aef466d" providerId="AD" clId="Web-{89694F84-7348-D6C0-79E4-C0B3F9EA4431}" dt="2024-06-10T09:14:53.249" v="84"/>
        <pc:sldMkLst>
          <pc:docMk/>
          <pc:sldMk cId="12612729" sldId="761"/>
        </pc:sldMkLst>
        <pc:grpChg chg="del">
          <ac:chgData name="Kateryna Levchuk (UA)" userId="S::kateryna.levchuk@pwc.com::5dbb0cbd-4dc1-41d4-910d-5f884aef466d" providerId="AD" clId="Web-{89694F84-7348-D6C0-79E4-C0B3F9EA4431}" dt="2024-06-10T09:14:27.561" v="80"/>
          <ac:grpSpMkLst>
            <pc:docMk/>
            <pc:sldMk cId="12612729" sldId="761"/>
            <ac:grpSpMk id="12" creationId="{075ADFF6-DF93-E786-67DB-96E9161F3009}"/>
          </ac:grpSpMkLst>
        </pc:grpChg>
        <pc:grpChg chg="add">
          <ac:chgData name="Kateryna Levchuk (UA)" userId="S::kateryna.levchuk@pwc.com::5dbb0cbd-4dc1-41d4-910d-5f884aef466d" providerId="AD" clId="Web-{89694F84-7348-D6C0-79E4-C0B3F9EA4431}" dt="2024-06-10T09:14:53.249" v="84"/>
          <ac:grpSpMkLst>
            <pc:docMk/>
            <pc:sldMk cId="12612729" sldId="761"/>
            <ac:grpSpMk id="20" creationId="{FB3BEC61-025B-6D0D-E17D-745069E934D3}"/>
          </ac:grpSpMkLst>
        </pc:grpChg>
      </pc:sldChg>
      <pc:sldChg chg="addSp delSp">
        <pc:chgData name="Kateryna Levchuk (UA)" userId="S::kateryna.levchuk@pwc.com::5dbb0cbd-4dc1-41d4-910d-5f884aef466d" providerId="AD" clId="Web-{89694F84-7348-D6C0-79E4-C0B3F9EA4431}" dt="2024-06-10T09:15:25.985" v="88"/>
        <pc:sldMkLst>
          <pc:docMk/>
          <pc:sldMk cId="2326445928" sldId="764"/>
        </pc:sldMkLst>
        <pc:grpChg chg="del">
          <ac:chgData name="Kateryna Levchuk (UA)" userId="S::kateryna.levchuk@pwc.com::5dbb0cbd-4dc1-41d4-910d-5f884aef466d" providerId="AD" clId="Web-{89694F84-7348-D6C0-79E4-C0B3F9EA4431}" dt="2024-06-10T09:15:19.532" v="87"/>
          <ac:grpSpMkLst>
            <pc:docMk/>
            <pc:sldMk cId="2326445928" sldId="764"/>
            <ac:grpSpMk id="15" creationId="{8BEC1D25-1C62-3C3C-097B-F25E500AE7CA}"/>
          </ac:grpSpMkLst>
        </pc:grpChg>
        <pc:grpChg chg="add">
          <ac:chgData name="Kateryna Levchuk (UA)" userId="S::kateryna.levchuk@pwc.com::5dbb0cbd-4dc1-41d4-910d-5f884aef466d" providerId="AD" clId="Web-{89694F84-7348-D6C0-79E4-C0B3F9EA4431}" dt="2024-06-10T09:15:25.985" v="88"/>
          <ac:grpSpMkLst>
            <pc:docMk/>
            <pc:sldMk cId="2326445928" sldId="764"/>
            <ac:grpSpMk id="29" creationId="{4EF30B58-5B05-2B67-0AC2-1ECB4FBF171A}"/>
          </ac:grpSpMkLst>
        </pc:grpChg>
      </pc:sldChg>
      <pc:sldChg chg="addSp delSp">
        <pc:chgData name="Kateryna Levchuk (UA)" userId="S::kateryna.levchuk@pwc.com::5dbb0cbd-4dc1-41d4-910d-5f884aef466d" providerId="AD" clId="Web-{89694F84-7348-D6C0-79E4-C0B3F9EA4431}" dt="2024-06-10T09:14:56.861" v="85"/>
        <pc:sldMkLst>
          <pc:docMk/>
          <pc:sldMk cId="2731229360" sldId="2147481895"/>
        </pc:sldMkLst>
        <pc:grpChg chg="del">
          <ac:chgData name="Kateryna Levchuk (UA)" userId="S::kateryna.levchuk@pwc.com::5dbb0cbd-4dc1-41d4-910d-5f884aef466d" providerId="AD" clId="Web-{89694F84-7348-D6C0-79E4-C0B3F9EA4431}" dt="2024-06-10T09:14:33.921" v="81"/>
          <ac:grpSpMkLst>
            <pc:docMk/>
            <pc:sldMk cId="2731229360" sldId="2147481895"/>
            <ac:grpSpMk id="16" creationId="{9A690DFF-F5A3-BA45-3611-03F7B2D90D7E}"/>
          </ac:grpSpMkLst>
        </pc:grpChg>
        <pc:grpChg chg="add">
          <ac:chgData name="Kateryna Levchuk (UA)" userId="S::kateryna.levchuk@pwc.com::5dbb0cbd-4dc1-41d4-910d-5f884aef466d" providerId="AD" clId="Web-{89694F84-7348-D6C0-79E4-C0B3F9EA4431}" dt="2024-06-10T09:14:56.861" v="85"/>
          <ac:grpSpMkLst>
            <pc:docMk/>
            <pc:sldMk cId="2731229360" sldId="2147481895"/>
            <ac:grpSpMk id="28" creationId="{B2BD5B18-D144-5FFC-3A18-87947608F67B}"/>
          </ac:grpSpMkLst>
        </pc:grpChg>
      </pc:sldChg>
      <pc:sldChg chg="addSp delSp">
        <pc:chgData name="Kateryna Levchuk (UA)" userId="S::kateryna.levchuk@pwc.com::5dbb0cbd-4dc1-41d4-910d-5f884aef466d" providerId="AD" clId="Web-{89694F84-7348-D6C0-79E4-C0B3F9EA4431}" dt="2024-06-10T09:14:46.765" v="82"/>
        <pc:sldMkLst>
          <pc:docMk/>
          <pc:sldMk cId="3817097256" sldId="2147481898"/>
        </pc:sldMkLst>
        <pc:grpChg chg="del">
          <ac:chgData name="Kateryna Levchuk (UA)" userId="S::kateryna.levchuk@pwc.com::5dbb0cbd-4dc1-41d4-910d-5f884aef466d" providerId="AD" clId="Web-{89694F84-7348-D6C0-79E4-C0B3F9EA4431}" dt="2024-06-10T09:14:22.702" v="78"/>
          <ac:grpSpMkLst>
            <pc:docMk/>
            <pc:sldMk cId="3817097256" sldId="2147481898"/>
            <ac:grpSpMk id="6" creationId="{E4E12CDE-063B-643C-0E17-DA8F84BAEE7F}"/>
          </ac:grpSpMkLst>
        </pc:grpChg>
        <pc:grpChg chg="add">
          <ac:chgData name="Kateryna Levchuk (UA)" userId="S::kateryna.levchuk@pwc.com::5dbb0cbd-4dc1-41d4-910d-5f884aef466d" providerId="AD" clId="Web-{89694F84-7348-D6C0-79E4-C0B3F9EA4431}" dt="2024-06-10T09:14:46.765" v="82"/>
          <ac:grpSpMkLst>
            <pc:docMk/>
            <pc:sldMk cId="3817097256" sldId="2147481898"/>
            <ac:grpSpMk id="40" creationId="{50EC229A-DFC3-CED2-E0F9-218064EDB3F4}"/>
          </ac:grpSpMkLst>
        </pc:grpChg>
      </pc:sldChg>
      <pc:sldChg chg="addSp delSp">
        <pc:chgData name="Kateryna Levchuk (UA)" userId="S::kateryna.levchuk@pwc.com::5dbb0cbd-4dc1-41d4-910d-5f884aef466d" providerId="AD" clId="Web-{89694F84-7348-D6C0-79E4-C0B3F9EA4431}" dt="2024-06-10T09:14:50.656" v="83"/>
        <pc:sldMkLst>
          <pc:docMk/>
          <pc:sldMk cId="3128847407" sldId="2147481907"/>
        </pc:sldMkLst>
        <pc:grpChg chg="del">
          <ac:chgData name="Kateryna Levchuk (UA)" userId="S::kateryna.levchuk@pwc.com::5dbb0cbd-4dc1-41d4-910d-5f884aef466d" providerId="AD" clId="Web-{89694F84-7348-D6C0-79E4-C0B3F9EA4431}" dt="2024-06-10T09:14:25.092" v="79"/>
          <ac:grpSpMkLst>
            <pc:docMk/>
            <pc:sldMk cId="3128847407" sldId="2147481907"/>
            <ac:grpSpMk id="5" creationId="{AE591392-AD16-8406-4F83-751B2E4413AF}"/>
          </ac:grpSpMkLst>
        </pc:grpChg>
        <pc:grpChg chg="add">
          <ac:chgData name="Kateryna Levchuk (UA)" userId="S::kateryna.levchuk@pwc.com::5dbb0cbd-4dc1-41d4-910d-5f884aef466d" providerId="AD" clId="Web-{89694F84-7348-D6C0-79E4-C0B3F9EA4431}" dt="2024-06-10T09:14:50.656" v="83"/>
          <ac:grpSpMkLst>
            <pc:docMk/>
            <pc:sldMk cId="3128847407" sldId="2147481907"/>
            <ac:grpSpMk id="21" creationId="{2C541B34-1CC4-0C2B-DEAE-6E87154D1CC0}"/>
          </ac:grpSpMkLst>
        </pc:grpChg>
      </pc:sldChg>
      <pc:sldChg chg="addSp delSp modSp">
        <pc:chgData name="Kateryna Levchuk (UA)" userId="S::kateryna.levchuk@pwc.com::5dbb0cbd-4dc1-41d4-910d-5f884aef466d" providerId="AD" clId="Web-{89694F84-7348-D6C0-79E4-C0B3F9EA4431}" dt="2024-06-10T09:17:01.613" v="107" actId="20577"/>
        <pc:sldMkLst>
          <pc:docMk/>
          <pc:sldMk cId="4049782693" sldId="2147481949"/>
        </pc:sldMkLst>
        <pc:spChg chg="mod">
          <ac:chgData name="Kateryna Levchuk (UA)" userId="S::kateryna.levchuk@pwc.com::5dbb0cbd-4dc1-41d4-910d-5f884aef466d" providerId="AD" clId="Web-{89694F84-7348-D6C0-79E4-C0B3F9EA4431}" dt="2024-06-10T09:17:01.613" v="107" actId="20577"/>
          <ac:spMkLst>
            <pc:docMk/>
            <pc:sldMk cId="4049782693" sldId="2147481949"/>
            <ac:spMk id="16" creationId="{76ECEC02-3AA3-3758-5646-8F4EF14443C4}"/>
          </ac:spMkLst>
        </pc:spChg>
        <pc:spChg chg="del">
          <ac:chgData name="Kateryna Levchuk (UA)" userId="S::kateryna.levchuk@pwc.com::5dbb0cbd-4dc1-41d4-910d-5f884aef466d" providerId="AD" clId="Web-{89694F84-7348-D6C0-79E4-C0B3F9EA4431}" dt="2024-06-10T09:15:57.767" v="95"/>
          <ac:spMkLst>
            <pc:docMk/>
            <pc:sldMk cId="4049782693" sldId="2147481949"/>
            <ac:spMk id="31" creationId="{1F923310-D545-8319-5288-1680450C02DE}"/>
          </ac:spMkLst>
        </pc:spChg>
        <pc:grpChg chg="add mod">
          <ac:chgData name="Kateryna Levchuk (UA)" userId="S::kateryna.levchuk@pwc.com::5dbb0cbd-4dc1-41d4-910d-5f884aef466d" providerId="AD" clId="Web-{89694F84-7348-D6C0-79E4-C0B3F9EA4431}" dt="2024-06-10T09:16:06.924" v="97" actId="1076"/>
          <ac:grpSpMkLst>
            <pc:docMk/>
            <pc:sldMk cId="4049782693" sldId="2147481949"/>
            <ac:grpSpMk id="20" creationId="{D1E08981-553E-44D6-D155-4360CA62754A}"/>
          </ac:grpSpMkLst>
        </pc:grpChg>
        <pc:grpChg chg="add del">
          <ac:chgData name="Kateryna Levchuk (UA)" userId="S::kateryna.levchuk@pwc.com::5dbb0cbd-4dc1-41d4-910d-5f884aef466d" providerId="AD" clId="Web-{89694F84-7348-D6C0-79E4-C0B3F9EA4431}" dt="2024-06-10T09:15:59.595" v="96"/>
          <ac:grpSpMkLst>
            <pc:docMk/>
            <pc:sldMk cId="4049782693" sldId="2147481949"/>
            <ac:grpSpMk id="21" creationId="{E89CF5C6-105E-175F-BDEF-9177B2CAFA55}"/>
          </ac:grpSpMkLst>
        </pc:grpChg>
      </pc:sldChg>
      <pc:sldChg chg="addSp delSp">
        <pc:chgData name="Kateryna Levchuk (UA)" userId="S::kateryna.levchuk@pwc.com::5dbb0cbd-4dc1-41d4-910d-5f884aef466d" providerId="AD" clId="Web-{89694F84-7348-D6C0-79E4-C0B3F9EA4431}" dt="2024-06-10T09:17:10.191" v="108"/>
        <pc:sldMkLst>
          <pc:docMk/>
          <pc:sldMk cId="3702537864" sldId="2147481950"/>
        </pc:sldMkLst>
        <pc:grpChg chg="del">
          <ac:chgData name="Kateryna Levchuk (UA)" userId="S::kateryna.levchuk@pwc.com::5dbb0cbd-4dc1-41d4-910d-5f884aef466d" providerId="AD" clId="Web-{89694F84-7348-D6C0-79E4-C0B3F9EA4431}" dt="2024-06-10T09:16:20.862" v="98"/>
          <ac:grpSpMkLst>
            <pc:docMk/>
            <pc:sldMk cId="3702537864" sldId="2147481950"/>
            <ac:grpSpMk id="13" creationId="{DD6B9F2D-C80C-4589-88C5-CEB86E67838B}"/>
          </ac:grpSpMkLst>
        </pc:grpChg>
        <pc:grpChg chg="add">
          <ac:chgData name="Kateryna Levchuk (UA)" userId="S::kateryna.levchuk@pwc.com::5dbb0cbd-4dc1-41d4-910d-5f884aef466d" providerId="AD" clId="Web-{89694F84-7348-D6C0-79E4-C0B3F9EA4431}" dt="2024-06-10T09:17:10.191" v="108"/>
          <ac:grpSpMkLst>
            <pc:docMk/>
            <pc:sldMk cId="3702537864" sldId="2147481950"/>
            <ac:grpSpMk id="44" creationId="{6A96F7A7-599B-B54C-5478-6A50842BFC2C}"/>
          </ac:grpSpMkLst>
        </pc:grpChg>
      </pc:sldChg>
      <pc:sldChg chg="addSp delSp">
        <pc:chgData name="Kateryna Levchuk (UA)" userId="S::kateryna.levchuk@pwc.com::5dbb0cbd-4dc1-41d4-910d-5f884aef466d" providerId="AD" clId="Web-{89694F84-7348-D6C0-79E4-C0B3F9EA4431}" dt="2024-06-10T09:17:16.473" v="109"/>
        <pc:sldMkLst>
          <pc:docMk/>
          <pc:sldMk cId="3939567711" sldId="2147481951"/>
        </pc:sldMkLst>
        <pc:grpChg chg="del">
          <ac:chgData name="Kateryna Levchuk (UA)" userId="S::kateryna.levchuk@pwc.com::5dbb0cbd-4dc1-41d4-910d-5f884aef466d" providerId="AD" clId="Web-{89694F84-7348-D6C0-79E4-C0B3F9EA4431}" dt="2024-06-10T09:16:22.799" v="99"/>
          <ac:grpSpMkLst>
            <pc:docMk/>
            <pc:sldMk cId="3939567711" sldId="2147481951"/>
            <ac:grpSpMk id="13" creationId="{0F421062-B37E-BE00-D345-8B9853B48463}"/>
          </ac:grpSpMkLst>
        </pc:grpChg>
        <pc:grpChg chg="add">
          <ac:chgData name="Kateryna Levchuk (UA)" userId="S::kateryna.levchuk@pwc.com::5dbb0cbd-4dc1-41d4-910d-5f884aef466d" providerId="AD" clId="Web-{89694F84-7348-D6C0-79E4-C0B3F9EA4431}" dt="2024-06-10T09:17:16.473" v="109"/>
          <ac:grpSpMkLst>
            <pc:docMk/>
            <pc:sldMk cId="3939567711" sldId="2147481951"/>
            <ac:grpSpMk id="24" creationId="{F563CE39-E9A0-FC8F-917A-CBE225CFC4D4}"/>
          </ac:grpSpMkLst>
        </pc:grpChg>
      </pc:sldChg>
      <pc:sldChg chg="addSp delSp">
        <pc:chgData name="Kateryna Levchuk (UA)" userId="S::kateryna.levchuk@pwc.com::5dbb0cbd-4dc1-41d4-910d-5f884aef466d" providerId="AD" clId="Web-{89694F84-7348-D6C0-79E4-C0B3F9EA4431}" dt="2024-06-10T09:17:29.692" v="110"/>
        <pc:sldMkLst>
          <pc:docMk/>
          <pc:sldMk cId="8764514" sldId="2147481952"/>
        </pc:sldMkLst>
        <pc:grpChg chg="del">
          <ac:chgData name="Kateryna Levchuk (UA)" userId="S::kateryna.levchuk@pwc.com::5dbb0cbd-4dc1-41d4-910d-5f884aef466d" providerId="AD" clId="Web-{89694F84-7348-D6C0-79E4-C0B3F9EA4431}" dt="2024-06-10T09:16:24.830" v="100"/>
          <ac:grpSpMkLst>
            <pc:docMk/>
            <pc:sldMk cId="8764514" sldId="2147481952"/>
            <ac:grpSpMk id="25" creationId="{48FFE816-4D00-428F-9877-278C6CE65D6B}"/>
          </ac:grpSpMkLst>
        </pc:grpChg>
        <pc:grpChg chg="add">
          <ac:chgData name="Kateryna Levchuk (UA)" userId="S::kateryna.levchuk@pwc.com::5dbb0cbd-4dc1-41d4-910d-5f884aef466d" providerId="AD" clId="Web-{89694F84-7348-D6C0-79E4-C0B3F9EA4431}" dt="2024-06-10T09:17:29.692" v="110"/>
          <ac:grpSpMkLst>
            <pc:docMk/>
            <pc:sldMk cId="8764514" sldId="2147481952"/>
            <ac:grpSpMk id="33" creationId="{97B78DF5-D688-FC90-51A7-E3DCA72B1ACA}"/>
          </ac:grpSpMkLst>
        </pc:grpChg>
      </pc:sldChg>
      <pc:sldChg chg="addSp delSp">
        <pc:chgData name="Kateryna Levchuk (UA)" userId="S::kateryna.levchuk@pwc.com::5dbb0cbd-4dc1-41d4-910d-5f884aef466d" providerId="AD" clId="Web-{89694F84-7348-D6C0-79E4-C0B3F9EA4431}" dt="2024-06-10T09:17:33.629" v="111"/>
        <pc:sldMkLst>
          <pc:docMk/>
          <pc:sldMk cId="2037616446" sldId="2147481956"/>
        </pc:sldMkLst>
        <pc:grpChg chg="del">
          <ac:chgData name="Kateryna Levchuk (UA)" userId="S::kateryna.levchuk@pwc.com::5dbb0cbd-4dc1-41d4-910d-5f884aef466d" providerId="AD" clId="Web-{89694F84-7348-D6C0-79E4-C0B3F9EA4431}" dt="2024-06-10T09:16:26.799" v="101"/>
          <ac:grpSpMkLst>
            <pc:docMk/>
            <pc:sldMk cId="2037616446" sldId="2147481956"/>
            <ac:grpSpMk id="27" creationId="{8FE3F3F9-D30A-08C8-46E9-268874574523}"/>
          </ac:grpSpMkLst>
        </pc:grpChg>
        <pc:grpChg chg="add">
          <ac:chgData name="Kateryna Levchuk (UA)" userId="S::kateryna.levchuk@pwc.com::5dbb0cbd-4dc1-41d4-910d-5f884aef466d" providerId="AD" clId="Web-{89694F84-7348-D6C0-79E4-C0B3F9EA4431}" dt="2024-06-10T09:17:33.629" v="111"/>
          <ac:grpSpMkLst>
            <pc:docMk/>
            <pc:sldMk cId="2037616446" sldId="2147481956"/>
            <ac:grpSpMk id="35" creationId="{4216885A-4A4B-1C3E-A617-B432B7DE257E}"/>
          </ac:grpSpMkLst>
        </pc:grpChg>
      </pc:sldChg>
    </pc:docChg>
  </pc:docChgLst>
  <pc:docChgLst>
    <pc:chgData name="Annemarija Apine (LV)" userId="546f5c59-3b8d-47fd-b739-a8fadc631053" providerId="ADAL" clId="{F5F3C352-44BA-49AA-B120-33561FCB4670}"/>
    <pc:docChg chg="undo custSel addSld delSld modSld sldOrd replTag">
      <pc:chgData name="Annemarija Apine (LV)" userId="546f5c59-3b8d-47fd-b739-a8fadc631053" providerId="ADAL" clId="{F5F3C352-44BA-49AA-B120-33561FCB4670}" dt="2024-06-10T15:26:45.745" v="868"/>
      <pc:docMkLst>
        <pc:docMk/>
      </pc:docMkLst>
      <pc:sldChg chg="del">
        <pc:chgData name="Annemarija Apine (LV)" userId="546f5c59-3b8d-47fd-b739-a8fadc631053" providerId="ADAL" clId="{F5F3C352-44BA-49AA-B120-33561FCB4670}" dt="2024-06-10T07:11:47.913" v="844" actId="47"/>
        <pc:sldMkLst>
          <pc:docMk/>
          <pc:sldMk cId="1395428684" sldId="269"/>
        </pc:sldMkLst>
      </pc:sldChg>
      <pc:sldChg chg="modSp mod">
        <pc:chgData name="Annemarija Apine (LV)" userId="546f5c59-3b8d-47fd-b739-a8fadc631053" providerId="ADAL" clId="{F5F3C352-44BA-49AA-B120-33561FCB4670}" dt="2024-06-09T22:03:22.514" v="251" actId="20577"/>
        <pc:sldMkLst>
          <pc:docMk/>
          <pc:sldMk cId="0" sldId="317"/>
        </pc:sldMkLst>
        <pc:spChg chg="mod">
          <ac:chgData name="Annemarija Apine (LV)" userId="546f5c59-3b8d-47fd-b739-a8fadc631053" providerId="ADAL" clId="{F5F3C352-44BA-49AA-B120-33561FCB4670}" dt="2024-06-09T22:03:22.514" v="251" actId="20577"/>
          <ac:spMkLst>
            <pc:docMk/>
            <pc:sldMk cId="0" sldId="317"/>
            <ac:spMk id="27" creationId="{2FDA45F6-3706-D3EA-97DA-1652D5185D03}"/>
          </ac:spMkLst>
        </pc:spChg>
      </pc:sldChg>
      <pc:sldChg chg="del">
        <pc:chgData name="Annemarija Apine (LV)" userId="546f5c59-3b8d-47fd-b739-a8fadc631053" providerId="ADAL" clId="{F5F3C352-44BA-49AA-B120-33561FCB4670}" dt="2024-06-10T07:11:39.608" v="840" actId="47"/>
        <pc:sldMkLst>
          <pc:docMk/>
          <pc:sldMk cId="3910420445" sldId="318"/>
        </pc:sldMkLst>
      </pc:sldChg>
      <pc:sldChg chg="del">
        <pc:chgData name="Annemarija Apine (LV)" userId="546f5c59-3b8d-47fd-b739-a8fadc631053" providerId="ADAL" clId="{F5F3C352-44BA-49AA-B120-33561FCB4670}" dt="2024-06-10T07:11:42.633" v="842" actId="47"/>
        <pc:sldMkLst>
          <pc:docMk/>
          <pc:sldMk cId="2834373602" sldId="757"/>
        </pc:sldMkLst>
      </pc:sldChg>
      <pc:sldChg chg="delSp mod">
        <pc:chgData name="Annemarija Apine (LV)" userId="546f5c59-3b8d-47fd-b739-a8fadc631053" providerId="ADAL" clId="{F5F3C352-44BA-49AA-B120-33561FCB4670}" dt="2024-06-05T21:55:52.051" v="208" actId="478"/>
        <pc:sldMkLst>
          <pc:docMk/>
          <pc:sldMk cId="301651023" sldId="6887"/>
        </pc:sldMkLst>
        <pc:grpChg chg="del">
          <ac:chgData name="Annemarija Apine (LV)" userId="546f5c59-3b8d-47fd-b739-a8fadc631053" providerId="ADAL" clId="{F5F3C352-44BA-49AA-B120-33561FCB4670}" dt="2024-06-05T21:55:52.051" v="208" actId="478"/>
          <ac:grpSpMkLst>
            <pc:docMk/>
            <pc:sldMk cId="301651023" sldId="6887"/>
            <ac:grpSpMk id="5" creationId="{9A662FD0-25E5-85FD-1BA6-E8A71D16AA76}"/>
          </ac:grpSpMkLst>
        </pc:grpChg>
      </pc:sldChg>
      <pc:sldChg chg="addCm delCm">
        <pc:chgData name="Annemarija Apine (LV)" userId="546f5c59-3b8d-47fd-b739-a8fadc631053" providerId="ADAL" clId="{F5F3C352-44BA-49AA-B120-33561FCB4670}" dt="2024-06-05T21:46:59.206" v="45"/>
        <pc:sldMkLst>
          <pc:docMk/>
          <pc:sldMk cId="192098022" sldId="2147481877"/>
        </pc:sldMkLst>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F5F3C352-44BA-49AA-B120-33561FCB4670}" dt="2024-06-05T21:46:59.206" v="45"/>
              <pc2:cmMkLst xmlns:pc2="http://schemas.microsoft.com/office/powerpoint/2019/9/main/command">
                <pc:docMk/>
                <pc:sldMk cId="192098022" sldId="2147481877"/>
                <pc2:cmMk id="{42340CB7-382F-4BFC-9464-B01F4E65E661}"/>
              </pc2:cmMkLst>
            </pc226:cmChg>
            <pc226:cmChg xmlns:pc226="http://schemas.microsoft.com/office/powerpoint/2022/06/main/command" chg="del">
              <pc226:chgData name="Annemarija Apine (LV)" userId="546f5c59-3b8d-47fd-b739-a8fadc631053" providerId="ADAL" clId="{F5F3C352-44BA-49AA-B120-33561FCB4670}" dt="2024-06-05T21:44:32.779" v="2"/>
              <pc2:cmMkLst xmlns:pc2="http://schemas.microsoft.com/office/powerpoint/2019/9/main/command">
                <pc:docMk/>
                <pc:sldMk cId="192098022" sldId="2147481877"/>
                <pc2:cmMk id="{2BAFDAD7-4750-421D-879A-E56EE9100927}"/>
              </pc2:cmMkLst>
            </pc226:cmChg>
          </p:ext>
        </pc:extLst>
      </pc:sldChg>
      <pc:sldChg chg="modSp mod addCm delCm">
        <pc:chgData name="Annemarija Apine (LV)" userId="546f5c59-3b8d-47fd-b739-a8fadc631053" providerId="ADAL" clId="{F5F3C352-44BA-49AA-B120-33561FCB4670}" dt="2024-06-09T21:57:42.062" v="216"/>
        <pc:sldMkLst>
          <pc:docMk/>
          <pc:sldMk cId="1076096228" sldId="2147481883"/>
        </pc:sldMkLst>
        <pc:spChg chg="mod">
          <ac:chgData name="Annemarija Apine (LV)" userId="546f5c59-3b8d-47fd-b739-a8fadc631053" providerId="ADAL" clId="{F5F3C352-44BA-49AA-B120-33561FCB4670}" dt="2024-06-09T21:57:24.863" v="215" actId="20577"/>
          <ac:spMkLst>
            <pc:docMk/>
            <pc:sldMk cId="1076096228" sldId="2147481883"/>
            <ac:spMk id="7" creationId="{8955B2C7-F22E-6F52-733B-63ECB21657CB}"/>
          </ac:spMkLst>
        </pc:spChg>
        <pc:spChg chg="mod">
          <ac:chgData name="Annemarija Apine (LV)" userId="546f5c59-3b8d-47fd-b739-a8fadc631053" providerId="ADAL" clId="{F5F3C352-44BA-49AA-B120-33561FCB4670}" dt="2024-06-05T21:47:46.630" v="122" actId="20577"/>
          <ac:spMkLst>
            <pc:docMk/>
            <pc:sldMk cId="1076096228" sldId="2147481883"/>
            <ac:spMk id="21" creationId="{A3DAE46C-43DB-A6F2-C680-13972AF27B1E}"/>
          </ac:spMkLst>
        </pc:sp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F5F3C352-44BA-49AA-B120-33561FCB4670}" dt="2024-06-05T21:47:53.767" v="124"/>
              <pc2:cmMkLst xmlns:pc2="http://schemas.microsoft.com/office/powerpoint/2019/9/main/command">
                <pc:docMk/>
                <pc:sldMk cId="1076096228" sldId="2147481883"/>
                <pc2:cmMk id="{A5CE162D-2EEE-4922-B176-CB61EFDAC24E}"/>
              </pc2:cmMkLst>
            </pc226:cmChg>
            <pc226:cmChg xmlns:pc226="http://schemas.microsoft.com/office/powerpoint/2022/06/main/command" chg="add">
              <pc226:chgData name="Annemarija Apine (LV)" userId="546f5c59-3b8d-47fd-b739-a8fadc631053" providerId="ADAL" clId="{F5F3C352-44BA-49AA-B120-33561FCB4670}" dt="2024-06-09T21:57:42.062" v="216"/>
              <pc2:cmMkLst xmlns:pc2="http://schemas.microsoft.com/office/powerpoint/2019/9/main/command">
                <pc:docMk/>
                <pc:sldMk cId="1076096228" sldId="2147481883"/>
                <pc2:cmMk id="{707E228F-5D4F-4CF3-9C8B-94FC641A42B0}"/>
              </pc2:cmMkLst>
            </pc226:cmChg>
            <pc226:cmChg xmlns:pc226="http://schemas.microsoft.com/office/powerpoint/2022/06/main/command" chg="del">
              <pc226:chgData name="Annemarija Apine (LV)" userId="546f5c59-3b8d-47fd-b739-a8fadc631053" providerId="ADAL" clId="{F5F3C352-44BA-49AA-B120-33561FCB4670}" dt="2024-06-05T21:47:49.689" v="123"/>
              <pc2:cmMkLst xmlns:pc2="http://schemas.microsoft.com/office/powerpoint/2019/9/main/command">
                <pc:docMk/>
                <pc:sldMk cId="1076096228" sldId="2147481883"/>
                <pc2:cmMk id="{90D166C6-4DDA-4102-8794-4FDCD0687F57}"/>
              </pc2:cmMkLst>
            </pc226:cmChg>
          </p:ext>
        </pc:extLst>
      </pc:sldChg>
      <pc:sldChg chg="addCm modCm">
        <pc:chgData name="Annemarija Apine (LV)" userId="546f5c59-3b8d-47fd-b739-a8fadc631053" providerId="ADAL" clId="{F5F3C352-44BA-49AA-B120-33561FCB4670}" dt="2024-06-05T21:46:04.331" v="27"/>
        <pc:sldMkLst>
          <pc:docMk/>
          <pc:sldMk cId="59703751" sldId="2147481888"/>
        </pc:sldMkLst>
        <pc:extLst>
          <p:ext xmlns:p="http://schemas.openxmlformats.org/presentationml/2006/main" uri="{D6D511B9-2390-475A-947B-AFAB55BFBCF1}">
            <pc226:cmChg xmlns:pc226="http://schemas.microsoft.com/office/powerpoint/2022/06/main/command" chg="add mod">
              <pc226:chgData name="Annemarija Apine (LV)" userId="546f5c59-3b8d-47fd-b739-a8fadc631053" providerId="ADAL" clId="{F5F3C352-44BA-49AA-B120-33561FCB4670}" dt="2024-06-05T21:46:04.331" v="27"/>
              <pc2:cmMkLst xmlns:pc2="http://schemas.microsoft.com/office/powerpoint/2019/9/main/command">
                <pc:docMk/>
                <pc:sldMk cId="59703751" sldId="2147481888"/>
                <pc2:cmMk id="{21BD07A8-8D07-40D8-8F1E-39D4B55AC171}"/>
              </pc2:cmMkLst>
            </pc226:cmChg>
          </p:ext>
        </pc:extLst>
      </pc:sldChg>
      <pc:sldChg chg="del">
        <pc:chgData name="Annemarija Apine (LV)" userId="546f5c59-3b8d-47fd-b739-a8fadc631053" providerId="ADAL" clId="{F5F3C352-44BA-49AA-B120-33561FCB4670}" dt="2024-06-05T21:48:47.656" v="141" actId="47"/>
        <pc:sldMkLst>
          <pc:docMk/>
          <pc:sldMk cId="4156649328" sldId="2147481901"/>
        </pc:sldMkLst>
      </pc:sldChg>
      <pc:sldChg chg="modSp del mod addCm">
        <pc:chgData name="Annemarija Apine (LV)" userId="546f5c59-3b8d-47fd-b739-a8fadc631053" providerId="ADAL" clId="{F5F3C352-44BA-49AA-B120-33561FCB4670}" dt="2024-06-10T07:11:51.436" v="846" actId="47"/>
        <pc:sldMkLst>
          <pc:docMk/>
          <pc:sldMk cId="2829430444" sldId="2147481906"/>
        </pc:sldMkLst>
        <pc:spChg chg="mod">
          <ac:chgData name="Annemarija Apine (LV)" userId="546f5c59-3b8d-47fd-b739-a8fadc631053" providerId="ADAL" clId="{F5F3C352-44BA-49AA-B120-33561FCB4670}" dt="2024-06-10T07:03:12.418" v="831" actId="1076"/>
          <ac:spMkLst>
            <pc:docMk/>
            <pc:sldMk cId="2829430444" sldId="2147481906"/>
            <ac:spMk id="48" creationId="{7A31ACB3-B037-0C4A-F617-333276F334B4}"/>
          </ac:spMkLst>
        </pc:sp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F5F3C352-44BA-49AA-B120-33561FCB4670}" dt="2024-06-05T21:48:26.240" v="134"/>
              <pc2:cmMkLst xmlns:pc2="http://schemas.microsoft.com/office/powerpoint/2019/9/main/command">
                <pc:docMk/>
                <pc:sldMk cId="2829430444" sldId="2147481906"/>
                <pc2:cmMk id="{A64F8EA5-8DD5-4173-86E8-DC42B0FD91FB}"/>
              </pc2:cmMkLst>
            </pc226:cmChg>
          </p:ext>
        </pc:extLst>
      </pc:sldChg>
      <pc:sldChg chg="del">
        <pc:chgData name="Annemarija Apine (LV)" userId="546f5c59-3b8d-47fd-b739-a8fadc631053" providerId="ADAL" clId="{F5F3C352-44BA-49AA-B120-33561FCB4670}" dt="2024-06-10T07:11:52.277" v="848" actId="47"/>
        <pc:sldMkLst>
          <pc:docMk/>
          <pc:sldMk cId="2443351344" sldId="2147481921"/>
        </pc:sldMkLst>
      </pc:sldChg>
      <pc:sldChg chg="del mod ord modShow addCm">
        <pc:chgData name="Annemarija Apine (LV)" userId="546f5c59-3b8d-47fd-b739-a8fadc631053" providerId="ADAL" clId="{F5F3C352-44BA-49AA-B120-33561FCB4670}" dt="2024-06-05T21:50:26.552" v="159" actId="47"/>
        <pc:sldMkLst>
          <pc:docMk/>
          <pc:sldMk cId="1254450771" sldId="2147481948"/>
        </pc:sldMkLst>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F5F3C352-44BA-49AA-B120-33561FCB4670}" dt="2024-06-05T21:50:08.734" v="152"/>
              <pc2:cmMkLst xmlns:pc2="http://schemas.microsoft.com/office/powerpoint/2019/9/main/command">
                <pc:docMk/>
                <pc:sldMk cId="1254450771" sldId="2147481948"/>
                <pc2:cmMk id="{4D592B47-0DD1-44D9-A1F9-7FF9260CC07A}"/>
              </pc2:cmMkLst>
            </pc226:cmChg>
          </p:ext>
        </pc:extLst>
      </pc:sldChg>
      <pc:sldChg chg="addSp modSp addCm modCm">
        <pc:chgData name="Annemarija Apine (LV)" userId="546f5c59-3b8d-47fd-b739-a8fadc631053" providerId="ADAL" clId="{F5F3C352-44BA-49AA-B120-33561FCB4670}" dt="2024-06-05T21:55:11.545" v="192"/>
        <pc:sldMkLst>
          <pc:docMk/>
          <pc:sldMk cId="8764514" sldId="2147481952"/>
        </pc:sldMkLst>
        <pc:spChg chg="add mod">
          <ac:chgData name="Annemarija Apine (LV)" userId="546f5c59-3b8d-47fd-b739-a8fadc631053" providerId="ADAL" clId="{F5F3C352-44BA-49AA-B120-33561FCB4670}" dt="2024-06-05T21:55:11.545" v="192"/>
          <ac:spMkLst>
            <pc:docMk/>
            <pc:sldMk cId="8764514" sldId="2147481952"/>
            <ac:spMk id="4" creationId="{3468B703-BD03-9754-497D-AD6AB7B72F60}"/>
          </ac:spMkLst>
        </pc:sp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F5F3C352-44BA-49AA-B120-33561FCB4670}" dt="2024-06-05T21:53:32.497" v="170"/>
              <pc2:cmMkLst xmlns:pc2="http://schemas.microsoft.com/office/powerpoint/2019/9/main/command">
                <pc:docMk/>
                <pc:sldMk cId="8764514" sldId="2147481952"/>
                <pc2:cmMk id="{A88F5E5A-8F7E-4686-800B-7EAC25B21044}"/>
              </pc2:cmMkLst>
              <pc226:cmRplyChg chg="add">
                <pc226:chgData name="Annemarija Apine (LV)" userId="546f5c59-3b8d-47fd-b739-a8fadc631053" providerId="ADAL" clId="{F5F3C352-44BA-49AA-B120-33561FCB4670}" dt="2024-06-05T21:53:32.497" v="170"/>
                <pc2:cmRplyMkLst xmlns:pc2="http://schemas.microsoft.com/office/powerpoint/2019/9/main/command">
                  <pc:docMk/>
                  <pc:sldMk cId="8764514" sldId="2147481952"/>
                  <pc2:cmMk id="{A88F5E5A-8F7E-4686-800B-7EAC25B21044}"/>
                  <pc2:cmRplyMk id="{95F17E25-49F3-4E9A-B0F9-FCCF07726928}"/>
                </pc2:cmRplyMkLst>
              </pc226:cmRplyChg>
            </pc226:cmChg>
            <pc226:cmChg xmlns:pc226="http://schemas.microsoft.com/office/powerpoint/2022/06/main/command" chg="add">
              <pc226:chgData name="Annemarija Apine (LV)" userId="546f5c59-3b8d-47fd-b739-a8fadc631053" providerId="ADAL" clId="{F5F3C352-44BA-49AA-B120-33561FCB4670}" dt="2024-06-05T21:54:55.939" v="187"/>
              <pc2:cmMkLst xmlns:pc2="http://schemas.microsoft.com/office/powerpoint/2019/9/main/command">
                <pc:docMk/>
                <pc:sldMk cId="8764514" sldId="2147481952"/>
                <pc2:cmMk id="{AD78A99D-FB63-453D-ABAC-80F29DC4DDB1}"/>
              </pc2:cmMkLst>
              <pc226:cmRplyChg chg="add">
                <pc226:chgData name="Annemarija Apine (LV)" userId="546f5c59-3b8d-47fd-b739-a8fadc631053" providerId="ADAL" clId="{F5F3C352-44BA-49AA-B120-33561FCB4670}" dt="2024-06-05T21:54:55.939" v="187"/>
                <pc2:cmRplyMkLst xmlns:pc2="http://schemas.microsoft.com/office/powerpoint/2019/9/main/command">
                  <pc:docMk/>
                  <pc:sldMk cId="8764514" sldId="2147481952"/>
                  <pc2:cmMk id="{AD78A99D-FB63-453D-ABAC-80F29DC4DDB1}"/>
                  <pc2:cmRplyMk id="{E0A0723B-7FDC-460D-8F9F-96FEFA5B5A31}"/>
                </pc2:cmRplyMkLst>
              </pc226:cmRplyChg>
            </pc226:cmChg>
          </p:ext>
        </pc:extLst>
      </pc:sldChg>
      <pc:sldChg chg="addCm">
        <pc:chgData name="Annemarija Apine (LV)" userId="546f5c59-3b8d-47fd-b739-a8fadc631053" providerId="ADAL" clId="{F5F3C352-44BA-49AA-B120-33561FCB4670}" dt="2024-06-05T21:45:18.856" v="13"/>
        <pc:sldMkLst>
          <pc:docMk/>
          <pc:sldMk cId="1261692589" sldId="2147481953"/>
        </pc:sldMkLst>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F5F3C352-44BA-49AA-B120-33561FCB4670}" dt="2024-06-05T21:45:18.856" v="13"/>
              <pc2:cmMkLst xmlns:pc2="http://schemas.microsoft.com/office/powerpoint/2019/9/main/command">
                <pc:docMk/>
                <pc:sldMk cId="1261692589" sldId="2147481953"/>
                <pc2:cmMk id="{A2BFB9A9-1955-4CE0-BF5C-BDDC69F82ED1}"/>
              </pc2:cmMkLst>
            </pc226:cmChg>
          </p:ext>
        </pc:extLst>
      </pc:sldChg>
      <pc:sldChg chg="addSp delSp modSp mod addCm">
        <pc:chgData name="Annemarija Apine (LV)" userId="546f5c59-3b8d-47fd-b739-a8fadc631053" providerId="ADAL" clId="{F5F3C352-44BA-49AA-B120-33561FCB4670}" dt="2024-06-05T21:55:10.252" v="190" actId="21"/>
        <pc:sldMkLst>
          <pc:docMk/>
          <pc:sldMk cId="2037616446" sldId="2147481956"/>
        </pc:sldMkLst>
        <pc:spChg chg="add del mod">
          <ac:chgData name="Annemarija Apine (LV)" userId="546f5c59-3b8d-47fd-b739-a8fadc631053" providerId="ADAL" clId="{F5F3C352-44BA-49AA-B120-33561FCB4670}" dt="2024-06-05T21:55:10.252" v="190" actId="21"/>
          <ac:spMkLst>
            <pc:docMk/>
            <pc:sldMk cId="2037616446" sldId="2147481956"/>
            <ac:spMk id="16" creationId="{9B01FF5B-CFEB-5679-59AC-8360054C3156}"/>
          </ac:spMkLst>
        </pc:sp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F5F3C352-44BA-49AA-B120-33561FCB4670}" dt="2024-06-05T21:54:07.726" v="174"/>
              <pc2:cmMkLst xmlns:pc2="http://schemas.microsoft.com/office/powerpoint/2019/9/main/command">
                <pc:docMk/>
                <pc:sldMk cId="2037616446" sldId="2147481956"/>
                <pc2:cmMk id="{9461FECB-8129-4AD7-BAB7-257DC7B854B4}"/>
              </pc2:cmMkLst>
            </pc226:cmChg>
          </p:ext>
        </pc:extLst>
      </pc:sldChg>
      <pc:sldChg chg="addSp delSp modSp add mod ord">
        <pc:chgData name="Annemarija Apine (LV)" userId="546f5c59-3b8d-47fd-b739-a8fadc631053" providerId="ADAL" clId="{F5F3C352-44BA-49AA-B120-33561FCB4670}" dt="2024-06-10T06:56:28.122" v="828" actId="20577"/>
        <pc:sldMkLst>
          <pc:docMk/>
          <pc:sldMk cId="329214126" sldId="2147481959"/>
        </pc:sldMkLst>
        <pc:spChg chg="mod">
          <ac:chgData name="Annemarija Apine (LV)" userId="546f5c59-3b8d-47fd-b739-a8fadc631053" providerId="ADAL" clId="{F5F3C352-44BA-49AA-B120-33561FCB4670}" dt="2024-06-10T06:49:45.936" v="616" actId="14100"/>
          <ac:spMkLst>
            <pc:docMk/>
            <pc:sldMk cId="329214126" sldId="2147481959"/>
            <ac:spMk id="2" creationId="{B1F6A68B-1597-6DFC-9E7D-71CFDA319A8C}"/>
          </ac:spMkLst>
        </pc:spChg>
        <pc:spChg chg="del mod">
          <ac:chgData name="Annemarija Apine (LV)" userId="546f5c59-3b8d-47fd-b739-a8fadc631053" providerId="ADAL" clId="{F5F3C352-44BA-49AA-B120-33561FCB4670}" dt="2024-06-10T06:37:59.643" v="397" actId="478"/>
          <ac:spMkLst>
            <pc:docMk/>
            <pc:sldMk cId="329214126" sldId="2147481959"/>
            <ac:spMk id="3" creationId="{F1FCDF7B-C2DD-6E7D-0F9E-D0E103851972}"/>
          </ac:spMkLst>
        </pc:spChg>
        <pc:spChg chg="mod">
          <ac:chgData name="Annemarija Apine (LV)" userId="546f5c59-3b8d-47fd-b739-a8fadc631053" providerId="ADAL" clId="{F5F3C352-44BA-49AA-B120-33561FCB4670}" dt="2024-06-10T06:49:48.505" v="617" actId="14100"/>
          <ac:spMkLst>
            <pc:docMk/>
            <pc:sldMk cId="329214126" sldId="2147481959"/>
            <ac:spMk id="5" creationId="{4698077E-5F06-B355-0606-A7F29A25D317}"/>
          </ac:spMkLst>
        </pc:spChg>
        <pc:spChg chg="add mod">
          <ac:chgData name="Annemarija Apine (LV)" userId="546f5c59-3b8d-47fd-b739-a8fadc631053" providerId="ADAL" clId="{F5F3C352-44BA-49AA-B120-33561FCB4670}" dt="2024-06-10T06:51:25.720" v="632" actId="113"/>
          <ac:spMkLst>
            <pc:docMk/>
            <pc:sldMk cId="329214126" sldId="2147481959"/>
            <ac:spMk id="15" creationId="{59122A1E-8BC3-09F4-97FB-705F528E5398}"/>
          </ac:spMkLst>
        </pc:spChg>
        <pc:spChg chg="add mod">
          <ac:chgData name="Annemarija Apine (LV)" userId="546f5c59-3b8d-47fd-b739-a8fadc631053" providerId="ADAL" clId="{F5F3C352-44BA-49AA-B120-33561FCB4670}" dt="2024-06-10T06:49:41.984" v="615" actId="1038"/>
          <ac:spMkLst>
            <pc:docMk/>
            <pc:sldMk cId="329214126" sldId="2147481959"/>
            <ac:spMk id="16" creationId="{4C1489AC-C832-C969-96C3-5B7A4ED02FB3}"/>
          </ac:spMkLst>
        </pc:spChg>
        <pc:spChg chg="add mod">
          <ac:chgData name="Annemarija Apine (LV)" userId="546f5c59-3b8d-47fd-b739-a8fadc631053" providerId="ADAL" clId="{F5F3C352-44BA-49AA-B120-33561FCB4670}" dt="2024-06-10T06:51:59.249" v="645" actId="113"/>
          <ac:spMkLst>
            <pc:docMk/>
            <pc:sldMk cId="329214126" sldId="2147481959"/>
            <ac:spMk id="17" creationId="{D67163D0-AFF2-0F5B-BEF8-713B9C5550B9}"/>
          </ac:spMkLst>
        </pc:spChg>
        <pc:spChg chg="add mod">
          <ac:chgData name="Annemarija Apine (LV)" userId="546f5c59-3b8d-47fd-b739-a8fadc631053" providerId="ADAL" clId="{F5F3C352-44BA-49AA-B120-33561FCB4670}" dt="2024-06-10T06:49:29.072" v="601" actId="1076"/>
          <ac:spMkLst>
            <pc:docMk/>
            <pc:sldMk cId="329214126" sldId="2147481959"/>
            <ac:spMk id="18" creationId="{D3932FD6-4833-DAF0-8321-A600DDDF2D68}"/>
          </ac:spMkLst>
        </pc:spChg>
        <pc:spChg chg="add mod">
          <ac:chgData name="Annemarija Apine (LV)" userId="546f5c59-3b8d-47fd-b739-a8fadc631053" providerId="ADAL" clId="{F5F3C352-44BA-49AA-B120-33561FCB4670}" dt="2024-06-10T06:53:42.464" v="722" actId="20577"/>
          <ac:spMkLst>
            <pc:docMk/>
            <pc:sldMk cId="329214126" sldId="2147481959"/>
            <ac:spMk id="19" creationId="{106AC05F-A272-513E-EF01-E89A9509C706}"/>
          </ac:spMkLst>
        </pc:spChg>
        <pc:spChg chg="add mod">
          <ac:chgData name="Annemarija Apine (LV)" userId="546f5c59-3b8d-47fd-b739-a8fadc631053" providerId="ADAL" clId="{F5F3C352-44BA-49AA-B120-33561FCB4670}" dt="2024-06-10T06:55:12.372" v="752" actId="1076"/>
          <ac:spMkLst>
            <pc:docMk/>
            <pc:sldMk cId="329214126" sldId="2147481959"/>
            <ac:spMk id="20" creationId="{420F2629-D747-1650-347F-99EDC0529C8F}"/>
          </ac:spMkLst>
        </pc:spChg>
        <pc:spChg chg="add mod">
          <ac:chgData name="Annemarija Apine (LV)" userId="546f5c59-3b8d-47fd-b739-a8fadc631053" providerId="ADAL" clId="{F5F3C352-44BA-49AA-B120-33561FCB4670}" dt="2024-06-10T06:55:12.372" v="752" actId="1076"/>
          <ac:spMkLst>
            <pc:docMk/>
            <pc:sldMk cId="329214126" sldId="2147481959"/>
            <ac:spMk id="21" creationId="{036DED66-E299-1067-9D43-ADF12C7A1CC7}"/>
          </ac:spMkLst>
        </pc:spChg>
        <pc:spChg chg="add mod">
          <ac:chgData name="Annemarija Apine (LV)" userId="546f5c59-3b8d-47fd-b739-a8fadc631053" providerId="ADAL" clId="{F5F3C352-44BA-49AA-B120-33561FCB4670}" dt="2024-06-10T06:55:12.372" v="752" actId="1076"/>
          <ac:spMkLst>
            <pc:docMk/>
            <pc:sldMk cId="329214126" sldId="2147481959"/>
            <ac:spMk id="22" creationId="{5945FFC4-B564-FA15-EA24-EE9B63FADFEC}"/>
          </ac:spMkLst>
        </pc:spChg>
        <pc:spChg chg="add mod">
          <ac:chgData name="Annemarija Apine (LV)" userId="546f5c59-3b8d-47fd-b739-a8fadc631053" providerId="ADAL" clId="{F5F3C352-44BA-49AA-B120-33561FCB4670}" dt="2024-06-10T06:56:06.105" v="806" actId="1076"/>
          <ac:spMkLst>
            <pc:docMk/>
            <pc:sldMk cId="329214126" sldId="2147481959"/>
            <ac:spMk id="23" creationId="{40D304C9-A45C-F440-2AD0-14A290FE5C9A}"/>
          </ac:spMkLst>
        </pc:spChg>
        <pc:spChg chg="add mod">
          <ac:chgData name="Annemarija Apine (LV)" userId="546f5c59-3b8d-47fd-b739-a8fadc631053" providerId="ADAL" clId="{F5F3C352-44BA-49AA-B120-33561FCB4670}" dt="2024-06-10T06:56:06.105" v="806" actId="1076"/>
          <ac:spMkLst>
            <pc:docMk/>
            <pc:sldMk cId="329214126" sldId="2147481959"/>
            <ac:spMk id="24" creationId="{4125062F-480F-BBF3-EB3F-3D86985D4CAF}"/>
          </ac:spMkLst>
        </pc:spChg>
        <pc:spChg chg="add mod">
          <ac:chgData name="Annemarija Apine (LV)" userId="546f5c59-3b8d-47fd-b739-a8fadc631053" providerId="ADAL" clId="{F5F3C352-44BA-49AA-B120-33561FCB4670}" dt="2024-06-10T06:56:06.105" v="806" actId="1076"/>
          <ac:spMkLst>
            <pc:docMk/>
            <pc:sldMk cId="329214126" sldId="2147481959"/>
            <ac:spMk id="25" creationId="{AC45CEB6-E989-C8E7-CB62-A8DB26594D29}"/>
          </ac:spMkLst>
        </pc:spChg>
        <pc:spChg chg="add mod">
          <ac:chgData name="Annemarija Apine (LV)" userId="546f5c59-3b8d-47fd-b739-a8fadc631053" providerId="ADAL" clId="{F5F3C352-44BA-49AA-B120-33561FCB4670}" dt="2024-06-10T06:56:28.122" v="828" actId="20577"/>
          <ac:spMkLst>
            <pc:docMk/>
            <pc:sldMk cId="329214126" sldId="2147481959"/>
            <ac:spMk id="26" creationId="{A49585BF-400C-D97E-814D-A29D14EEAB69}"/>
          </ac:spMkLst>
        </pc:spChg>
        <pc:spChg chg="mod">
          <ac:chgData name="Annemarija Apine (LV)" userId="546f5c59-3b8d-47fd-b739-a8fadc631053" providerId="ADAL" clId="{F5F3C352-44BA-49AA-B120-33561FCB4670}" dt="2024-06-10T06:37:46.723" v="395" actId="20577"/>
          <ac:spMkLst>
            <pc:docMk/>
            <pc:sldMk cId="329214126" sldId="2147481959"/>
            <ac:spMk id="27" creationId="{32BEDB9C-EB44-3430-B207-FA719672649E}"/>
          </ac:spMkLst>
        </pc:spChg>
        <pc:spChg chg="mod">
          <ac:chgData name="Annemarija Apine (LV)" userId="546f5c59-3b8d-47fd-b739-a8fadc631053" providerId="ADAL" clId="{F5F3C352-44BA-49AA-B120-33561FCB4670}" dt="2024-06-10T06:49:30.845" v="602" actId="14100"/>
          <ac:spMkLst>
            <pc:docMk/>
            <pc:sldMk cId="329214126" sldId="2147481959"/>
            <ac:spMk id="33" creationId="{5B2A4D2C-CD75-341E-580A-957F809C2018}"/>
          </ac:spMkLst>
        </pc:spChg>
        <pc:spChg chg="mod">
          <ac:chgData name="Annemarija Apine (LV)" userId="546f5c59-3b8d-47fd-b739-a8fadc631053" providerId="ADAL" clId="{F5F3C352-44BA-49AA-B120-33561FCB4670}" dt="2024-06-10T06:49:38.594" v="604" actId="14100"/>
          <ac:spMkLst>
            <pc:docMk/>
            <pc:sldMk cId="329214126" sldId="2147481959"/>
            <ac:spMk id="37" creationId="{16C10275-D1DB-BDFC-B1ED-A4402FA73250}"/>
          </ac:spMkLst>
        </pc:spChg>
        <pc:spChg chg="del">
          <ac:chgData name="Annemarija Apine (LV)" userId="546f5c59-3b8d-47fd-b739-a8fadc631053" providerId="ADAL" clId="{F5F3C352-44BA-49AA-B120-33561FCB4670}" dt="2024-06-10T06:44:05.679" v="480" actId="478"/>
          <ac:spMkLst>
            <pc:docMk/>
            <pc:sldMk cId="329214126" sldId="2147481959"/>
            <ac:spMk id="48" creationId="{7A31ACB3-B037-0C4A-F617-333276F334B4}"/>
          </ac:spMkLst>
        </pc:spChg>
        <pc:spChg chg="del">
          <ac:chgData name="Annemarija Apine (LV)" userId="546f5c59-3b8d-47fd-b739-a8fadc631053" providerId="ADAL" clId="{F5F3C352-44BA-49AA-B120-33561FCB4670}" dt="2024-06-10T06:44:05.679" v="480" actId="478"/>
          <ac:spMkLst>
            <pc:docMk/>
            <pc:sldMk cId="329214126" sldId="2147481959"/>
            <ac:spMk id="49" creationId="{C6F923D7-E7BF-EE08-398D-1FAB39E5B9DC}"/>
          </ac:spMkLst>
        </pc:spChg>
        <pc:spChg chg="del">
          <ac:chgData name="Annemarija Apine (LV)" userId="546f5c59-3b8d-47fd-b739-a8fadc631053" providerId="ADAL" clId="{F5F3C352-44BA-49AA-B120-33561FCB4670}" dt="2024-06-10T06:44:05.679" v="480" actId="478"/>
          <ac:spMkLst>
            <pc:docMk/>
            <pc:sldMk cId="329214126" sldId="2147481959"/>
            <ac:spMk id="50" creationId="{C63704F3-C86D-204E-1B38-1B098D58592A}"/>
          </ac:spMkLst>
        </pc:spChg>
        <pc:spChg chg="del mod">
          <ac:chgData name="Annemarija Apine (LV)" userId="546f5c59-3b8d-47fd-b739-a8fadc631053" providerId="ADAL" clId="{F5F3C352-44BA-49AA-B120-33561FCB4670}" dt="2024-06-10T06:44:06.863" v="481" actId="478"/>
          <ac:spMkLst>
            <pc:docMk/>
            <pc:sldMk cId="329214126" sldId="2147481959"/>
            <ac:spMk id="51" creationId="{CD7812A7-F256-CA59-FCE3-D1F241F54EE2}"/>
          </ac:spMkLst>
        </pc:spChg>
        <pc:spChg chg="mod">
          <ac:chgData name="Annemarija Apine (LV)" userId="546f5c59-3b8d-47fd-b739-a8fadc631053" providerId="ADAL" clId="{F5F3C352-44BA-49AA-B120-33561FCB4670}" dt="2024-06-10T06:49:41.984" v="615" actId="1038"/>
          <ac:spMkLst>
            <pc:docMk/>
            <pc:sldMk cId="329214126" sldId="2147481959"/>
            <ac:spMk id="55" creationId="{01DEE395-A1D3-A782-B617-02A79709E740}"/>
          </ac:spMkLst>
        </pc:spChg>
        <pc:spChg chg="del mod">
          <ac:chgData name="Annemarija Apine (LV)" userId="546f5c59-3b8d-47fd-b739-a8fadc631053" providerId="ADAL" clId="{F5F3C352-44BA-49AA-B120-33561FCB4670}" dt="2024-06-10T06:43:48.075" v="475" actId="478"/>
          <ac:spMkLst>
            <pc:docMk/>
            <pc:sldMk cId="329214126" sldId="2147481959"/>
            <ac:spMk id="58" creationId="{B8CC9E83-B775-ABD1-2D21-52824912B867}"/>
          </ac:spMkLst>
        </pc:spChg>
        <pc:spChg chg="del mod">
          <ac:chgData name="Annemarija Apine (LV)" userId="546f5c59-3b8d-47fd-b739-a8fadc631053" providerId="ADAL" clId="{F5F3C352-44BA-49AA-B120-33561FCB4670}" dt="2024-06-10T06:37:59.643" v="397" actId="478"/>
          <ac:spMkLst>
            <pc:docMk/>
            <pc:sldMk cId="329214126" sldId="2147481959"/>
            <ac:spMk id="61" creationId="{4DC5AA6A-DB58-A2BD-19F8-61FE60399715}"/>
          </ac:spMkLst>
        </pc:spChg>
        <pc:spChg chg="mod">
          <ac:chgData name="Annemarija Apine (LV)" userId="546f5c59-3b8d-47fd-b739-a8fadc631053" providerId="ADAL" clId="{F5F3C352-44BA-49AA-B120-33561FCB4670}" dt="2024-06-10T06:55:12.372" v="752" actId="1076"/>
          <ac:spMkLst>
            <pc:docMk/>
            <pc:sldMk cId="329214126" sldId="2147481959"/>
            <ac:spMk id="64" creationId="{67FBBA03-31E4-D7C8-090F-638F677E6A35}"/>
          </ac:spMkLst>
        </pc:spChg>
        <pc:spChg chg="mod">
          <ac:chgData name="Annemarija Apine (LV)" userId="546f5c59-3b8d-47fd-b739-a8fadc631053" providerId="ADAL" clId="{F5F3C352-44BA-49AA-B120-33561FCB4670}" dt="2024-06-10T06:55:12.372" v="752" actId="1076"/>
          <ac:spMkLst>
            <pc:docMk/>
            <pc:sldMk cId="329214126" sldId="2147481959"/>
            <ac:spMk id="65" creationId="{894E5700-E975-D8D2-5AD3-2E35DE8CE365}"/>
          </ac:spMkLst>
        </pc:spChg>
        <pc:spChg chg="mod">
          <ac:chgData name="Annemarija Apine (LV)" userId="546f5c59-3b8d-47fd-b739-a8fadc631053" providerId="ADAL" clId="{F5F3C352-44BA-49AA-B120-33561FCB4670}" dt="2024-06-10T06:55:12.372" v="752" actId="1076"/>
          <ac:spMkLst>
            <pc:docMk/>
            <pc:sldMk cId="329214126" sldId="2147481959"/>
            <ac:spMk id="66" creationId="{8D4E5B49-05F7-6DC9-B647-FEF3369AD289}"/>
          </ac:spMkLst>
        </pc:spChg>
        <pc:grpChg chg="mod">
          <ac:chgData name="Annemarija Apine (LV)" userId="546f5c59-3b8d-47fd-b739-a8fadc631053" providerId="ADAL" clId="{F5F3C352-44BA-49AA-B120-33561FCB4670}" dt="2024-06-10T06:43:21.173" v="466" actId="1076"/>
          <ac:grpSpMkLst>
            <pc:docMk/>
            <pc:sldMk cId="329214126" sldId="2147481959"/>
            <ac:grpSpMk id="74" creationId="{DC8D4467-09A5-99C5-1A03-64C59D279CAE}"/>
          </ac:grpSpMkLst>
        </pc:grpChg>
        <pc:grpChg chg="mod">
          <ac:chgData name="Annemarija Apine (LV)" userId="546f5c59-3b8d-47fd-b739-a8fadc631053" providerId="ADAL" clId="{F5F3C352-44BA-49AA-B120-33561FCB4670}" dt="2024-06-10T06:43:15.764" v="465" actId="1076"/>
          <ac:grpSpMkLst>
            <pc:docMk/>
            <pc:sldMk cId="329214126" sldId="2147481959"/>
            <ac:grpSpMk id="79" creationId="{1F87BE46-ED96-5EBD-6F76-787AB1C42B50}"/>
          </ac:grpSpMkLst>
        </pc:grpChg>
        <pc:picChg chg="del">
          <ac:chgData name="Annemarija Apine (LV)" userId="546f5c59-3b8d-47fd-b739-a8fadc631053" providerId="ADAL" clId="{F5F3C352-44BA-49AA-B120-33561FCB4670}" dt="2024-06-10T06:38:40.703" v="404" actId="478"/>
          <ac:picMkLst>
            <pc:docMk/>
            <pc:sldMk cId="329214126" sldId="2147481959"/>
            <ac:picMk id="3074" creationId="{52E7819F-AC94-AFBF-C19D-6C494D36F9BC}"/>
          </ac:picMkLst>
        </pc:picChg>
        <pc:cxnChg chg="del mod">
          <ac:chgData name="Annemarija Apine (LV)" userId="546f5c59-3b8d-47fd-b739-a8fadc631053" providerId="ADAL" clId="{F5F3C352-44BA-49AA-B120-33561FCB4670}" dt="2024-06-10T06:44:05.679" v="480" actId="478"/>
          <ac:cxnSpMkLst>
            <pc:docMk/>
            <pc:sldMk cId="329214126" sldId="2147481959"/>
            <ac:cxnSpMk id="59" creationId="{EA3ED15A-8F00-8095-68BB-97F6A7FF0A9E}"/>
          </ac:cxnSpMkLst>
        </pc:cxn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A09DDA-0787-4B42-881F-6B3C2393185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431845B-8C18-C246-A0D1-61FFD196315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70301B5-88AD-1849-891D-EA2905EB5A88}" type="datetimeFigureOut">
              <a:rPr lang="en-US" smtClean="0"/>
              <a:t>9/2/2024</a:t>
            </a:fld>
            <a:endParaRPr lang="en-US"/>
          </a:p>
        </p:txBody>
      </p:sp>
      <p:sp>
        <p:nvSpPr>
          <p:cNvPr id="4" name="Footer Placeholder 3">
            <a:extLst>
              <a:ext uri="{FF2B5EF4-FFF2-40B4-BE49-F238E27FC236}">
                <a16:creationId xmlns:a16="http://schemas.microsoft.com/office/drawing/2014/main" id="{EC75FE6D-CCE1-E44E-89A4-77460EF6CCB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AD6315B-F8F9-5649-8DCB-C363E729D5E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3A602F4-4C0C-5F4F-8771-7E15167AE556}" type="slidenum">
              <a:rPr lang="en-US" smtClean="0"/>
              <a:t>‹#›</a:t>
            </a:fld>
            <a:endParaRPr lang="en-US"/>
          </a:p>
        </p:txBody>
      </p:sp>
    </p:spTree>
    <p:extLst>
      <p:ext uri="{BB962C8B-B14F-4D97-AF65-F5344CB8AC3E}">
        <p14:creationId xmlns:p14="http://schemas.microsoft.com/office/powerpoint/2010/main" val="1957455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50AB23-24A6-494C-BA00-B87242B78CB4}" type="datetimeFigureOut">
              <a:rPr lang="en-GB" smtClean="0"/>
              <a:t>02/09/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CA530D-631F-4981-98F0-E6C07C67E1A3}" type="slidenum">
              <a:rPr lang="en-GB" smtClean="0"/>
              <a:t>‹#›</a:t>
            </a:fld>
            <a:endParaRPr lang="en-GB"/>
          </a:p>
        </p:txBody>
      </p:sp>
    </p:spTree>
    <p:extLst>
      <p:ext uri="{BB962C8B-B14F-4D97-AF65-F5344CB8AC3E}">
        <p14:creationId xmlns:p14="http://schemas.microsoft.com/office/powerpoint/2010/main" val="3129541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20CA530D-631F-4981-98F0-E6C07C67E1A3}" type="slidenum">
              <a:rPr lang="en-GB" smtClean="0"/>
              <a:t>1</a:t>
            </a:fld>
            <a:endParaRPr lang="en-GB"/>
          </a:p>
        </p:txBody>
      </p:sp>
    </p:spTree>
    <p:extLst>
      <p:ext uri="{BB962C8B-B14F-4D97-AF65-F5344CB8AC3E}">
        <p14:creationId xmlns:p14="http://schemas.microsoft.com/office/powerpoint/2010/main" val="2455926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a:extLst>
              <a:ext uri="{FF2B5EF4-FFF2-40B4-BE49-F238E27FC236}">
                <a16:creationId xmlns:a16="http://schemas.microsoft.com/office/drawing/2014/main" id="{7852E2CA-09B2-CC0B-7A24-5A20194E0044}"/>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1" name="Notes Placeholder 2">
            <a:extLst>
              <a:ext uri="{FF2B5EF4-FFF2-40B4-BE49-F238E27FC236}">
                <a16:creationId xmlns:a16="http://schemas.microsoft.com/office/drawing/2014/main" id="{649DB436-1DAB-1F2A-F580-35687AF5474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indent="0" algn="just">
              <a:buFontTx/>
              <a:buNone/>
            </a:pPr>
            <a:endParaRPr lang="lv-LV" altLang="lv-LV">
              <a:cs typeface="Arial"/>
            </a:endParaRPr>
          </a:p>
        </p:txBody>
      </p:sp>
      <p:sp>
        <p:nvSpPr>
          <p:cNvPr id="4" name="Slide Number Placeholder 3">
            <a:extLst>
              <a:ext uri="{FF2B5EF4-FFF2-40B4-BE49-F238E27FC236}">
                <a16:creationId xmlns:a16="http://schemas.microsoft.com/office/drawing/2014/main" id="{1D0C0A3C-48A5-E3D4-EAE9-50BD5B4EC69B}"/>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E5105488-9511-49B5-9F91-2E31A796C863}" type="slidenum">
              <a:rPr lang="lv-LV" altLang="en-US">
                <a:latin typeface="Calibri" panose="020F0502020204030204" pitchFamily="34" charset="0"/>
              </a:rPr>
              <a:pPr/>
              <a:t>10</a:t>
            </a:fld>
            <a:endParaRPr lang="lv-LV" altLang="en-US">
              <a:latin typeface="Calibri" panose="020F0502020204030204" pitchFamily="34" charset="0"/>
            </a:endParaRPr>
          </a:p>
        </p:txBody>
      </p:sp>
    </p:spTree>
    <p:extLst>
      <p:ext uri="{BB962C8B-B14F-4D97-AF65-F5344CB8AC3E}">
        <p14:creationId xmlns:p14="http://schemas.microsoft.com/office/powerpoint/2010/main" val="32346493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a:extLst>
              <a:ext uri="{FF2B5EF4-FFF2-40B4-BE49-F238E27FC236}">
                <a16:creationId xmlns:a16="http://schemas.microsoft.com/office/drawing/2014/main" id="{7852E2CA-09B2-CC0B-7A24-5A20194E0044}"/>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1" name="Notes Placeholder 2">
            <a:extLst>
              <a:ext uri="{FF2B5EF4-FFF2-40B4-BE49-F238E27FC236}">
                <a16:creationId xmlns:a16="http://schemas.microsoft.com/office/drawing/2014/main" id="{649DB436-1DAB-1F2A-F580-35687AF5474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indent="0" algn="just">
              <a:buFontTx/>
              <a:buNone/>
            </a:pPr>
            <a:endParaRPr lang="lv-LV" altLang="lv-LV">
              <a:cs typeface="Arial"/>
            </a:endParaRPr>
          </a:p>
        </p:txBody>
      </p:sp>
      <p:sp>
        <p:nvSpPr>
          <p:cNvPr id="4" name="Slide Number Placeholder 3">
            <a:extLst>
              <a:ext uri="{FF2B5EF4-FFF2-40B4-BE49-F238E27FC236}">
                <a16:creationId xmlns:a16="http://schemas.microsoft.com/office/drawing/2014/main" id="{1D0C0A3C-48A5-E3D4-EAE9-50BD5B4EC69B}"/>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E5105488-9511-49B5-9F91-2E31A796C863}" type="slidenum">
              <a:rPr lang="lv-LV" altLang="en-US">
                <a:latin typeface="Calibri" panose="020F0502020204030204" pitchFamily="34" charset="0"/>
              </a:rPr>
              <a:pPr/>
              <a:t>11</a:t>
            </a:fld>
            <a:endParaRPr lang="lv-LV" altLang="en-US">
              <a:latin typeface="Calibri" panose="020F0502020204030204" pitchFamily="34" charset="0"/>
            </a:endParaRPr>
          </a:p>
        </p:txBody>
      </p:sp>
    </p:spTree>
    <p:extLst>
      <p:ext uri="{BB962C8B-B14F-4D97-AF65-F5344CB8AC3E}">
        <p14:creationId xmlns:p14="http://schemas.microsoft.com/office/powerpoint/2010/main" val="13894918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12</a:t>
            </a:fld>
            <a:endParaRPr lang="en-GB"/>
          </a:p>
        </p:txBody>
      </p:sp>
    </p:spTree>
    <p:extLst>
      <p:ext uri="{BB962C8B-B14F-4D97-AF65-F5344CB8AC3E}">
        <p14:creationId xmlns:p14="http://schemas.microsoft.com/office/powerpoint/2010/main" val="15236569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aida attēla vietturis 1">
            <a:extLst>
              <a:ext uri="{FF2B5EF4-FFF2-40B4-BE49-F238E27FC236}">
                <a16:creationId xmlns:a16="http://schemas.microsoft.com/office/drawing/2014/main" id="{40D96A1F-099B-A26A-4328-C6BB747F72A9}"/>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2467" name="Piezīmju vietturis 2">
            <a:extLst>
              <a:ext uri="{FF2B5EF4-FFF2-40B4-BE49-F238E27FC236}">
                <a16:creationId xmlns:a16="http://schemas.microsoft.com/office/drawing/2014/main" id="{65CF0759-C772-EB39-7BB1-4809DEEAD93D}"/>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just"/>
            <a:endParaRPr lang="lv-LV" altLang="lv-LV"/>
          </a:p>
        </p:txBody>
      </p:sp>
      <p:sp>
        <p:nvSpPr>
          <p:cNvPr id="4" name="Slaida numura vietturis 3">
            <a:extLst>
              <a:ext uri="{FF2B5EF4-FFF2-40B4-BE49-F238E27FC236}">
                <a16:creationId xmlns:a16="http://schemas.microsoft.com/office/drawing/2014/main" id="{37AC2A57-FB0B-EAA8-BC18-1B39817BD5DB}"/>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5A1DA7D3-307F-4D4A-A861-41A13283C77F}" type="slidenum">
              <a:rPr lang="lv-LV" altLang="en-US">
                <a:latin typeface="Calibri" panose="020F0502020204030204" pitchFamily="34" charset="0"/>
              </a:rPr>
              <a:pPr/>
              <a:t>13</a:t>
            </a:fld>
            <a:endParaRPr lang="lv-LV" altLang="en-US">
              <a:latin typeface="Calibri" panose="020F0502020204030204"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a:extLst>
              <a:ext uri="{FF2B5EF4-FFF2-40B4-BE49-F238E27FC236}">
                <a16:creationId xmlns:a16="http://schemas.microsoft.com/office/drawing/2014/main" id="{9AD1095B-2E13-F73D-1BC6-9F3EBB06155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1139" name="Notes Placeholder 2">
            <a:extLst>
              <a:ext uri="{FF2B5EF4-FFF2-40B4-BE49-F238E27FC236}">
                <a16:creationId xmlns:a16="http://schemas.microsoft.com/office/drawing/2014/main" id="{6D50536E-54AA-FFCB-350B-1C7B214E01F5}"/>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lv-LV">
              <a:cs typeface="Arial"/>
            </a:endParaRPr>
          </a:p>
        </p:txBody>
      </p:sp>
      <p:sp>
        <p:nvSpPr>
          <p:cNvPr id="4" name="Slide Number Placeholder 3">
            <a:extLst>
              <a:ext uri="{FF2B5EF4-FFF2-40B4-BE49-F238E27FC236}">
                <a16:creationId xmlns:a16="http://schemas.microsoft.com/office/drawing/2014/main" id="{35D2BBCC-1563-2CFC-EDF8-271D18FF5943}"/>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7298E865-20AF-462E-9CB2-077B5ED71575}" type="slidenum">
              <a:rPr lang="lv-LV" altLang="en-US">
                <a:latin typeface="Calibri" panose="020F0502020204030204" pitchFamily="34" charset="0"/>
              </a:rPr>
              <a:pPr/>
              <a:t>14</a:t>
            </a:fld>
            <a:endParaRPr lang="lv-LV" altLang="en-US">
              <a:latin typeface="Calibri" panose="020F0502020204030204" pitchFamily="34" charset="0"/>
            </a:endParaRPr>
          </a:p>
        </p:txBody>
      </p:sp>
    </p:spTree>
    <p:extLst>
      <p:ext uri="{BB962C8B-B14F-4D97-AF65-F5344CB8AC3E}">
        <p14:creationId xmlns:p14="http://schemas.microsoft.com/office/powerpoint/2010/main" val="39758820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a:extLst>
              <a:ext uri="{FF2B5EF4-FFF2-40B4-BE49-F238E27FC236}">
                <a16:creationId xmlns:a16="http://schemas.microsoft.com/office/drawing/2014/main" id="{8AEF6CB8-87AD-C5C2-BCF9-30811486ABE2}"/>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E4C6367E-3CF4-B2EA-8867-687D4DB236B2}"/>
              </a:ext>
            </a:extLst>
          </p:cNvPr>
          <p:cNvSpPr>
            <a:spLocks noGrp="1"/>
          </p:cNvSpPr>
          <p:nvPr>
            <p:ph type="body" idx="1"/>
          </p:nvPr>
        </p:nvSpPr>
        <p:spPr/>
        <p:txBody>
          <a:bodyPr/>
          <a:lstStyle/>
          <a:p>
            <a:pPr algn="just">
              <a:defRPr/>
            </a:pPr>
            <a:endParaRPr lang="en-US"/>
          </a:p>
        </p:txBody>
      </p:sp>
      <p:sp>
        <p:nvSpPr>
          <p:cNvPr id="4" name="Slide Number Placeholder 3">
            <a:extLst>
              <a:ext uri="{FF2B5EF4-FFF2-40B4-BE49-F238E27FC236}">
                <a16:creationId xmlns:a16="http://schemas.microsoft.com/office/drawing/2014/main" id="{5754688A-8CC5-5D81-15E9-A7FBA92762C2}"/>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8EAD38D-5F69-4082-9AB3-D3CBC262BBE2}" type="slidenum">
              <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17149772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a:p>
        </p:txBody>
      </p:sp>
      <p:sp>
        <p:nvSpPr>
          <p:cNvPr id="4" name="Slide Number Placeholder 3"/>
          <p:cNvSpPr>
            <a:spLocks noGrp="1"/>
          </p:cNvSpPr>
          <p:nvPr>
            <p:ph type="sldNum" sz="quarter" idx="5"/>
          </p:nvPr>
        </p:nvSpPr>
        <p:spPr/>
        <p:txBody>
          <a:bodyPr/>
          <a:lstStyle/>
          <a:p>
            <a:fld id="{20CA530D-631F-4981-98F0-E6C07C67E1A3}" type="slidenum">
              <a:rPr lang="en-GB" smtClean="0"/>
              <a:t>17</a:t>
            </a:fld>
            <a:endParaRPr lang="en-GB"/>
          </a:p>
        </p:txBody>
      </p:sp>
    </p:spTree>
    <p:extLst>
      <p:ext uri="{BB962C8B-B14F-4D97-AF65-F5344CB8AC3E}">
        <p14:creationId xmlns:p14="http://schemas.microsoft.com/office/powerpoint/2010/main" val="30651096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a:extLst>
              <a:ext uri="{FF2B5EF4-FFF2-40B4-BE49-F238E27FC236}">
                <a16:creationId xmlns:a16="http://schemas.microsoft.com/office/drawing/2014/main" id="{8AEF6CB8-87AD-C5C2-BCF9-30811486ABE2}"/>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E4C6367E-3CF4-B2EA-8867-687D4DB236B2}"/>
              </a:ext>
            </a:extLst>
          </p:cNvPr>
          <p:cNvSpPr>
            <a:spLocks noGrp="1"/>
          </p:cNvSpPr>
          <p:nvPr>
            <p:ph type="body" idx="1"/>
          </p:nvPr>
        </p:nvSpPr>
        <p:spPr/>
        <p:txBody>
          <a:bodyPr/>
          <a:lstStyle/>
          <a:p>
            <a:pPr algn="just">
              <a:defRPr/>
            </a:pPr>
            <a:endParaRPr lang="en-US"/>
          </a:p>
        </p:txBody>
      </p:sp>
      <p:sp>
        <p:nvSpPr>
          <p:cNvPr id="4" name="Slide Number Placeholder 3">
            <a:extLst>
              <a:ext uri="{FF2B5EF4-FFF2-40B4-BE49-F238E27FC236}">
                <a16:creationId xmlns:a16="http://schemas.microsoft.com/office/drawing/2014/main" id="{5754688A-8CC5-5D81-15E9-A7FBA92762C2}"/>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8EAD38D-5F69-4082-9AB3-D3CBC262BBE2}" type="slidenum">
              <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19933069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19</a:t>
            </a:fld>
            <a:endParaRPr lang="en-GB"/>
          </a:p>
        </p:txBody>
      </p:sp>
    </p:spTree>
    <p:extLst>
      <p:ext uri="{BB962C8B-B14F-4D97-AF65-F5344CB8AC3E}">
        <p14:creationId xmlns:p14="http://schemas.microsoft.com/office/powerpoint/2010/main" val="38976670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20CA530D-631F-4981-98F0-E6C07C67E1A3}" type="slidenum">
              <a:rPr lang="en-GB" smtClean="0"/>
              <a:t>20</a:t>
            </a:fld>
            <a:endParaRPr lang="en-GB"/>
          </a:p>
        </p:txBody>
      </p:sp>
    </p:spTree>
    <p:extLst>
      <p:ext uri="{BB962C8B-B14F-4D97-AF65-F5344CB8AC3E}">
        <p14:creationId xmlns:p14="http://schemas.microsoft.com/office/powerpoint/2010/main" val="14250110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20CA530D-631F-4981-98F0-E6C07C67E1A3}" type="slidenum">
              <a:rPr lang="en-GB" smtClean="0"/>
              <a:t>2</a:t>
            </a:fld>
            <a:endParaRPr lang="en-GB"/>
          </a:p>
        </p:txBody>
      </p:sp>
    </p:spTree>
    <p:extLst>
      <p:ext uri="{BB962C8B-B14F-4D97-AF65-F5344CB8AC3E}">
        <p14:creationId xmlns:p14="http://schemas.microsoft.com/office/powerpoint/2010/main" val="20678224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a:extLst>
              <a:ext uri="{FF2B5EF4-FFF2-40B4-BE49-F238E27FC236}">
                <a16:creationId xmlns:a16="http://schemas.microsoft.com/office/drawing/2014/main" id="{8AEF6CB8-87AD-C5C2-BCF9-30811486ABE2}"/>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E4C6367E-3CF4-B2EA-8867-687D4DB236B2}"/>
              </a:ext>
            </a:extLst>
          </p:cNvPr>
          <p:cNvSpPr>
            <a:spLocks noGrp="1"/>
          </p:cNvSpPr>
          <p:nvPr>
            <p:ph type="body" idx="1"/>
          </p:nvPr>
        </p:nvSpPr>
        <p:spPr/>
        <p:txBody>
          <a:bodyPr/>
          <a:lstStyle/>
          <a:p>
            <a:pPr algn="just">
              <a:defRPr/>
            </a:pPr>
            <a:endParaRPr lang="lv-LV"/>
          </a:p>
        </p:txBody>
      </p:sp>
      <p:sp>
        <p:nvSpPr>
          <p:cNvPr id="4" name="Slide Number Placeholder 3">
            <a:extLst>
              <a:ext uri="{FF2B5EF4-FFF2-40B4-BE49-F238E27FC236}">
                <a16:creationId xmlns:a16="http://schemas.microsoft.com/office/drawing/2014/main" id="{5754688A-8CC5-5D81-15E9-A7FBA92762C2}"/>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8EAD38D-5F69-4082-9AB3-D3CBC262BBE2}" type="slidenum">
              <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10505886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t>22</a:t>
            </a:fld>
            <a:endParaRPr lang="en-GB"/>
          </a:p>
        </p:txBody>
      </p:sp>
    </p:spTree>
    <p:extLst>
      <p:ext uri="{BB962C8B-B14F-4D97-AF65-F5344CB8AC3E}">
        <p14:creationId xmlns:p14="http://schemas.microsoft.com/office/powerpoint/2010/main" val="32581010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t>23</a:t>
            </a:fld>
            <a:endParaRPr lang="en-GB"/>
          </a:p>
        </p:txBody>
      </p:sp>
    </p:spTree>
    <p:extLst>
      <p:ext uri="{BB962C8B-B14F-4D97-AF65-F5344CB8AC3E}">
        <p14:creationId xmlns:p14="http://schemas.microsoft.com/office/powerpoint/2010/main" val="10068656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25</a:t>
            </a:fld>
            <a:endParaRPr lang="en-GB"/>
          </a:p>
        </p:txBody>
      </p:sp>
    </p:spTree>
    <p:extLst>
      <p:ext uri="{BB962C8B-B14F-4D97-AF65-F5344CB8AC3E}">
        <p14:creationId xmlns:p14="http://schemas.microsoft.com/office/powerpoint/2010/main" val="30951583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t>26</a:t>
            </a:fld>
            <a:endParaRPr lang="en-GB"/>
          </a:p>
        </p:txBody>
      </p:sp>
    </p:spTree>
    <p:extLst>
      <p:ext uri="{BB962C8B-B14F-4D97-AF65-F5344CB8AC3E}">
        <p14:creationId xmlns:p14="http://schemas.microsoft.com/office/powerpoint/2010/main" val="6758897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t>27</a:t>
            </a:fld>
            <a:endParaRPr lang="en-GB"/>
          </a:p>
        </p:txBody>
      </p:sp>
    </p:spTree>
    <p:extLst>
      <p:ext uri="{BB962C8B-B14F-4D97-AF65-F5344CB8AC3E}">
        <p14:creationId xmlns:p14="http://schemas.microsoft.com/office/powerpoint/2010/main" val="319408655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20CA530D-631F-4981-98F0-E6C07C67E1A3}" type="slidenum">
              <a:rPr lang="en-GB" smtClean="0"/>
              <a:t>28</a:t>
            </a:fld>
            <a:endParaRPr lang="en-GB"/>
          </a:p>
        </p:txBody>
      </p:sp>
    </p:spTree>
    <p:extLst>
      <p:ext uri="{BB962C8B-B14F-4D97-AF65-F5344CB8AC3E}">
        <p14:creationId xmlns:p14="http://schemas.microsoft.com/office/powerpoint/2010/main" val="133584318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20CA530D-631F-4981-98F0-E6C07C67E1A3}" type="slidenum">
              <a:rPr lang="en-GB" smtClean="0"/>
              <a:t>29</a:t>
            </a:fld>
            <a:endParaRPr lang="en-GB"/>
          </a:p>
        </p:txBody>
      </p:sp>
    </p:spTree>
    <p:extLst>
      <p:ext uri="{BB962C8B-B14F-4D97-AF65-F5344CB8AC3E}">
        <p14:creationId xmlns:p14="http://schemas.microsoft.com/office/powerpoint/2010/main" val="33303846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t>30</a:t>
            </a:fld>
            <a:endParaRPr lang="en-GB"/>
          </a:p>
        </p:txBody>
      </p:sp>
    </p:spTree>
    <p:extLst>
      <p:ext uri="{BB962C8B-B14F-4D97-AF65-F5344CB8AC3E}">
        <p14:creationId xmlns:p14="http://schemas.microsoft.com/office/powerpoint/2010/main" val="32013290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31</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6426956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20CA530D-631F-4981-98F0-E6C07C67E1A3}" type="slidenum">
              <a:rPr lang="en-GB" smtClean="0"/>
              <a:t>3</a:t>
            </a:fld>
            <a:endParaRPr lang="en-GB"/>
          </a:p>
        </p:txBody>
      </p:sp>
    </p:spTree>
    <p:extLst>
      <p:ext uri="{BB962C8B-B14F-4D97-AF65-F5344CB8AC3E}">
        <p14:creationId xmlns:p14="http://schemas.microsoft.com/office/powerpoint/2010/main" val="1781539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32</a:t>
            </a:fld>
            <a:endParaRPr lang="en-GB"/>
          </a:p>
        </p:txBody>
      </p:sp>
    </p:spTree>
    <p:extLst>
      <p:ext uri="{BB962C8B-B14F-4D97-AF65-F5344CB8AC3E}">
        <p14:creationId xmlns:p14="http://schemas.microsoft.com/office/powerpoint/2010/main" val="240269032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20CA530D-631F-4981-98F0-E6C07C67E1A3}" type="slidenum">
              <a:rPr lang="en-GB" smtClean="0"/>
              <a:t>33</a:t>
            </a:fld>
            <a:endParaRPr lang="en-GB"/>
          </a:p>
        </p:txBody>
      </p:sp>
    </p:spTree>
    <p:extLst>
      <p:ext uri="{BB962C8B-B14F-4D97-AF65-F5344CB8AC3E}">
        <p14:creationId xmlns:p14="http://schemas.microsoft.com/office/powerpoint/2010/main" val="29058860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a:p>
        </p:txBody>
      </p:sp>
    </p:spTree>
    <p:extLst>
      <p:ext uri="{BB962C8B-B14F-4D97-AF65-F5344CB8AC3E}">
        <p14:creationId xmlns:p14="http://schemas.microsoft.com/office/powerpoint/2010/main" val="3620291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a:p>
        </p:txBody>
      </p:sp>
    </p:spTree>
    <p:extLst>
      <p:ext uri="{BB962C8B-B14F-4D97-AF65-F5344CB8AC3E}">
        <p14:creationId xmlns:p14="http://schemas.microsoft.com/office/powerpoint/2010/main" val="282859737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a:p>
        </p:txBody>
      </p:sp>
    </p:spTree>
    <p:extLst>
      <p:ext uri="{BB962C8B-B14F-4D97-AF65-F5344CB8AC3E}">
        <p14:creationId xmlns:p14="http://schemas.microsoft.com/office/powerpoint/2010/main" val="17883693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t>4</a:t>
            </a:fld>
            <a:endParaRPr lang="en-GB"/>
          </a:p>
        </p:txBody>
      </p:sp>
    </p:spTree>
    <p:extLst>
      <p:ext uri="{BB962C8B-B14F-4D97-AF65-F5344CB8AC3E}">
        <p14:creationId xmlns:p14="http://schemas.microsoft.com/office/powerpoint/2010/main" val="36615251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5</a:t>
            </a:fld>
            <a:endParaRPr lang="en-GB"/>
          </a:p>
        </p:txBody>
      </p:sp>
    </p:spTree>
    <p:extLst>
      <p:ext uri="{BB962C8B-B14F-4D97-AF65-F5344CB8AC3E}">
        <p14:creationId xmlns:p14="http://schemas.microsoft.com/office/powerpoint/2010/main" val="26772525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a:extLst>
              <a:ext uri="{FF2B5EF4-FFF2-40B4-BE49-F238E27FC236}">
                <a16:creationId xmlns:a16="http://schemas.microsoft.com/office/drawing/2014/main" id="{8AEF6CB8-87AD-C5C2-BCF9-30811486ABE2}"/>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E4C6367E-3CF4-B2EA-8867-687D4DB236B2}"/>
              </a:ext>
            </a:extLst>
          </p:cNvPr>
          <p:cNvSpPr>
            <a:spLocks noGrp="1"/>
          </p:cNvSpPr>
          <p:nvPr>
            <p:ph type="body" idx="1"/>
          </p:nvPr>
        </p:nvSpPr>
        <p:spPr/>
        <p:txBody>
          <a:bodyPr/>
          <a:lstStyle/>
          <a:p>
            <a:pPr algn="just">
              <a:defRPr/>
            </a:pPr>
            <a:endParaRPr lang="lv-LV"/>
          </a:p>
        </p:txBody>
      </p:sp>
      <p:sp>
        <p:nvSpPr>
          <p:cNvPr id="4" name="Slide Number Placeholder 3">
            <a:extLst>
              <a:ext uri="{FF2B5EF4-FFF2-40B4-BE49-F238E27FC236}">
                <a16:creationId xmlns:a16="http://schemas.microsoft.com/office/drawing/2014/main" id="{5754688A-8CC5-5D81-15E9-A7FBA92762C2}"/>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8EAD38D-5F69-4082-9AB3-D3CBC262BBE2}" type="slidenum">
              <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28288749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7</a:t>
            </a:fld>
            <a:endParaRPr lang="en-GB"/>
          </a:p>
        </p:txBody>
      </p:sp>
    </p:spTree>
    <p:extLst>
      <p:ext uri="{BB962C8B-B14F-4D97-AF65-F5344CB8AC3E}">
        <p14:creationId xmlns:p14="http://schemas.microsoft.com/office/powerpoint/2010/main" val="26425900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a:extLst>
              <a:ext uri="{FF2B5EF4-FFF2-40B4-BE49-F238E27FC236}">
                <a16:creationId xmlns:a16="http://schemas.microsoft.com/office/drawing/2014/main" id="{7852E2CA-09B2-CC0B-7A24-5A20194E0044}"/>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1" name="Notes Placeholder 2">
            <a:extLst>
              <a:ext uri="{FF2B5EF4-FFF2-40B4-BE49-F238E27FC236}">
                <a16:creationId xmlns:a16="http://schemas.microsoft.com/office/drawing/2014/main" id="{649DB436-1DAB-1F2A-F580-35687AF5474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indent="0" algn="just">
              <a:buFontTx/>
              <a:buNone/>
            </a:pPr>
            <a:endParaRPr lang="lv-LV" altLang="lv-LV">
              <a:cs typeface="Arial"/>
            </a:endParaRPr>
          </a:p>
        </p:txBody>
      </p:sp>
      <p:sp>
        <p:nvSpPr>
          <p:cNvPr id="4" name="Slide Number Placeholder 3">
            <a:extLst>
              <a:ext uri="{FF2B5EF4-FFF2-40B4-BE49-F238E27FC236}">
                <a16:creationId xmlns:a16="http://schemas.microsoft.com/office/drawing/2014/main" id="{1D0C0A3C-48A5-E3D4-EAE9-50BD5B4EC69B}"/>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E5105488-9511-49B5-9F91-2E31A796C863}" type="slidenum">
              <a:rPr lang="lv-LV" altLang="en-US">
                <a:latin typeface="Calibri" panose="020F0502020204030204" pitchFamily="34" charset="0"/>
              </a:rPr>
              <a:pPr/>
              <a:t>8</a:t>
            </a:fld>
            <a:endParaRPr lang="lv-LV" altLang="en-US">
              <a:latin typeface="Calibri" panose="020F0502020204030204" pitchFamily="34" charset="0"/>
            </a:endParaRPr>
          </a:p>
        </p:txBody>
      </p:sp>
    </p:spTree>
    <p:extLst>
      <p:ext uri="{BB962C8B-B14F-4D97-AF65-F5344CB8AC3E}">
        <p14:creationId xmlns:p14="http://schemas.microsoft.com/office/powerpoint/2010/main" val="24056334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a:extLst>
              <a:ext uri="{FF2B5EF4-FFF2-40B4-BE49-F238E27FC236}">
                <a16:creationId xmlns:a16="http://schemas.microsoft.com/office/drawing/2014/main" id="{7852E2CA-09B2-CC0B-7A24-5A20194E0044}"/>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1" name="Notes Placeholder 2">
            <a:extLst>
              <a:ext uri="{FF2B5EF4-FFF2-40B4-BE49-F238E27FC236}">
                <a16:creationId xmlns:a16="http://schemas.microsoft.com/office/drawing/2014/main" id="{649DB436-1DAB-1F2A-F580-35687AF5474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indent="0" algn="just">
              <a:buFontTx/>
              <a:buNone/>
            </a:pPr>
            <a:endParaRPr lang="lv-LV" altLang="lv-LV"/>
          </a:p>
        </p:txBody>
      </p:sp>
      <p:sp>
        <p:nvSpPr>
          <p:cNvPr id="4" name="Slide Number Placeholder 3">
            <a:extLst>
              <a:ext uri="{FF2B5EF4-FFF2-40B4-BE49-F238E27FC236}">
                <a16:creationId xmlns:a16="http://schemas.microsoft.com/office/drawing/2014/main" id="{1D0C0A3C-48A5-E3D4-EAE9-50BD5B4EC69B}"/>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E5105488-9511-49B5-9F91-2E31A796C863}" type="slidenum">
              <a:rPr lang="lv-LV" altLang="en-US">
                <a:latin typeface="Calibri" panose="020F0502020204030204" pitchFamily="34" charset="0"/>
              </a:rPr>
              <a:pPr/>
              <a:t>9</a:t>
            </a:fld>
            <a:endParaRPr lang="lv-LV" altLang="en-US">
              <a:latin typeface="Calibri" panose="020F0502020204030204" pitchFamily="34" charset="0"/>
            </a:endParaRPr>
          </a:p>
        </p:txBody>
      </p:sp>
    </p:spTree>
    <p:extLst>
      <p:ext uri="{BB962C8B-B14F-4D97-AF65-F5344CB8AC3E}">
        <p14:creationId xmlns:p14="http://schemas.microsoft.com/office/powerpoint/2010/main" val="35579922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sp>
        <p:nvSpPr>
          <p:cNvPr id="9" name="Rectangle 8"/>
          <p:cNvSpPr/>
          <p:nvPr/>
        </p:nvSpPr>
        <p:spPr bwMode="hidden">
          <a:xfrm>
            <a:off x="0" y="0"/>
            <a:ext cx="8096250" cy="3429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p:nvSpPr>
        <p:spPr bwMode="hidden">
          <a:xfrm>
            <a:off x="0" y="3429000"/>
            <a:ext cx="8096250" cy="1143000"/>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p:cNvSpPr/>
          <p:nvPr/>
        </p:nvSpPr>
        <p:spPr bwMode="hidden">
          <a:xfrm>
            <a:off x="8096250" y="0"/>
            <a:ext cx="4095750" cy="3429000"/>
          </a:xfrm>
          <a:prstGeom prst="rect">
            <a:avLst/>
          </a:prstGeom>
          <a:solidFill>
            <a:srgbClr val="EB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4"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25422302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6E9B7AB-8379-3341-BEF5-2E85A7299A74}"/>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859B7FC3-54D3-A044-9662-AED001F4D972}"/>
              </a:ext>
            </a:extLst>
          </p:cNvPr>
          <p:cNvSpPr>
            <a:spLocks noGrp="1"/>
          </p:cNvSpPr>
          <p:nvPr>
            <p:ph type="dt" sz="half" idx="12"/>
          </p:nvPr>
        </p:nvSpPr>
        <p:spPr>
          <a:xfrm>
            <a:off x="9984296" y="6355080"/>
            <a:ext cx="1764792" cy="137160"/>
          </a:xfrm>
          <a:prstGeom prst="rect">
            <a:avLst/>
          </a:prstGeom>
        </p:spPr>
        <p:txBody>
          <a:bodyPr/>
          <a:lstStyle/>
          <a:p>
            <a:r>
              <a:rPr lang="en-US"/>
              <a:t>Date</a:t>
            </a:r>
          </a:p>
        </p:txBody>
      </p:sp>
      <p:sp>
        <p:nvSpPr>
          <p:cNvPr id="3" name="Footer Placeholder 2">
            <a:extLst>
              <a:ext uri="{FF2B5EF4-FFF2-40B4-BE49-F238E27FC236}">
                <a16:creationId xmlns:a16="http://schemas.microsoft.com/office/drawing/2014/main" id="{03092CA8-9C8A-8146-8F00-4833507614AE}"/>
              </a:ext>
            </a:extLst>
          </p:cNvPr>
          <p:cNvSpPr>
            <a:spLocks noGrp="1"/>
          </p:cNvSpPr>
          <p:nvPr>
            <p:ph type="ftr" sz="quarter" idx="13"/>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23611992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All Grey">
    <p:bg>
      <p:bgPr>
        <a:solidFill>
          <a:srgbClr val="46464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3"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3917376436"/>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2" y="2103120"/>
            <a:ext cx="11306175" cy="4073842"/>
          </a:xfrm>
        </p:spPr>
        <p:txBody>
          <a:bodyPr/>
          <a:lstStyle>
            <a:lvl1pPr marL="730250" indent="-730250">
              <a:lnSpc>
                <a:spcPct val="90000"/>
              </a:lnSpc>
              <a:spcBef>
                <a:spcPts val="0"/>
              </a:spcBef>
              <a:spcAft>
                <a:spcPts val="600"/>
              </a:spcAft>
              <a:buClr>
                <a:schemeClr val="accent1"/>
              </a:buClr>
              <a:buFont typeface="+mj-lt"/>
              <a:buAutoNum type="arabicPeriod"/>
              <a:tabLst>
                <a:tab pos="10623550" algn="r"/>
              </a:tabLst>
              <a:defRPr sz="2800" b="0">
                <a:solidFill>
                  <a:schemeClr val="tx1"/>
                </a:solidFill>
              </a:defRPr>
            </a:lvl1pPr>
            <a:lvl2pPr marL="730250" indent="0">
              <a:buClr>
                <a:schemeClr val="accent4"/>
              </a:buClr>
              <a:buFont typeface="+mj-lt"/>
              <a:buNone/>
              <a:tabLst>
                <a:tab pos="10623550" algn="r"/>
              </a:tabLst>
              <a:defRPr sz="1600"/>
            </a:lvl2pPr>
            <a:lvl3pPr marL="914400" indent="-182563">
              <a:lnSpc>
                <a:spcPct val="100000"/>
              </a:lnSpc>
              <a:tabLst>
                <a:tab pos="10623550" algn="r"/>
              </a:tabLst>
              <a:defRPr/>
            </a:lvl3pPr>
            <a:lvl4pPr marL="1096963" indent="-182563">
              <a:lnSpc>
                <a:spcPct val="100000"/>
              </a:lnSpc>
              <a:tabLst>
                <a:tab pos="10623550" algn="r"/>
              </a:tabLst>
              <a:defRPr/>
            </a:lvl4pPr>
            <a:lvl5pPr marL="1279525" indent="-182563">
              <a:lnSpc>
                <a:spcPct val="100000"/>
              </a:lnSpc>
              <a:tabLst>
                <a:tab pos="10623550" algn="r"/>
              </a:tabLst>
              <a:defRPr/>
            </a:lvl5pPr>
            <a:lvl6pPr marL="1462088" indent="-182563">
              <a:lnSpc>
                <a:spcPct val="100000"/>
              </a:lnSpc>
              <a:tabLst>
                <a:tab pos="10623550" algn="r"/>
              </a:tabLst>
              <a:defRPr/>
            </a:lvl6pPr>
            <a:lvl7pPr marL="1644650" indent="-182563">
              <a:lnSpc>
                <a:spcPct val="100000"/>
              </a:lnSpc>
              <a:tabLst>
                <a:tab pos="10623550" algn="r"/>
              </a:tabLst>
              <a:defRPr/>
            </a:lvl7pPr>
            <a:lvl8pPr marL="1828800" indent="-182563">
              <a:lnSpc>
                <a:spcPct val="100000"/>
              </a:lnSpc>
              <a:tabLst>
                <a:tab pos="10623550" algn="r"/>
              </a:tabLst>
              <a:defRPr/>
            </a:lvl8pPr>
            <a:lvl9pPr marL="2011363" indent="-182563">
              <a:lnSpc>
                <a:spcPct val="100000"/>
              </a:lnSpc>
              <a:tabLst>
                <a:tab pos="1062355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7092926E-C7A2-1946-B74B-5EC49D3EAE3C}"/>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2A29A14A-827E-1247-9162-E763C985ACD0}"/>
              </a:ext>
            </a:extLst>
          </p:cNvPr>
          <p:cNvSpPr>
            <a:spLocks noGrp="1"/>
          </p:cNvSpPr>
          <p:nvPr>
            <p:ph type="dt" sz="half" idx="12"/>
          </p:nvPr>
        </p:nvSpPr>
        <p:spPr/>
        <p:txBody>
          <a:bodyPr/>
          <a:lstStyle/>
          <a:p>
            <a:r>
              <a:rPr lang="en-US"/>
              <a:t>Date</a:t>
            </a:r>
          </a:p>
        </p:txBody>
      </p:sp>
      <p:sp>
        <p:nvSpPr>
          <p:cNvPr id="5" name="Footer Placeholder 4">
            <a:extLst>
              <a:ext uri="{FF2B5EF4-FFF2-40B4-BE49-F238E27FC236}">
                <a16:creationId xmlns:a16="http://schemas.microsoft.com/office/drawing/2014/main" id="{B0AE826D-197B-B84E-8B9B-E0610700761D}"/>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21235206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120"/>
            <a:ext cx="7418387" cy="40738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FA1CAC76-AD94-234E-8386-FD25DC54D41B}"/>
              </a:ext>
            </a:extLst>
          </p:cNvPr>
          <p:cNvSpPr>
            <a:spLocks noGrp="1"/>
          </p:cNvSpPr>
          <p:nvPr>
            <p:ph type="dt" sz="half" idx="12"/>
          </p:nvPr>
        </p:nvSpPr>
        <p:spPr/>
        <p:txBody>
          <a:bodyPr/>
          <a:lstStyle/>
          <a:p>
            <a:r>
              <a:rPr lang="en-US"/>
              <a:t>Date</a:t>
            </a:r>
          </a:p>
        </p:txBody>
      </p:sp>
      <p:sp>
        <p:nvSpPr>
          <p:cNvPr id="5" name="Footer Placeholder 4">
            <a:extLst>
              <a:ext uri="{FF2B5EF4-FFF2-40B4-BE49-F238E27FC236}">
                <a16:creationId xmlns:a16="http://schemas.microsoft.com/office/drawing/2014/main" id="{89486007-FECF-0B43-98E4-BE646CA75FA9}"/>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11771131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Ful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120"/>
            <a:ext cx="11306175" cy="40738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6" name="Slide Number Placeholder 5">
            <a:extLst>
              <a:ext uri="{FF2B5EF4-FFF2-40B4-BE49-F238E27FC236}">
                <a16:creationId xmlns:a16="http://schemas.microsoft.com/office/drawing/2014/main" id="{C7AE0E6F-13EB-BD40-A19F-F1CFDDB46584}"/>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77EE818A-A3B1-A74B-A063-799FD726DC71}"/>
              </a:ext>
            </a:extLst>
          </p:cNvPr>
          <p:cNvSpPr>
            <a:spLocks noGrp="1"/>
          </p:cNvSpPr>
          <p:nvPr>
            <p:ph type="dt" sz="half" idx="12"/>
          </p:nvPr>
        </p:nvSpPr>
        <p:spPr/>
        <p:txBody>
          <a:bodyPr/>
          <a:lstStyle/>
          <a:p>
            <a:r>
              <a:rPr lang="en-US"/>
              <a:t>Date</a:t>
            </a:r>
          </a:p>
        </p:txBody>
      </p:sp>
      <p:sp>
        <p:nvSpPr>
          <p:cNvPr id="5" name="Footer Placeholder 4">
            <a:extLst>
              <a:ext uri="{FF2B5EF4-FFF2-40B4-BE49-F238E27FC236}">
                <a16:creationId xmlns:a16="http://schemas.microsoft.com/office/drawing/2014/main" id="{3EB0F34F-6B8E-584C-9E9F-165D07878245}"/>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32581720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3" name="Date Placeholder 2">
            <a:extLst>
              <a:ext uri="{FF2B5EF4-FFF2-40B4-BE49-F238E27FC236}">
                <a16:creationId xmlns:a16="http://schemas.microsoft.com/office/drawing/2014/main" id="{78ADAC9E-8878-DA41-A1D3-2D5C54FB456A}"/>
              </a:ext>
            </a:extLst>
          </p:cNvPr>
          <p:cNvSpPr>
            <a:spLocks noGrp="1"/>
          </p:cNvSpPr>
          <p:nvPr>
            <p:ph type="dt" sz="half" idx="12"/>
          </p:nvPr>
        </p:nvSpPr>
        <p:spPr/>
        <p:txBody>
          <a:bodyPr/>
          <a:lstStyle/>
          <a:p>
            <a:r>
              <a:rPr lang="en-US"/>
              <a:t>Date</a:t>
            </a:r>
          </a:p>
        </p:txBody>
      </p:sp>
      <p:sp>
        <p:nvSpPr>
          <p:cNvPr id="4" name="Footer Placeholder 3">
            <a:extLst>
              <a:ext uri="{FF2B5EF4-FFF2-40B4-BE49-F238E27FC236}">
                <a16:creationId xmlns:a16="http://schemas.microsoft.com/office/drawing/2014/main" id="{839088E2-6117-534E-A3B5-65400594E309}"/>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15315883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1251F687-9DDF-5971-6C01-48B246449A4A}"/>
              </a:ext>
            </a:extLst>
          </p:cNvPr>
          <p:cNvSpPr>
            <a:spLocks noGrp="1"/>
          </p:cNvSpPr>
          <p:nvPr>
            <p:ph type="pic" sz="quarter" idx="10"/>
          </p:nvPr>
        </p:nvSpPr>
        <p:spPr>
          <a:xfrm>
            <a:off x="0" y="0"/>
            <a:ext cx="12192000" cy="6858000"/>
          </a:xfrm>
        </p:spPr>
        <p:txBody>
          <a:bodyPr/>
          <a:lstStyle/>
          <a:p>
            <a:endParaRPr lang="en-GB"/>
          </a:p>
        </p:txBody>
      </p:sp>
    </p:spTree>
    <p:extLst>
      <p:ext uri="{BB962C8B-B14F-4D97-AF65-F5344CB8AC3E}">
        <p14:creationId xmlns:p14="http://schemas.microsoft.com/office/powerpoint/2010/main" val="13386058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Title Slide 1">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7EB58BF2-7720-951A-0737-25DCDFC44C9A}"/>
              </a:ext>
            </a:extLst>
          </p:cNvPr>
          <p:cNvGraphicFramePr>
            <a:graphicFrameLocks noChangeAspect="1"/>
          </p:cNvGraphicFramePr>
          <p:nvPr userDrawn="1">
            <p:custDataLst>
              <p:tags r:id="rId1"/>
            </p:custDataLst>
            <p:extLst>
              <p:ext uri="{D42A27DB-BD31-4B8C-83A1-F6EECF244321}">
                <p14:modId xmlns:p14="http://schemas.microsoft.com/office/powerpoint/2010/main" val="2295902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2" name="think-cell data - do not delete" hidden="1">
                        <a:extLst>
                          <a:ext uri="{FF2B5EF4-FFF2-40B4-BE49-F238E27FC236}">
                            <a16:creationId xmlns:a16="http://schemas.microsoft.com/office/drawing/2014/main" id="{7EB58BF2-7720-951A-0737-25DCDFC44C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9C024489-97EC-1D48-A1FA-019C1228618C}"/>
              </a:ext>
            </a:extLst>
          </p:cNvPr>
          <p:cNvPicPr>
            <a:picLocks noChangeAspect="1"/>
          </p:cNvPicPr>
          <p:nvPr userDrawn="1"/>
        </p:nvPicPr>
        <p:blipFill>
          <a:blip r:embed="rId5"/>
          <a:stretch>
            <a:fillRect/>
          </a:stretch>
        </p:blipFill>
        <p:spPr bwMode="gray">
          <a:xfrm>
            <a:off x="185139" y="5330952"/>
            <a:ext cx="1636776" cy="1351185"/>
          </a:xfrm>
          <a:prstGeom prst="rect">
            <a:avLst/>
          </a:prstGeom>
        </p:spPr>
      </p:pic>
      <p:sp>
        <p:nvSpPr>
          <p:cNvPr id="14" name="Picture Placeholder 13">
            <a:extLst>
              <a:ext uri="{FF2B5EF4-FFF2-40B4-BE49-F238E27FC236}">
                <a16:creationId xmlns:a16="http://schemas.microsoft.com/office/drawing/2014/main" id="{A6EC04CA-D2F1-3C13-C6B0-7A92F7B31B2A}"/>
              </a:ext>
            </a:extLst>
          </p:cNvPr>
          <p:cNvSpPr>
            <a:spLocks noGrp="1"/>
          </p:cNvSpPr>
          <p:nvPr>
            <p:ph type="pic" sz="quarter" idx="10"/>
          </p:nvPr>
        </p:nvSpPr>
        <p:spPr>
          <a:xfrm>
            <a:off x="4327525" y="0"/>
            <a:ext cx="7864475" cy="6858000"/>
          </a:xfrm>
        </p:spPr>
        <p:txBody>
          <a:bodyPr/>
          <a:lstStyle/>
          <a:p>
            <a:endParaRPr lang="en-GB"/>
          </a:p>
        </p:txBody>
      </p:sp>
      <p:grpSp>
        <p:nvGrpSpPr>
          <p:cNvPr id="4" name="Group 3">
            <a:extLst>
              <a:ext uri="{FF2B5EF4-FFF2-40B4-BE49-F238E27FC236}">
                <a16:creationId xmlns:a16="http://schemas.microsoft.com/office/drawing/2014/main" id="{0B63678F-DB3A-4415-7580-95B39A40636E}"/>
              </a:ext>
            </a:extLst>
          </p:cNvPr>
          <p:cNvGrpSpPr/>
          <p:nvPr userDrawn="1"/>
        </p:nvGrpSpPr>
        <p:grpSpPr>
          <a:xfrm>
            <a:off x="0" y="0"/>
            <a:ext cx="8914102" cy="6858001"/>
            <a:chOff x="0" y="0"/>
            <a:chExt cx="8914102" cy="6858001"/>
          </a:xfrm>
        </p:grpSpPr>
        <p:sp>
          <p:nvSpPr>
            <p:cNvPr id="5" name="Freeform 13">
              <a:extLst>
                <a:ext uri="{FF2B5EF4-FFF2-40B4-BE49-F238E27FC236}">
                  <a16:creationId xmlns:a16="http://schemas.microsoft.com/office/drawing/2014/main" id="{3FECC16A-B1FD-FAF5-EB5C-6894270D0777}"/>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6" name="Picture 5">
              <a:extLst>
                <a:ext uri="{FF2B5EF4-FFF2-40B4-BE49-F238E27FC236}">
                  <a16:creationId xmlns:a16="http://schemas.microsoft.com/office/drawing/2014/main" id="{C11D32D6-B442-BFC3-1C38-B121D9F3236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black">
            <a:xfrm>
              <a:off x="185139" y="5330952"/>
              <a:ext cx="1636776" cy="1351184"/>
            </a:xfrm>
            <a:prstGeom prst="rect">
              <a:avLst/>
            </a:prstGeom>
          </p:spPr>
        </p:pic>
      </p:grpSp>
      <p:sp>
        <p:nvSpPr>
          <p:cNvPr id="2" name="Title 1"/>
          <p:cNvSpPr>
            <a:spLocks noGrp="1"/>
          </p:cNvSpPr>
          <p:nvPr>
            <p:ph type="ctrTitle" hasCustomPrompt="1"/>
          </p:nvPr>
        </p:nvSpPr>
        <p:spPr>
          <a:xfrm>
            <a:off x="442912" y="428625"/>
            <a:ext cx="7418388" cy="2428874"/>
          </a:xfrm>
        </p:spPr>
        <p:txBody>
          <a:bodyPr vert="horz" anchor="b" anchorCtr="0"/>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4"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16142611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AA63D08-C1EF-1209-D92A-F9340ECB7028}"/>
              </a:ext>
            </a:extLst>
          </p:cNvPr>
          <p:cNvGraphicFramePr>
            <a:graphicFrameLocks noChangeAspect="1"/>
          </p:cNvGraphicFramePr>
          <p:nvPr userDrawn="1">
            <p:custDataLst>
              <p:tags r:id="rId1"/>
            </p:custDataLst>
            <p:extLst>
              <p:ext uri="{D42A27DB-BD31-4B8C-83A1-F6EECF244321}">
                <p14:modId xmlns:p14="http://schemas.microsoft.com/office/powerpoint/2010/main" val="1474281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think-cell data - do not delete" hidden="1">
                        <a:extLst>
                          <a:ext uri="{FF2B5EF4-FFF2-40B4-BE49-F238E27FC236}">
                            <a16:creationId xmlns:a16="http://schemas.microsoft.com/office/drawing/2014/main" id="{EAA63D08-C1EF-1209-D92A-F9340ECB70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442913" y="432001"/>
            <a:ext cx="11306175" cy="1387274"/>
          </a:xfrm>
        </p:spPr>
        <p:txBody>
          <a:bodyPr vert="horz"/>
          <a:lstStyle>
            <a:lvl1pPr>
              <a:defRPr/>
            </a:lvl1pPr>
          </a:lstStyle>
          <a:p>
            <a:r>
              <a:rPr lang="en-GB"/>
              <a:t>[Slide title]</a:t>
            </a:r>
          </a:p>
        </p:txBody>
      </p:sp>
      <p:sp>
        <p:nvSpPr>
          <p:cNvPr id="8" name="Slide Number Placeholder 7">
            <a:extLst>
              <a:ext uri="{FF2B5EF4-FFF2-40B4-BE49-F238E27FC236}">
                <a16:creationId xmlns:a16="http://schemas.microsoft.com/office/drawing/2014/main" id="{60EBCCBD-1A86-40AC-A00D-684E435E0AEB}"/>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fld id="{3EC6AC87-B589-456E-9CA9-7CF796F27D61}" type="slidenum">
              <a:rPr lang="en-GB" smtClean="0"/>
              <a:pPr/>
              <a:t>‹#›</a:t>
            </a:fld>
            <a:endParaRPr lang="en-GB"/>
          </a:p>
        </p:txBody>
      </p:sp>
      <p:sp>
        <p:nvSpPr>
          <p:cNvPr id="5" name="Text Placeholder 4">
            <a:extLst>
              <a:ext uri="{FF2B5EF4-FFF2-40B4-BE49-F238E27FC236}">
                <a16:creationId xmlns:a16="http://schemas.microsoft.com/office/drawing/2014/main" id="{9A6E1836-B134-C7A2-6A2C-A5A30EA0AF47}"/>
              </a:ext>
            </a:extLst>
          </p:cNvPr>
          <p:cNvSpPr>
            <a:spLocks noGrp="1"/>
          </p:cNvSpPr>
          <p:nvPr>
            <p:ph type="body" sz="quarter" idx="13" hasCustomPrompt="1"/>
          </p:nvPr>
        </p:nvSpPr>
        <p:spPr>
          <a:xfrm>
            <a:off x="442913" y="6328730"/>
            <a:ext cx="7418387" cy="138113"/>
          </a:xfrm>
        </p:spPr>
        <p:txBody>
          <a:bodyPr anchor="b"/>
          <a:lstStyle>
            <a:lvl1pPr>
              <a:spcAft>
                <a:spcPts val="0"/>
              </a:spcAft>
              <a:defRPr sz="750" b="0">
                <a:solidFill>
                  <a:schemeClr val="tx1"/>
                </a:solidFill>
              </a:defRPr>
            </a:lvl1pPr>
          </a:lstStyle>
          <a:p>
            <a:pPr lvl="0"/>
            <a:r>
              <a:rPr lang="en-US"/>
              <a:t>Footer</a:t>
            </a:r>
            <a:endParaRPr lang="pl-PL"/>
          </a:p>
        </p:txBody>
      </p:sp>
    </p:spTree>
    <p:extLst>
      <p:ext uri="{BB962C8B-B14F-4D97-AF65-F5344CB8AC3E}">
        <p14:creationId xmlns:p14="http://schemas.microsoft.com/office/powerpoint/2010/main" val="3949422904"/>
      </p:ext>
    </p:extLst>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DF1E139-02A0-D3E0-47D5-064566FB3C6C}"/>
              </a:ext>
            </a:extLst>
          </p:cNvPr>
          <p:cNvGraphicFramePr>
            <a:graphicFrameLocks noChangeAspect="1"/>
          </p:cNvGraphicFramePr>
          <p:nvPr userDrawn="1">
            <p:custDataLst>
              <p:tags r:id="rId12"/>
            </p:custDataLst>
            <p:extLst>
              <p:ext uri="{D42A27DB-BD31-4B8C-83A1-F6EECF244321}">
                <p14:modId xmlns:p14="http://schemas.microsoft.com/office/powerpoint/2010/main" val="88829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73" imgH="476" progId="TCLayout.ActiveDocument.1">
                  <p:embed/>
                </p:oleObj>
              </mc:Choice>
              <mc:Fallback>
                <p:oleObj name="think-cell Slide" r:id="rId13" imgW="473" imgH="476" progId="TCLayout.ActiveDocument.1">
                  <p:embed/>
                  <p:pic>
                    <p:nvPicPr>
                      <p:cNvPr id="11" name="think-cell data - do not delete" hidden="1">
                        <a:extLst>
                          <a:ext uri="{FF2B5EF4-FFF2-40B4-BE49-F238E27FC236}">
                            <a16:creationId xmlns:a16="http://schemas.microsoft.com/office/drawing/2014/main" id="{BDF1E139-02A0-D3E0-47D5-064566FB3C6C}"/>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42913" y="432001"/>
            <a:ext cx="11306175" cy="1387274"/>
          </a:xfrm>
          <a:prstGeom prst="rect">
            <a:avLst/>
          </a:prstGeom>
        </p:spPr>
        <p:txBody>
          <a:bodyPr vert="horz" lIns="0" tIns="0" rIns="0" bIns="0" rtlCol="0" anchor="t" anchorCtr="0">
            <a:normAutofit/>
          </a:bodyPr>
          <a:lstStyle/>
          <a:p>
            <a:r>
              <a:rPr lang="en-US"/>
              <a:t>[Slide title]</a:t>
            </a:r>
            <a:endParaRPr lang="en-GB"/>
          </a:p>
        </p:txBody>
      </p:sp>
      <p:sp>
        <p:nvSpPr>
          <p:cNvPr id="3" name="Text Placeholder 2"/>
          <p:cNvSpPr>
            <a:spLocks noGrp="1"/>
          </p:cNvSpPr>
          <p:nvPr>
            <p:ph type="body" idx="1"/>
          </p:nvPr>
        </p:nvSpPr>
        <p:spPr>
          <a:xfrm>
            <a:off x="442913" y="2103438"/>
            <a:ext cx="11306175" cy="406876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9984296" y="6492240"/>
            <a:ext cx="1764792" cy="137160"/>
          </a:xfrm>
          <a:prstGeom prst="rect">
            <a:avLst/>
          </a:prstGeom>
        </p:spPr>
        <p:txBody>
          <a:bodyPr vert="horz" lIns="0" tIns="0" rIns="0" bIns="0" rtlCol="0" anchor="b" anchorCtr="0">
            <a:noAutofit/>
          </a:bodyPr>
          <a:lstStyle>
            <a:lvl1pPr algn="r">
              <a:defRPr sz="750">
                <a:solidFill>
                  <a:schemeClr val="tx1"/>
                </a:solidFill>
              </a:defRPr>
            </a:lvl1p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CAC161DD-0A25-2B4E-956E-04296B5905CA}"/>
              </a:ext>
            </a:extLst>
          </p:cNvPr>
          <p:cNvSpPr>
            <a:spLocks noGrp="1"/>
          </p:cNvSpPr>
          <p:nvPr>
            <p:ph type="dt" sz="half" idx="2"/>
          </p:nvPr>
        </p:nvSpPr>
        <p:spPr>
          <a:xfrm>
            <a:off x="9984296" y="6355080"/>
            <a:ext cx="1764792" cy="137160"/>
          </a:xfrm>
          <a:prstGeom prst="rect">
            <a:avLst/>
          </a:prstGeom>
        </p:spPr>
        <p:txBody>
          <a:bodyPr vert="horz" lIns="0" tIns="0" rIns="0" bIns="0" rtlCol="0" anchor="b" anchorCtr="0"/>
          <a:lstStyle>
            <a:lvl1pPr algn="r">
              <a:defRPr sz="750">
                <a:solidFill>
                  <a:schemeClr val="tx1"/>
                </a:solidFill>
              </a:defRPr>
            </a:lvl1pPr>
          </a:lstStyle>
          <a:p>
            <a:r>
              <a:rPr lang="en-US"/>
              <a:t>Date</a:t>
            </a:r>
          </a:p>
        </p:txBody>
      </p:sp>
      <p:sp>
        <p:nvSpPr>
          <p:cNvPr id="5" name="Footer Placeholder 4">
            <a:extLst>
              <a:ext uri="{FF2B5EF4-FFF2-40B4-BE49-F238E27FC236}">
                <a16:creationId xmlns:a16="http://schemas.microsoft.com/office/drawing/2014/main" id="{BE929DBE-EF12-9845-B0FD-DF795B823DF1}"/>
              </a:ext>
            </a:extLst>
          </p:cNvPr>
          <p:cNvSpPr>
            <a:spLocks noGrp="1"/>
          </p:cNvSpPr>
          <p:nvPr>
            <p:ph type="ftr" sz="quarter" idx="3"/>
          </p:nvPr>
        </p:nvSpPr>
        <p:spPr>
          <a:xfrm>
            <a:off x="442912" y="6355080"/>
            <a:ext cx="5473701" cy="137160"/>
          </a:xfrm>
          <a:prstGeom prst="rect">
            <a:avLst/>
          </a:prstGeom>
        </p:spPr>
        <p:txBody>
          <a:bodyPr vert="horz" lIns="0" tIns="0" rIns="0" bIns="0" rtlCol="0" anchor="b" anchorCtr="0"/>
          <a:lstStyle>
            <a:lvl1pPr algn="ctr">
              <a:defRPr sz="750">
                <a:solidFill>
                  <a:schemeClr val="tx1"/>
                </a:solidFill>
              </a:defRPr>
            </a:lvl1pPr>
          </a:lstStyle>
          <a:p>
            <a:pPr algn="l"/>
            <a:r>
              <a:rPr lang="en-US"/>
              <a:t>Presentation Title</a:t>
            </a:r>
          </a:p>
        </p:txBody>
      </p:sp>
      <p:sp>
        <p:nvSpPr>
          <p:cNvPr id="7" name="Taisnstūris 6">
            <a:extLst>
              <a:ext uri="{FF2B5EF4-FFF2-40B4-BE49-F238E27FC236}">
                <a16:creationId xmlns:a16="http://schemas.microsoft.com/office/drawing/2014/main" id="{63E851BA-B8BB-2702-B86D-20AD460A0DF5}"/>
              </a:ext>
            </a:extLst>
          </p:cNvPr>
          <p:cNvSpPr/>
          <p:nvPr userDrawn="1"/>
        </p:nvSpPr>
        <p:spPr>
          <a:xfrm>
            <a:off x="12385782" y="0"/>
            <a:ext cx="635096" cy="809893"/>
          </a:xfrm>
          <a:prstGeom prst="rect">
            <a:avLst/>
          </a:prstGeom>
          <a:solidFill>
            <a:srgbClr val="A4A3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8" name="Taisnstūris 3">
            <a:extLst>
              <a:ext uri="{FF2B5EF4-FFF2-40B4-BE49-F238E27FC236}">
                <a16:creationId xmlns:a16="http://schemas.microsoft.com/office/drawing/2014/main" id="{50E95C0F-8774-A267-ABD5-C160A521BF21}"/>
              </a:ext>
            </a:extLst>
          </p:cNvPr>
          <p:cNvSpPr/>
          <p:nvPr userDrawn="1"/>
        </p:nvSpPr>
        <p:spPr>
          <a:xfrm>
            <a:off x="12385675" y="1008559"/>
            <a:ext cx="635000" cy="809625"/>
          </a:xfrm>
          <a:prstGeom prst="rect">
            <a:avLst/>
          </a:prstGeom>
          <a:solidFill>
            <a:srgbClr val="A81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9" name="Taisnstūris 4">
            <a:extLst>
              <a:ext uri="{FF2B5EF4-FFF2-40B4-BE49-F238E27FC236}">
                <a16:creationId xmlns:a16="http://schemas.microsoft.com/office/drawing/2014/main" id="{9810CCF4-4A0E-52CF-E13A-1455B3A5ABA6}"/>
              </a:ext>
            </a:extLst>
          </p:cNvPr>
          <p:cNvSpPr/>
          <p:nvPr userDrawn="1"/>
        </p:nvSpPr>
        <p:spPr>
          <a:xfrm>
            <a:off x="12398375" y="1984646"/>
            <a:ext cx="635000" cy="809625"/>
          </a:xfrm>
          <a:prstGeom prst="rect">
            <a:avLst/>
          </a:pr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10" name="Taisnstūris 7">
            <a:extLst>
              <a:ext uri="{FF2B5EF4-FFF2-40B4-BE49-F238E27FC236}">
                <a16:creationId xmlns:a16="http://schemas.microsoft.com/office/drawing/2014/main" id="{D4090F41-BFA7-8A67-74A6-EB2D7C953272}"/>
              </a:ext>
            </a:extLst>
          </p:cNvPr>
          <p:cNvSpPr/>
          <p:nvPr userDrawn="1"/>
        </p:nvSpPr>
        <p:spPr>
          <a:xfrm>
            <a:off x="12410575" y="2912953"/>
            <a:ext cx="635000" cy="809625"/>
          </a:xfrm>
          <a:prstGeom prst="rect">
            <a:avLst/>
          </a:prstGeom>
          <a:solidFill>
            <a:srgbClr val="D18D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12" name="Taisnstūris 5">
            <a:extLst>
              <a:ext uri="{FF2B5EF4-FFF2-40B4-BE49-F238E27FC236}">
                <a16:creationId xmlns:a16="http://schemas.microsoft.com/office/drawing/2014/main" id="{B83CF65C-03A7-7EC9-5804-6400B083E93E}"/>
              </a:ext>
            </a:extLst>
          </p:cNvPr>
          <p:cNvSpPr/>
          <p:nvPr userDrawn="1"/>
        </p:nvSpPr>
        <p:spPr>
          <a:xfrm>
            <a:off x="12410575" y="3848479"/>
            <a:ext cx="635000" cy="809625"/>
          </a:xfrm>
          <a:prstGeom prst="rect">
            <a:avLst/>
          </a:prstGeom>
          <a:solidFill>
            <a:srgbClr val="D0C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13" name="Rectangle 12">
            <a:extLst>
              <a:ext uri="{FF2B5EF4-FFF2-40B4-BE49-F238E27FC236}">
                <a16:creationId xmlns:a16="http://schemas.microsoft.com/office/drawing/2014/main" id="{3F428ECB-3D2A-3AEC-F360-70BE10E66E7F}"/>
              </a:ext>
            </a:extLst>
          </p:cNvPr>
          <p:cNvSpPr/>
          <p:nvPr userDrawn="1"/>
        </p:nvSpPr>
        <p:spPr>
          <a:xfrm>
            <a:off x="12410575" y="4780352"/>
            <a:ext cx="635000" cy="809625"/>
          </a:xfrm>
          <a:prstGeom prst="rect">
            <a:avLst/>
          </a:prstGeom>
          <a:solidFill>
            <a:srgbClr val="CFD6E8"/>
          </a:solidFill>
          <a:ln>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3011101579"/>
      </p:ext>
    </p:extLst>
  </p:cSld>
  <p:clrMap bg1="lt1" tx1="dk1" bg2="lt2" tx2="dk2" accent1="accent1" accent2="accent2" accent3="accent3" accent4="accent4" accent5="accent5" accent6="accent6" hlink="hlink" folHlink="folHlink"/>
  <p:sldLayoutIdLst>
    <p:sldLayoutId id="2147483725" r:id="rId1"/>
    <p:sldLayoutId id="2147483728" r:id="rId2"/>
    <p:sldLayoutId id="2147483740" r:id="rId3"/>
    <p:sldLayoutId id="2147483741" r:id="rId4"/>
    <p:sldLayoutId id="2147483742" r:id="rId5"/>
    <p:sldLayoutId id="2147483786" r:id="rId6"/>
    <p:sldLayoutId id="2147483787" r:id="rId7"/>
    <p:sldLayoutId id="2147483788" r:id="rId8"/>
    <p:sldLayoutId id="2147483789" r:id="rId9"/>
    <p:sldLayoutId id="2147483790" r:id="rId10"/>
  </p:sldLayoutIdLst>
  <p:hf hdr="0"/>
  <p:txStyles>
    <p:titleStyle>
      <a:lvl1pPr algn="l" defTabSz="914400" rtl="0" eaLnBrk="1" latinLnBrk="0" hangingPunct="1">
        <a:lnSpc>
          <a:spcPct val="85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userDrawn="1">
          <p15:clr>
            <a:srgbClr val="F26B43"/>
          </p15:clr>
        </p15:guide>
        <p15:guide id="1" pos="279" userDrawn="1">
          <p15:clr>
            <a:srgbClr val="F26B43"/>
          </p15:clr>
        </p15:guide>
        <p15:guide id="2" pos="7401" userDrawn="1">
          <p15:clr>
            <a:srgbClr val="F26B43"/>
          </p15:clr>
        </p15:guide>
        <p15:guide id="3" pos="3953" userDrawn="1">
          <p15:clr>
            <a:srgbClr val="F26B43"/>
          </p15:clr>
        </p15:guide>
        <p15:guide id="4" pos="3727" userDrawn="1">
          <p15:clr>
            <a:srgbClr val="F26B43"/>
          </p15:clr>
        </p15:guide>
        <p15:guide id="5" orient="horz" pos="3888" userDrawn="1">
          <p15:clr>
            <a:srgbClr val="F26B43"/>
          </p15:clr>
        </p15:guide>
        <p15:guide id="6" pos="2726" userDrawn="1">
          <p15:clr>
            <a:srgbClr val="F26B43"/>
          </p15:clr>
        </p15:guide>
        <p15:guide id="7" pos="2502" userDrawn="1">
          <p15:clr>
            <a:srgbClr val="F26B43"/>
          </p15:clr>
        </p15:guide>
        <p15:guide id="8" pos="4952" userDrawn="1">
          <p15:clr>
            <a:srgbClr val="F26B43"/>
          </p15:clr>
        </p15:guide>
        <p15:guide id="9" pos="5177" userDrawn="1">
          <p15:clr>
            <a:srgbClr val="F26B43"/>
          </p15:clr>
        </p15:guide>
        <p15:guide id="10" orient="horz" pos="2160" userDrawn="1">
          <p15:clr>
            <a:srgbClr val="F26B43"/>
          </p15:clr>
        </p15:guide>
        <p15:guide id="11" orient="horz" pos="1325" userDrawn="1">
          <p15:clr>
            <a:srgbClr val="F26B43"/>
          </p15:clr>
        </p15:guide>
        <p15:guide id="12" orient="horz" pos="1146" userDrawn="1">
          <p15:clr>
            <a:srgbClr val="F26B43"/>
          </p15:clr>
        </p15:guide>
        <p15:guide id="13" orient="horz" pos="27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7.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image" Target="../media/image20.svg"/></Relationships>
</file>

<file path=ppt/slides/_rels/slide1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9.jpeg"/></Relationships>
</file>

<file path=ppt/slides/_rels/slide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0.xml"/><Relationship Id="rId1" Type="http://schemas.openxmlformats.org/officeDocument/2006/relationships/slideLayout" Target="../slideLayouts/slideLayout6.xml"/><Relationship Id="rId4" Type="http://schemas.openxmlformats.org/officeDocument/2006/relationships/hyperlink" Target="https://likumi.lv/ta/id/317006-par-valsts-civilas-aizsardzibas-planu" TargetMode="Externa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6.xml"/><Relationship Id="rId1" Type="http://schemas.openxmlformats.org/officeDocument/2006/relationships/tags" Target="../tags/tag6.xml"/><Relationship Id="rId5" Type="http://schemas.openxmlformats.org/officeDocument/2006/relationships/image" Target="../media/image14.emf"/><Relationship Id="rId4" Type="http://schemas.openxmlformats.org/officeDocument/2006/relationships/oleObject" Target="../embeddings/oleObject5.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6.xml"/><Relationship Id="rId1" Type="http://schemas.openxmlformats.org/officeDocument/2006/relationships/tags" Target="../tags/tag7.xml"/><Relationship Id="rId5" Type="http://schemas.openxmlformats.org/officeDocument/2006/relationships/image" Target="../media/image14.emf"/><Relationship Id="rId4" Type="http://schemas.openxmlformats.org/officeDocument/2006/relationships/oleObject" Target="../embeddings/oleObject6.bin"/></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6.xml"/><Relationship Id="rId1" Type="http://schemas.openxmlformats.org/officeDocument/2006/relationships/tags" Target="../tags/tag8.xml"/><Relationship Id="rId4" Type="http://schemas.openxmlformats.org/officeDocument/2006/relationships/image" Target="../media/image14.emf"/></Relationships>
</file>

<file path=ppt/slides/_rels/slide2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hyperlink" Target="https://likumi.lv/ta/id/255713-par-arkartejo-situaciju-un-iznemuma-stavokli" TargetMode="External"/><Relationship Id="rId2" Type="http://schemas.openxmlformats.org/officeDocument/2006/relationships/notesSlide" Target="../notesSlides/notesSlide24.xml"/><Relationship Id="rId1" Type="http://schemas.openxmlformats.org/officeDocument/2006/relationships/slideLayout" Target="../slideLayouts/slideLayout6.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27.xml.rels><?xml version="1.0" encoding="UTF-8" standalone="yes"?>
<Relationships xmlns="http://schemas.openxmlformats.org/package/2006/relationships"><Relationship Id="rId3" Type="http://schemas.openxmlformats.org/officeDocument/2006/relationships/hyperlink" Target="https://likumi.lv/ta/id/218821-kartiba-kada-valsts-augstakas-amatpersonas-apzinojamas-valsts-apdraudejuma-gadijuma-un-par-arkartas-notikumiem-valsti" TargetMode="External"/><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hyperlink" Target="https://likumi.lv/ta/id/255713-par-arkartejo-situaciju-un-iznemuma-stavokli" TargetMode="External"/><Relationship Id="rId7" Type="http://schemas.openxmlformats.org/officeDocument/2006/relationships/image" Target="../media/image30.png"/><Relationship Id="rId2" Type="http://schemas.openxmlformats.org/officeDocument/2006/relationships/notesSlide" Target="../notesSlides/notesSlide26.xml"/><Relationship Id="rId1" Type="http://schemas.openxmlformats.org/officeDocument/2006/relationships/slideLayout" Target="../slideLayouts/slideLayout6.xml"/><Relationship Id="rId6" Type="http://schemas.openxmlformats.org/officeDocument/2006/relationships/image" Target="../media/image29.png"/><Relationship Id="rId5" Type="http://schemas.openxmlformats.org/officeDocument/2006/relationships/image" Target="../media/image27.png"/><Relationship Id="rId4" Type="http://schemas.openxmlformats.org/officeDocument/2006/relationships/image" Target="../media/image26.png"/></Relationships>
</file>

<file path=ppt/slides/_rels/slide29.xml.rels><?xml version="1.0" encoding="UTF-8" standalone="yes"?>
<Relationships xmlns="http://schemas.openxmlformats.org/package/2006/relationships"><Relationship Id="rId3" Type="http://schemas.openxmlformats.org/officeDocument/2006/relationships/hyperlink" Target="https://likumi.lv/ta/id/255713-par-arkartejo-situaciju-un-iznemuma-stavokli" TargetMode="External"/><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28.xml"/><Relationship Id="rId1" Type="http://schemas.openxmlformats.org/officeDocument/2006/relationships/slideLayout" Target="../slideLayouts/slideLayout6.xml"/><Relationship Id="rId4" Type="http://schemas.openxmlformats.org/officeDocument/2006/relationships/hyperlink" Target="https://likumi.lv/ta/id/255713-par-arkartejo-situaciju-un-iznemuma-stavokli" TargetMode="Externa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6.xml"/><Relationship Id="rId1" Type="http://schemas.openxmlformats.org/officeDocument/2006/relationships/tags" Target="../tags/tag9.xml"/><Relationship Id="rId5" Type="http://schemas.openxmlformats.org/officeDocument/2006/relationships/image" Target="../media/image14.emf"/><Relationship Id="rId4" Type="http://schemas.openxmlformats.org/officeDocument/2006/relationships/oleObject" Target="../embeddings/oleObject8.bin"/></Relationships>
</file>

<file path=ppt/slides/_rels/slide3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12.jpeg"/></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8" Type="http://schemas.openxmlformats.org/officeDocument/2006/relationships/hyperlink" Target="https://likumi.lv/ta/id/58439-valsts-energetiskas-krizes-centra-nolikums" TargetMode="External"/><Relationship Id="rId3" Type="http://schemas.openxmlformats.org/officeDocument/2006/relationships/notesSlide" Target="../notesSlides/notesSlide6.xml"/><Relationship Id="rId7" Type="http://schemas.openxmlformats.org/officeDocument/2006/relationships/hyperlink" Target="https://www.nmpd.gov.lv/lv/media/769/download" TargetMode="External"/><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hyperlink" Target="https://likumi.lv/ta/id/241413-katastrofu-medicinas-sistemas-organizesanas-noteikumi" TargetMode="External"/><Relationship Id="rId5" Type="http://schemas.openxmlformats.org/officeDocument/2006/relationships/image" Target="../media/image14.emf"/><Relationship Id="rId10" Type="http://schemas.openxmlformats.org/officeDocument/2006/relationships/hyperlink" Target="https://likumi.lv/ta/id/14011-nacionalas-drosibas-likums" TargetMode="External"/><Relationship Id="rId4" Type="http://schemas.openxmlformats.org/officeDocument/2006/relationships/oleObject" Target="../embeddings/oleObject4.bin"/><Relationship Id="rId9" Type="http://schemas.openxmlformats.org/officeDocument/2006/relationships/hyperlink" Target="https://likumi.lv/ta/id/49833-energetikas-likums"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Placeholder 25">
            <a:extLst>
              <a:ext uri="{FF2B5EF4-FFF2-40B4-BE49-F238E27FC236}">
                <a16:creationId xmlns:a16="http://schemas.microsoft.com/office/drawing/2014/main" id="{A8C3F200-32A6-2E24-E3A8-CE9C652847BE}"/>
              </a:ext>
            </a:extLst>
          </p:cNvPr>
          <p:cNvPicPr>
            <a:picLocks noGrp="1" noChangeAspect="1"/>
          </p:cNvPicPr>
          <p:nvPr>
            <p:ph type="pic" sz="quarter" idx="10"/>
          </p:nvPr>
        </p:nvPicPr>
        <p:blipFill rotWithShape="1">
          <a:blip r:embed="rId3"/>
          <a:srcRect t="59441" r="5597" b="707"/>
          <a:stretch/>
        </p:blipFill>
        <p:spPr>
          <a:xfrm>
            <a:off x="0" y="0"/>
            <a:ext cx="12192000" cy="6858000"/>
          </a:xfrm>
        </p:spPr>
      </p:pic>
      <p:sp>
        <p:nvSpPr>
          <p:cNvPr id="22" name="Rectangle 21">
            <a:extLst>
              <a:ext uri="{FF2B5EF4-FFF2-40B4-BE49-F238E27FC236}">
                <a16:creationId xmlns:a16="http://schemas.microsoft.com/office/drawing/2014/main" id="{1DD6BAA7-6B8B-B5D1-983C-47F7088D2D65}"/>
              </a:ext>
            </a:extLst>
          </p:cNvPr>
          <p:cNvSpPr/>
          <p:nvPr/>
        </p:nvSpPr>
        <p:spPr>
          <a:xfrm>
            <a:off x="0" y="-1"/>
            <a:ext cx="12192000" cy="6858001"/>
          </a:xfrm>
          <a:prstGeom prst="rect">
            <a:avLst/>
          </a:prstGeom>
          <a:solidFill>
            <a:schemeClr val="tx1">
              <a:alpha val="5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2" name="TextBox 11">
            <a:extLst>
              <a:ext uri="{FF2B5EF4-FFF2-40B4-BE49-F238E27FC236}">
                <a16:creationId xmlns:a16="http://schemas.microsoft.com/office/drawing/2014/main" id="{03235C0C-4E25-DCDB-7AAF-D34D32C9063E}"/>
              </a:ext>
            </a:extLst>
          </p:cNvPr>
          <p:cNvSpPr txBox="1"/>
          <p:nvPr/>
        </p:nvSpPr>
        <p:spPr>
          <a:xfrm>
            <a:off x="0" y="857851"/>
            <a:ext cx="10113199" cy="2055102"/>
          </a:xfrm>
          <a:prstGeom prst="rect">
            <a:avLst/>
          </a:prstGeom>
          <a:solidFill>
            <a:srgbClr val="525A72"/>
          </a:solidFill>
        </p:spPr>
        <p:txBody>
          <a:bodyPr wrap="square" lIns="468000" tIns="108000" rIns="108000" bIns="108000" anchor="ctr">
            <a:noAutofit/>
          </a:bodyPr>
          <a:lstStyle/>
          <a:p>
            <a:pPr>
              <a:lnSpc>
                <a:spcPct val="90000"/>
              </a:lnSpc>
            </a:pPr>
            <a:r>
              <a:rPr lang="lv-LV" sz="4400" dirty="0">
                <a:solidFill>
                  <a:schemeClr val="bg1"/>
                </a:solidFill>
                <a:latin typeface="+mj-lt"/>
              </a:rPr>
              <a:t>2. Civilās aizsardzības sistēma un normatīvais un politikas plānošanas ietvars</a:t>
            </a:r>
          </a:p>
        </p:txBody>
      </p:sp>
      <p:sp>
        <p:nvSpPr>
          <p:cNvPr id="25" name="TextBox 24">
            <a:extLst>
              <a:ext uri="{FF2B5EF4-FFF2-40B4-BE49-F238E27FC236}">
                <a16:creationId xmlns:a16="http://schemas.microsoft.com/office/drawing/2014/main" id="{C5F92662-E52F-874B-DE9C-B6CFC65D240B}"/>
              </a:ext>
            </a:extLst>
          </p:cNvPr>
          <p:cNvSpPr txBox="1"/>
          <p:nvPr/>
        </p:nvSpPr>
        <p:spPr>
          <a:xfrm>
            <a:off x="442911" y="3456928"/>
            <a:ext cx="10113199" cy="1007181"/>
          </a:xfrm>
          <a:prstGeom prst="rect">
            <a:avLst/>
          </a:prstGeom>
          <a:noFill/>
        </p:spPr>
        <p:txBody>
          <a:bodyPr wrap="square" lIns="72000" tIns="72000" rIns="72000" bIns="72000">
            <a:spAutoFit/>
          </a:bodyPr>
          <a:lstStyle/>
          <a:p>
            <a:r>
              <a:rPr lang="lv-LV" sz="1400" b="0" i="0" dirty="0">
                <a:solidFill>
                  <a:schemeClr val="bg1"/>
                </a:solidFill>
                <a:effectLst/>
                <a:latin typeface="+mj-lt"/>
              </a:rPr>
              <a:t>Izstrādāts Eiropas Komisijas Civilās aizsardzības finanšu instrumenta „Track1” programmas projekta “Visaptverošas civilās aizsardzības un katastrofas pārvaldīšanas apmācības izveide valsts institūcijām, pašvaldību civilās aizsardzības komisijām, augstskolām, Ugunsdrošības un civilās aizsardzības koledžai, kā arī drošības padomu izveide sabiedrībai” (ECHO/SUB/2022/TRACK1/884396) ietvaros</a:t>
            </a:r>
            <a:endParaRPr lang="lv-LV" sz="1400" dirty="0">
              <a:solidFill>
                <a:schemeClr val="bg1"/>
              </a:solidFill>
              <a:latin typeface="+mj-lt"/>
            </a:endParaRPr>
          </a:p>
        </p:txBody>
      </p:sp>
      <p:sp>
        <p:nvSpPr>
          <p:cNvPr id="9" name="TextBox 8">
            <a:extLst>
              <a:ext uri="{FF2B5EF4-FFF2-40B4-BE49-F238E27FC236}">
                <a16:creationId xmlns:a16="http://schemas.microsoft.com/office/drawing/2014/main" id="{BD7EB4A5-E45C-47EC-09CF-8C999B13144C}"/>
              </a:ext>
            </a:extLst>
          </p:cNvPr>
          <p:cNvSpPr txBox="1"/>
          <p:nvPr/>
        </p:nvSpPr>
        <p:spPr>
          <a:xfrm>
            <a:off x="0" y="435446"/>
            <a:ext cx="5334000" cy="422405"/>
          </a:xfrm>
          <a:prstGeom prst="rect">
            <a:avLst/>
          </a:prstGeom>
          <a:solidFill>
            <a:srgbClr val="CFD6E8"/>
          </a:solidFill>
        </p:spPr>
        <p:txBody>
          <a:bodyPr wrap="square" lIns="468000" tIns="72000" rIns="72000" bIns="72000">
            <a:spAutoFit/>
          </a:bodyPr>
          <a:lstStyle/>
          <a:p>
            <a:r>
              <a:rPr lang="lv-LV">
                <a:latin typeface="+mj-lt"/>
              </a:rPr>
              <a:t>Studiju kurss "Civilā aizsardzība"</a:t>
            </a:r>
            <a:endParaRPr lang="en-GB"/>
          </a:p>
        </p:txBody>
      </p:sp>
      <p:sp>
        <p:nvSpPr>
          <p:cNvPr id="19" name="Rectangle 18">
            <a:extLst>
              <a:ext uri="{FF2B5EF4-FFF2-40B4-BE49-F238E27FC236}">
                <a16:creationId xmlns:a16="http://schemas.microsoft.com/office/drawing/2014/main" id="{31360893-6094-04D4-3781-0EAD58A1B608}"/>
              </a:ext>
            </a:extLst>
          </p:cNvPr>
          <p:cNvSpPr/>
          <p:nvPr/>
        </p:nvSpPr>
        <p:spPr>
          <a:xfrm>
            <a:off x="0" y="4952770"/>
            <a:ext cx="11034402" cy="190523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pic>
        <p:nvPicPr>
          <p:cNvPr id="11" name="Picture 4" descr="Valsts ugunsdzēsības un glābšanas dienests">
            <a:extLst>
              <a:ext uri="{FF2B5EF4-FFF2-40B4-BE49-F238E27FC236}">
                <a16:creationId xmlns:a16="http://schemas.microsoft.com/office/drawing/2014/main" id="{D3834ACF-3CA3-E767-EFCC-DCB3CB76CC0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71195" y="5339519"/>
            <a:ext cx="1422523" cy="127847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8906F70F-A346-CE1C-604E-C814C368EDB5}"/>
              </a:ext>
            </a:extLst>
          </p:cNvPr>
          <p:cNvPicPr>
            <a:picLocks noChangeAspect="1"/>
          </p:cNvPicPr>
          <p:nvPr/>
        </p:nvPicPr>
        <p:blipFill>
          <a:blip r:embed="rId5"/>
          <a:stretch>
            <a:fillRect/>
          </a:stretch>
        </p:blipFill>
        <p:spPr>
          <a:xfrm>
            <a:off x="302336" y="5185164"/>
            <a:ext cx="1566523" cy="1587180"/>
          </a:xfrm>
          <a:prstGeom prst="rect">
            <a:avLst/>
          </a:prstGeom>
        </p:spPr>
      </p:pic>
      <p:sp>
        <p:nvSpPr>
          <p:cNvPr id="13" name="Rectangle 12">
            <a:extLst>
              <a:ext uri="{FF2B5EF4-FFF2-40B4-BE49-F238E27FC236}">
                <a16:creationId xmlns:a16="http://schemas.microsoft.com/office/drawing/2014/main" id="{0C5D88B1-D717-ACB8-1CC6-5FD5E37AC03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4" name="Rectangle 13">
            <a:extLst>
              <a:ext uri="{FF2B5EF4-FFF2-40B4-BE49-F238E27FC236}">
                <a16:creationId xmlns:a16="http://schemas.microsoft.com/office/drawing/2014/main" id="{BECC70D6-4932-221C-EABA-6937F376022A}"/>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5" name="Rectangle 14">
            <a:extLst>
              <a:ext uri="{FF2B5EF4-FFF2-40B4-BE49-F238E27FC236}">
                <a16:creationId xmlns:a16="http://schemas.microsoft.com/office/drawing/2014/main" id="{20E77B47-979D-E6D5-D405-AE342CC4CCF7}"/>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3" name="Taisnstūris 6">
            <a:extLst>
              <a:ext uri="{FF2B5EF4-FFF2-40B4-BE49-F238E27FC236}">
                <a16:creationId xmlns:a16="http://schemas.microsoft.com/office/drawing/2014/main" id="{37267F3F-3C79-EF9D-4013-2A14E3EBFE3F}"/>
              </a:ext>
            </a:extLst>
          </p:cNvPr>
          <p:cNvSpPr/>
          <p:nvPr/>
        </p:nvSpPr>
        <p:spPr>
          <a:xfrm>
            <a:off x="12385782" y="0"/>
            <a:ext cx="635096" cy="809893"/>
          </a:xfrm>
          <a:prstGeom prst="rect">
            <a:avLst/>
          </a:prstGeom>
          <a:solidFill>
            <a:srgbClr val="A4A3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4" name="Taisnstūris 3">
            <a:extLst>
              <a:ext uri="{FF2B5EF4-FFF2-40B4-BE49-F238E27FC236}">
                <a16:creationId xmlns:a16="http://schemas.microsoft.com/office/drawing/2014/main" id="{94123E11-711D-5A13-033D-AE9D77328D6B}"/>
              </a:ext>
            </a:extLst>
          </p:cNvPr>
          <p:cNvSpPr/>
          <p:nvPr/>
        </p:nvSpPr>
        <p:spPr>
          <a:xfrm>
            <a:off x="12385675" y="1008559"/>
            <a:ext cx="635000" cy="809625"/>
          </a:xfrm>
          <a:prstGeom prst="rect">
            <a:avLst/>
          </a:prstGeom>
          <a:solidFill>
            <a:srgbClr val="A81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5" name="Taisnstūris 4">
            <a:extLst>
              <a:ext uri="{FF2B5EF4-FFF2-40B4-BE49-F238E27FC236}">
                <a16:creationId xmlns:a16="http://schemas.microsoft.com/office/drawing/2014/main" id="{1A4E8801-B52C-477A-BE05-598045550E0E}"/>
              </a:ext>
            </a:extLst>
          </p:cNvPr>
          <p:cNvSpPr/>
          <p:nvPr/>
        </p:nvSpPr>
        <p:spPr>
          <a:xfrm>
            <a:off x="12410575" y="1949922"/>
            <a:ext cx="635000" cy="809625"/>
          </a:xfrm>
          <a:prstGeom prst="rect">
            <a:avLst/>
          </a:pr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6" name="Taisnstūris 7">
            <a:extLst>
              <a:ext uri="{FF2B5EF4-FFF2-40B4-BE49-F238E27FC236}">
                <a16:creationId xmlns:a16="http://schemas.microsoft.com/office/drawing/2014/main" id="{BEA22475-3583-8047-B9BE-F5D5E10ED608}"/>
              </a:ext>
            </a:extLst>
          </p:cNvPr>
          <p:cNvSpPr/>
          <p:nvPr/>
        </p:nvSpPr>
        <p:spPr>
          <a:xfrm>
            <a:off x="12410575" y="2912953"/>
            <a:ext cx="635000" cy="809625"/>
          </a:xfrm>
          <a:prstGeom prst="rect">
            <a:avLst/>
          </a:prstGeom>
          <a:solidFill>
            <a:srgbClr val="D18D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7" name="Taisnstūris 5">
            <a:extLst>
              <a:ext uri="{FF2B5EF4-FFF2-40B4-BE49-F238E27FC236}">
                <a16:creationId xmlns:a16="http://schemas.microsoft.com/office/drawing/2014/main" id="{11DB0F86-0170-F6DC-6FA0-DC797009A96A}"/>
              </a:ext>
            </a:extLst>
          </p:cNvPr>
          <p:cNvSpPr/>
          <p:nvPr/>
        </p:nvSpPr>
        <p:spPr>
          <a:xfrm>
            <a:off x="12410575" y="3848479"/>
            <a:ext cx="635000" cy="809625"/>
          </a:xfrm>
          <a:prstGeom prst="rect">
            <a:avLst/>
          </a:prstGeom>
          <a:solidFill>
            <a:srgbClr val="D0C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8" name="Rectangle 7">
            <a:extLst>
              <a:ext uri="{FF2B5EF4-FFF2-40B4-BE49-F238E27FC236}">
                <a16:creationId xmlns:a16="http://schemas.microsoft.com/office/drawing/2014/main" id="{17E8C80F-695C-E6A6-B494-95F1A03A429E}"/>
              </a:ext>
            </a:extLst>
          </p:cNvPr>
          <p:cNvSpPr/>
          <p:nvPr/>
        </p:nvSpPr>
        <p:spPr>
          <a:xfrm>
            <a:off x="12410575" y="4780352"/>
            <a:ext cx="635000" cy="809625"/>
          </a:xfrm>
          <a:prstGeom prst="rect">
            <a:avLst/>
          </a:prstGeom>
          <a:solidFill>
            <a:srgbClr val="CFD6E8"/>
          </a:solidFill>
          <a:ln>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6" name="Rectangle 15">
            <a:extLst>
              <a:ext uri="{FF2B5EF4-FFF2-40B4-BE49-F238E27FC236}">
                <a16:creationId xmlns:a16="http://schemas.microsoft.com/office/drawing/2014/main" id="{9F36931A-ACCC-7B2A-CED4-8445987E292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7" name="Rectangle 16">
            <a:extLst>
              <a:ext uri="{FF2B5EF4-FFF2-40B4-BE49-F238E27FC236}">
                <a16:creationId xmlns:a16="http://schemas.microsoft.com/office/drawing/2014/main" id="{27D077D9-38D3-223A-3C73-BAE9AEC947C8}"/>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Tree>
    <p:extLst>
      <p:ext uri="{BB962C8B-B14F-4D97-AF65-F5344CB8AC3E}">
        <p14:creationId xmlns:p14="http://schemas.microsoft.com/office/powerpoint/2010/main" val="3101944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1" name="Straight Connector 60">
            <a:extLst>
              <a:ext uri="{FF2B5EF4-FFF2-40B4-BE49-F238E27FC236}">
                <a16:creationId xmlns:a16="http://schemas.microsoft.com/office/drawing/2014/main" id="{8433502C-E95C-B6B5-2437-C9AAD24998E4}"/>
              </a:ext>
            </a:extLst>
          </p:cNvPr>
          <p:cNvCxnSpPr>
            <a:cxnSpLocks/>
            <a:stCxn id="28" idx="3"/>
          </p:cNvCxnSpPr>
          <p:nvPr/>
        </p:nvCxnSpPr>
        <p:spPr>
          <a:xfrm>
            <a:off x="5294275" y="3995738"/>
            <a:ext cx="1617065" cy="0"/>
          </a:xfrm>
          <a:prstGeom prst="line">
            <a:avLst/>
          </a:prstGeom>
          <a:ln w="38100" cap="sq">
            <a:solidFill>
              <a:srgbClr val="A4A3B2"/>
            </a:solidFill>
          </a:ln>
        </p:spPr>
        <p:style>
          <a:lnRef idx="1">
            <a:schemeClr val="accent1"/>
          </a:lnRef>
          <a:fillRef idx="0">
            <a:schemeClr val="accent1"/>
          </a:fillRef>
          <a:effectRef idx="0">
            <a:schemeClr val="dk1"/>
          </a:effectRef>
          <a:fontRef idx="minor">
            <a:schemeClr val="lt1"/>
          </a:fontRef>
        </p:style>
      </p:cxnSp>
      <p:sp>
        <p:nvSpPr>
          <p:cNvPr id="57346" name="Title 1">
            <a:extLst>
              <a:ext uri="{FF2B5EF4-FFF2-40B4-BE49-F238E27FC236}">
                <a16:creationId xmlns:a16="http://schemas.microsoft.com/office/drawing/2014/main" id="{FCA19F51-1289-1EC9-1082-2616C6DFFA9F}"/>
              </a:ext>
            </a:extLst>
          </p:cNvPr>
          <p:cNvSpPr>
            <a:spLocks noGrp="1"/>
          </p:cNvSpPr>
          <p:nvPr>
            <p:ph type="title"/>
          </p:nvPr>
        </p:nvSpPr>
        <p:spPr>
          <a:xfrm>
            <a:off x="442913" y="431800"/>
            <a:ext cx="11306175" cy="1387475"/>
          </a:xfrm>
        </p:spPr>
        <p:txBody>
          <a:bodyPr vert="horz">
            <a:normAutofit/>
          </a:bodyPr>
          <a:lstStyle/>
          <a:p>
            <a:r>
              <a:rPr lang="lv-LV" altLang="lv-LV"/>
              <a:t>Civilās aizsardzības normatīvo aktu pakļautības sistēmas skaidrojums</a:t>
            </a:r>
            <a:endParaRPr lang="lv-LV"/>
          </a:p>
        </p:txBody>
      </p:sp>
      <p:sp>
        <p:nvSpPr>
          <p:cNvPr id="4" name="Slide Number Placeholder 3">
            <a:extLst>
              <a:ext uri="{FF2B5EF4-FFF2-40B4-BE49-F238E27FC236}">
                <a16:creationId xmlns:a16="http://schemas.microsoft.com/office/drawing/2014/main" id="{5A61784A-59B7-DFB2-948F-11357F6AD9AC}"/>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62C999B-8A19-4CBE-B8CE-8064C986E16F}" type="slidenum">
              <a:rPr lang="lv-LV" altLang="en-US"/>
              <a:pPr/>
              <a:t>10</a:t>
            </a:fld>
            <a:endParaRPr lang="lv-LV" altLang="en-US"/>
          </a:p>
        </p:txBody>
      </p:sp>
      <p:cxnSp>
        <p:nvCxnSpPr>
          <p:cNvPr id="23" name="Straight Connector 22">
            <a:extLst>
              <a:ext uri="{FF2B5EF4-FFF2-40B4-BE49-F238E27FC236}">
                <a16:creationId xmlns:a16="http://schemas.microsoft.com/office/drawing/2014/main" id="{E8846961-D91A-20AF-7FE8-DFABE1D41867}"/>
              </a:ext>
            </a:extLst>
          </p:cNvPr>
          <p:cNvCxnSpPr>
            <a:cxnSpLocks/>
          </p:cNvCxnSpPr>
          <p:nvPr/>
        </p:nvCxnSpPr>
        <p:spPr>
          <a:xfrm>
            <a:off x="7471144" y="2971810"/>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4" name="Straight Connector 23">
            <a:extLst>
              <a:ext uri="{FF2B5EF4-FFF2-40B4-BE49-F238E27FC236}">
                <a16:creationId xmlns:a16="http://schemas.microsoft.com/office/drawing/2014/main" id="{AC76435C-6965-2044-9A7C-81DC1657CB77}"/>
              </a:ext>
            </a:extLst>
          </p:cNvPr>
          <p:cNvCxnSpPr>
            <a:cxnSpLocks/>
          </p:cNvCxnSpPr>
          <p:nvPr/>
        </p:nvCxnSpPr>
        <p:spPr>
          <a:xfrm>
            <a:off x="7471144" y="3654428"/>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5" name="Straight Connector 24">
            <a:extLst>
              <a:ext uri="{FF2B5EF4-FFF2-40B4-BE49-F238E27FC236}">
                <a16:creationId xmlns:a16="http://schemas.microsoft.com/office/drawing/2014/main" id="{D9DA443E-4298-3849-1482-AB7D4704719D}"/>
              </a:ext>
            </a:extLst>
          </p:cNvPr>
          <p:cNvCxnSpPr>
            <a:cxnSpLocks/>
          </p:cNvCxnSpPr>
          <p:nvPr/>
        </p:nvCxnSpPr>
        <p:spPr>
          <a:xfrm>
            <a:off x="7471144" y="4337047"/>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6" name="Straight Connector 25">
            <a:extLst>
              <a:ext uri="{FF2B5EF4-FFF2-40B4-BE49-F238E27FC236}">
                <a16:creationId xmlns:a16="http://schemas.microsoft.com/office/drawing/2014/main" id="{ECC3D074-804F-5878-A908-4C986877F108}"/>
              </a:ext>
            </a:extLst>
          </p:cNvPr>
          <p:cNvCxnSpPr>
            <a:cxnSpLocks/>
          </p:cNvCxnSpPr>
          <p:nvPr/>
        </p:nvCxnSpPr>
        <p:spPr>
          <a:xfrm>
            <a:off x="7471144" y="5019665"/>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7" name="Rectangle 16">
            <a:extLst>
              <a:ext uri="{FF2B5EF4-FFF2-40B4-BE49-F238E27FC236}">
                <a16:creationId xmlns:a16="http://schemas.microsoft.com/office/drawing/2014/main" id="{B6F948A6-0922-23DB-91DD-ACCDC742353D}"/>
              </a:ext>
            </a:extLst>
          </p:cNvPr>
          <p:cNvSpPr/>
          <p:nvPr/>
        </p:nvSpPr>
        <p:spPr>
          <a:xfrm>
            <a:off x="9466719" y="2554483"/>
            <a:ext cx="2178880" cy="15203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a:lnSpc>
                <a:spcPct val="90000"/>
              </a:lnSpc>
              <a:spcBef>
                <a:spcPct val="0"/>
              </a:spcBef>
              <a:spcAft>
                <a:spcPct val="35000"/>
              </a:spcAft>
              <a:buNone/>
            </a:pPr>
            <a:r>
              <a:rPr lang="lv-LV" sz="1400" kern="1200">
                <a:solidFill>
                  <a:schemeClr val="tx2"/>
                </a:solidFill>
              </a:rPr>
              <a:t>Satversme</a:t>
            </a:r>
          </a:p>
        </p:txBody>
      </p:sp>
      <p:sp>
        <p:nvSpPr>
          <p:cNvPr id="18" name="Rectangle 17">
            <a:extLst>
              <a:ext uri="{FF2B5EF4-FFF2-40B4-BE49-F238E27FC236}">
                <a16:creationId xmlns:a16="http://schemas.microsoft.com/office/drawing/2014/main" id="{3D37D2FC-305C-2948-9261-01531F1B517B}"/>
              </a:ext>
            </a:extLst>
          </p:cNvPr>
          <p:cNvSpPr/>
          <p:nvPr/>
        </p:nvSpPr>
        <p:spPr>
          <a:xfrm>
            <a:off x="9466719" y="3237101"/>
            <a:ext cx="2178880" cy="15203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rtl="0">
              <a:lnSpc>
                <a:spcPct val="90000"/>
              </a:lnSpc>
              <a:spcBef>
                <a:spcPct val="0"/>
              </a:spcBef>
              <a:spcAft>
                <a:spcPct val="35000"/>
              </a:spcAft>
              <a:buNone/>
            </a:pPr>
            <a:r>
              <a:rPr lang="lv-LV" sz="1400" kern="1200">
                <a:solidFill>
                  <a:schemeClr val="tx2"/>
                </a:solidFill>
              </a:rPr>
              <a:t>Starptautisko tiesību normas</a:t>
            </a:r>
          </a:p>
        </p:txBody>
      </p:sp>
      <p:sp>
        <p:nvSpPr>
          <p:cNvPr id="19" name="Rectangle 18">
            <a:extLst>
              <a:ext uri="{FF2B5EF4-FFF2-40B4-BE49-F238E27FC236}">
                <a16:creationId xmlns:a16="http://schemas.microsoft.com/office/drawing/2014/main" id="{F2A1576E-AA22-F7BF-2F83-839482ADA18C}"/>
              </a:ext>
            </a:extLst>
          </p:cNvPr>
          <p:cNvSpPr/>
          <p:nvPr/>
        </p:nvSpPr>
        <p:spPr>
          <a:xfrm>
            <a:off x="9466719" y="3919719"/>
            <a:ext cx="2178880" cy="15203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a:lnSpc>
                <a:spcPct val="90000"/>
              </a:lnSpc>
              <a:spcBef>
                <a:spcPct val="0"/>
              </a:spcBef>
              <a:spcAft>
                <a:spcPct val="35000"/>
              </a:spcAft>
              <a:buNone/>
            </a:pPr>
            <a:r>
              <a:rPr lang="lv-LV" sz="1400" b="1" kern="1200">
                <a:solidFill>
                  <a:schemeClr val="tx1"/>
                </a:solidFill>
              </a:rPr>
              <a:t>Likumi</a:t>
            </a:r>
          </a:p>
        </p:txBody>
      </p:sp>
      <p:sp>
        <p:nvSpPr>
          <p:cNvPr id="20" name="Rectangle 19">
            <a:extLst>
              <a:ext uri="{FF2B5EF4-FFF2-40B4-BE49-F238E27FC236}">
                <a16:creationId xmlns:a16="http://schemas.microsoft.com/office/drawing/2014/main" id="{83FBD7EB-47E2-E2C9-A0E2-1AF68270CE5A}"/>
              </a:ext>
            </a:extLst>
          </p:cNvPr>
          <p:cNvSpPr/>
          <p:nvPr/>
        </p:nvSpPr>
        <p:spPr>
          <a:xfrm>
            <a:off x="9466719" y="4602338"/>
            <a:ext cx="2178880" cy="15203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rtl="0">
              <a:lnSpc>
                <a:spcPct val="90000"/>
              </a:lnSpc>
              <a:spcBef>
                <a:spcPct val="0"/>
              </a:spcBef>
              <a:spcAft>
                <a:spcPct val="35000"/>
              </a:spcAft>
              <a:buNone/>
            </a:pPr>
            <a:r>
              <a:rPr lang="lv-LV" sz="1400" kern="1200">
                <a:solidFill>
                  <a:schemeClr val="tx2"/>
                </a:solidFill>
              </a:rPr>
              <a:t>Ministru kabineta noteikumi</a:t>
            </a:r>
          </a:p>
        </p:txBody>
      </p:sp>
      <p:sp>
        <p:nvSpPr>
          <p:cNvPr id="21" name="Rectangle 20">
            <a:extLst>
              <a:ext uri="{FF2B5EF4-FFF2-40B4-BE49-F238E27FC236}">
                <a16:creationId xmlns:a16="http://schemas.microsoft.com/office/drawing/2014/main" id="{3437E61C-571D-87C4-E1D3-99CE2EEEE763}"/>
              </a:ext>
            </a:extLst>
          </p:cNvPr>
          <p:cNvSpPr/>
          <p:nvPr/>
        </p:nvSpPr>
        <p:spPr>
          <a:xfrm>
            <a:off x="9467126" y="5284956"/>
            <a:ext cx="2178473" cy="15203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rtl="0">
              <a:lnSpc>
                <a:spcPct val="90000"/>
              </a:lnSpc>
              <a:spcBef>
                <a:spcPct val="0"/>
              </a:spcBef>
              <a:spcAft>
                <a:spcPct val="35000"/>
              </a:spcAft>
              <a:buNone/>
            </a:pPr>
            <a:r>
              <a:rPr lang="lv-LV" sz="1400" kern="1200">
                <a:solidFill>
                  <a:schemeClr val="tx2"/>
                </a:solidFill>
              </a:rPr>
              <a:t>Pašvaldību saistošie noteikumi</a:t>
            </a:r>
          </a:p>
        </p:txBody>
      </p:sp>
      <p:sp>
        <p:nvSpPr>
          <p:cNvPr id="15" name="Freeform: Shape 14">
            <a:extLst>
              <a:ext uri="{FF2B5EF4-FFF2-40B4-BE49-F238E27FC236}">
                <a16:creationId xmlns:a16="http://schemas.microsoft.com/office/drawing/2014/main" id="{DEBA95F2-D529-A6BC-6AC4-DCFF6790B4C7}"/>
              </a:ext>
            </a:extLst>
          </p:cNvPr>
          <p:cNvSpPr/>
          <p:nvPr/>
        </p:nvSpPr>
        <p:spPr>
          <a:xfrm>
            <a:off x="5566739" y="5019665"/>
            <a:ext cx="3991151" cy="682618"/>
          </a:xfrm>
          <a:custGeom>
            <a:avLst/>
            <a:gdLst>
              <a:gd name="connsiteX0" fmla="*/ 0 w 5949107"/>
              <a:gd name="connsiteY0" fmla="*/ 977563 h 977563"/>
              <a:gd name="connsiteX1" fmla="*/ 594916 w 5949107"/>
              <a:gd name="connsiteY1" fmla="*/ 0 h 977563"/>
              <a:gd name="connsiteX2" fmla="*/ 5354191 w 5949107"/>
              <a:gd name="connsiteY2" fmla="*/ 0 h 977563"/>
              <a:gd name="connsiteX3" fmla="*/ 5949107 w 5949107"/>
              <a:gd name="connsiteY3" fmla="*/ 977563 h 977563"/>
              <a:gd name="connsiteX4" fmla="*/ 0 w 5949107"/>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9107" h="977563">
                <a:moveTo>
                  <a:pt x="0" y="977563"/>
                </a:moveTo>
                <a:lnTo>
                  <a:pt x="594916" y="0"/>
                </a:lnTo>
                <a:lnTo>
                  <a:pt x="5354191" y="0"/>
                </a:lnTo>
                <a:lnTo>
                  <a:pt x="5949107"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65223" tIns="24130" rIns="1065224" bIns="24130" numCol="1" spcCol="127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11" name="Freeform: Shape 10">
            <a:extLst>
              <a:ext uri="{FF2B5EF4-FFF2-40B4-BE49-F238E27FC236}">
                <a16:creationId xmlns:a16="http://schemas.microsoft.com/office/drawing/2014/main" id="{6B97B1CC-1E29-3BF1-7F3B-3E1A3CAFC42B}"/>
              </a:ext>
            </a:extLst>
          </p:cNvPr>
          <p:cNvSpPr/>
          <p:nvPr/>
        </p:nvSpPr>
        <p:spPr>
          <a:xfrm>
            <a:off x="7163199" y="2289192"/>
            <a:ext cx="798230" cy="682618"/>
          </a:xfrm>
          <a:custGeom>
            <a:avLst/>
            <a:gdLst>
              <a:gd name="connsiteX0" fmla="*/ 0 w 1189821"/>
              <a:gd name="connsiteY0" fmla="*/ 977563 h 977563"/>
              <a:gd name="connsiteX1" fmla="*/ 594911 w 1189821"/>
              <a:gd name="connsiteY1" fmla="*/ 0 h 977563"/>
              <a:gd name="connsiteX2" fmla="*/ 594911 w 1189821"/>
              <a:gd name="connsiteY2" fmla="*/ 0 h 977563"/>
              <a:gd name="connsiteX3" fmla="*/ 1189821 w 1189821"/>
              <a:gd name="connsiteY3" fmla="*/ 977563 h 977563"/>
              <a:gd name="connsiteX4" fmla="*/ 0 w 1189821"/>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821" h="977563">
                <a:moveTo>
                  <a:pt x="0" y="977563"/>
                </a:moveTo>
                <a:lnTo>
                  <a:pt x="594911" y="0"/>
                </a:lnTo>
                <a:lnTo>
                  <a:pt x="594911" y="0"/>
                </a:lnTo>
                <a:lnTo>
                  <a:pt x="1189821"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endParaRPr lang="lv-LV" sz="1900" kern="1200">
              <a:solidFill>
                <a:schemeClr val="tx1"/>
              </a:solidFill>
            </a:endParaRPr>
          </a:p>
        </p:txBody>
      </p:sp>
      <p:sp>
        <p:nvSpPr>
          <p:cNvPr id="12" name="Freeform: Shape 11">
            <a:extLst>
              <a:ext uri="{FF2B5EF4-FFF2-40B4-BE49-F238E27FC236}">
                <a16:creationId xmlns:a16="http://schemas.microsoft.com/office/drawing/2014/main" id="{8C9FDD50-3ECC-4B56-4C39-6AB999970B00}"/>
              </a:ext>
            </a:extLst>
          </p:cNvPr>
          <p:cNvSpPr/>
          <p:nvPr/>
        </p:nvSpPr>
        <p:spPr>
          <a:xfrm>
            <a:off x="6764084" y="2971810"/>
            <a:ext cx="1596460" cy="682618"/>
          </a:xfrm>
          <a:custGeom>
            <a:avLst/>
            <a:gdLst>
              <a:gd name="connsiteX0" fmla="*/ 0 w 2379643"/>
              <a:gd name="connsiteY0" fmla="*/ 977563 h 977563"/>
              <a:gd name="connsiteX1" fmla="*/ 594916 w 2379643"/>
              <a:gd name="connsiteY1" fmla="*/ 0 h 977563"/>
              <a:gd name="connsiteX2" fmla="*/ 1784727 w 2379643"/>
              <a:gd name="connsiteY2" fmla="*/ 0 h 977563"/>
              <a:gd name="connsiteX3" fmla="*/ 2379643 w 2379643"/>
              <a:gd name="connsiteY3" fmla="*/ 977563 h 977563"/>
              <a:gd name="connsiteX4" fmla="*/ 0 w 2379643"/>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9643" h="977563">
                <a:moveTo>
                  <a:pt x="0" y="977563"/>
                </a:moveTo>
                <a:lnTo>
                  <a:pt x="594916" y="0"/>
                </a:lnTo>
                <a:lnTo>
                  <a:pt x="1784727" y="0"/>
                </a:lnTo>
                <a:lnTo>
                  <a:pt x="2379643"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40567" tIns="24130" rIns="440568" bIns="24130" numCol="1" spcCol="127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13" name="Freeform: Shape 12">
            <a:extLst>
              <a:ext uri="{FF2B5EF4-FFF2-40B4-BE49-F238E27FC236}">
                <a16:creationId xmlns:a16="http://schemas.microsoft.com/office/drawing/2014/main" id="{D9E2DB3C-BBE6-5407-30D9-5C89B4281328}"/>
              </a:ext>
            </a:extLst>
          </p:cNvPr>
          <p:cNvSpPr/>
          <p:nvPr/>
        </p:nvSpPr>
        <p:spPr>
          <a:xfrm>
            <a:off x="6364969" y="3654428"/>
            <a:ext cx="2394691" cy="682618"/>
          </a:xfrm>
          <a:custGeom>
            <a:avLst/>
            <a:gdLst>
              <a:gd name="connsiteX0" fmla="*/ 0 w 3569464"/>
              <a:gd name="connsiteY0" fmla="*/ 977563 h 977563"/>
              <a:gd name="connsiteX1" fmla="*/ 594916 w 3569464"/>
              <a:gd name="connsiteY1" fmla="*/ 0 h 977563"/>
              <a:gd name="connsiteX2" fmla="*/ 2974548 w 3569464"/>
              <a:gd name="connsiteY2" fmla="*/ 0 h 977563"/>
              <a:gd name="connsiteX3" fmla="*/ 3569464 w 3569464"/>
              <a:gd name="connsiteY3" fmla="*/ 977563 h 977563"/>
              <a:gd name="connsiteX4" fmla="*/ 0 w 3569464"/>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9464" h="977563">
                <a:moveTo>
                  <a:pt x="0" y="977563"/>
                </a:moveTo>
                <a:lnTo>
                  <a:pt x="594916" y="0"/>
                </a:lnTo>
                <a:lnTo>
                  <a:pt x="2974548" y="0"/>
                </a:lnTo>
                <a:lnTo>
                  <a:pt x="3569464" y="977563"/>
                </a:lnTo>
                <a:lnTo>
                  <a:pt x="0" y="977563"/>
                </a:lnTo>
                <a:close/>
              </a:path>
            </a:pathLst>
          </a:custGeom>
          <a:solidFill>
            <a:srgbClr val="A4A3B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48786" tIns="24130" rIns="648786" bIns="24130" numCol="1" spcCol="1270" anchor="ctr" anchorCtr="0">
            <a:noAutofit/>
          </a:bodyPr>
          <a:lstStyle/>
          <a:p>
            <a:pPr marL="0" lvl="0" indent="0" algn="ctr" defTabSz="844550">
              <a:lnSpc>
                <a:spcPct val="90000"/>
              </a:lnSpc>
              <a:spcBef>
                <a:spcPct val="0"/>
              </a:spcBef>
              <a:spcAft>
                <a:spcPct val="35000"/>
              </a:spcAft>
              <a:buNone/>
            </a:pPr>
            <a:endParaRPr lang="lv-LV" sz="1900" kern="1200">
              <a:solidFill>
                <a:schemeClr val="tx1"/>
              </a:solidFill>
            </a:endParaRPr>
          </a:p>
        </p:txBody>
      </p:sp>
      <p:sp>
        <p:nvSpPr>
          <p:cNvPr id="14" name="Freeform: Shape 13">
            <a:extLst>
              <a:ext uri="{FF2B5EF4-FFF2-40B4-BE49-F238E27FC236}">
                <a16:creationId xmlns:a16="http://schemas.microsoft.com/office/drawing/2014/main" id="{139E8CFE-F242-9EAC-2FA5-46CE02F3EA12}"/>
              </a:ext>
            </a:extLst>
          </p:cNvPr>
          <p:cNvSpPr/>
          <p:nvPr/>
        </p:nvSpPr>
        <p:spPr>
          <a:xfrm>
            <a:off x="5965853" y="4337047"/>
            <a:ext cx="3192921" cy="682618"/>
          </a:xfrm>
          <a:custGeom>
            <a:avLst/>
            <a:gdLst>
              <a:gd name="connsiteX0" fmla="*/ 0 w 4759286"/>
              <a:gd name="connsiteY0" fmla="*/ 977563 h 977563"/>
              <a:gd name="connsiteX1" fmla="*/ 594916 w 4759286"/>
              <a:gd name="connsiteY1" fmla="*/ 0 h 977563"/>
              <a:gd name="connsiteX2" fmla="*/ 4164370 w 4759286"/>
              <a:gd name="connsiteY2" fmla="*/ 0 h 977563"/>
              <a:gd name="connsiteX3" fmla="*/ 4759286 w 4759286"/>
              <a:gd name="connsiteY3" fmla="*/ 977563 h 977563"/>
              <a:gd name="connsiteX4" fmla="*/ 0 w 4759286"/>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9286" h="977563">
                <a:moveTo>
                  <a:pt x="0" y="977563"/>
                </a:moveTo>
                <a:lnTo>
                  <a:pt x="594916" y="0"/>
                </a:lnTo>
                <a:lnTo>
                  <a:pt x="4164370" y="0"/>
                </a:lnTo>
                <a:lnTo>
                  <a:pt x="4759286"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7005" tIns="24130" rIns="857005" bIns="24130" numCol="1" spcCol="127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50" name="Google Shape;1488;p91">
            <a:extLst>
              <a:ext uri="{FF2B5EF4-FFF2-40B4-BE49-F238E27FC236}">
                <a16:creationId xmlns:a16="http://schemas.microsoft.com/office/drawing/2014/main" id="{D9C6F400-E18F-9139-A3C2-56BDA98A0FB1}"/>
              </a:ext>
            </a:extLst>
          </p:cNvPr>
          <p:cNvSpPr/>
          <p:nvPr/>
        </p:nvSpPr>
        <p:spPr>
          <a:xfrm>
            <a:off x="7421178" y="2630501"/>
            <a:ext cx="282273" cy="282273"/>
          </a:xfrm>
          <a:custGeom>
            <a:avLst/>
            <a:gdLst/>
            <a:ahLst/>
            <a:cxnLst/>
            <a:rect l="l" t="t" r="r" b="b"/>
            <a:pathLst>
              <a:path w="395" h="396" extrusionOk="0">
                <a:moveTo>
                  <a:pt x="0" y="0"/>
                </a:moveTo>
                <a:lnTo>
                  <a:pt x="0" y="396"/>
                </a:lnTo>
                <a:lnTo>
                  <a:pt x="395" y="396"/>
                </a:lnTo>
                <a:lnTo>
                  <a:pt x="395" y="0"/>
                </a:lnTo>
                <a:lnTo>
                  <a:pt x="0" y="0"/>
                </a:lnTo>
                <a:close/>
                <a:moveTo>
                  <a:pt x="378" y="379"/>
                </a:moveTo>
                <a:lnTo>
                  <a:pt x="17" y="379"/>
                </a:lnTo>
                <a:lnTo>
                  <a:pt x="17" y="16"/>
                </a:lnTo>
                <a:lnTo>
                  <a:pt x="378" y="16"/>
                </a:lnTo>
                <a:lnTo>
                  <a:pt x="378" y="379"/>
                </a:lnTo>
                <a:close/>
                <a:moveTo>
                  <a:pt x="343" y="346"/>
                </a:moveTo>
                <a:lnTo>
                  <a:pt x="50" y="346"/>
                </a:lnTo>
                <a:lnTo>
                  <a:pt x="50" y="329"/>
                </a:lnTo>
                <a:lnTo>
                  <a:pt x="343" y="329"/>
                </a:lnTo>
                <a:lnTo>
                  <a:pt x="343" y="346"/>
                </a:lnTo>
                <a:close/>
                <a:moveTo>
                  <a:pt x="343" y="140"/>
                </a:moveTo>
                <a:lnTo>
                  <a:pt x="207" y="140"/>
                </a:lnTo>
                <a:lnTo>
                  <a:pt x="207" y="115"/>
                </a:lnTo>
                <a:lnTo>
                  <a:pt x="237" y="115"/>
                </a:lnTo>
                <a:lnTo>
                  <a:pt x="237" y="130"/>
                </a:lnTo>
                <a:lnTo>
                  <a:pt x="289" y="130"/>
                </a:lnTo>
                <a:lnTo>
                  <a:pt x="289" y="75"/>
                </a:lnTo>
                <a:lnTo>
                  <a:pt x="255" y="75"/>
                </a:lnTo>
                <a:lnTo>
                  <a:pt x="255" y="54"/>
                </a:lnTo>
                <a:lnTo>
                  <a:pt x="190" y="54"/>
                </a:lnTo>
                <a:lnTo>
                  <a:pt x="190" y="140"/>
                </a:lnTo>
                <a:lnTo>
                  <a:pt x="50" y="140"/>
                </a:lnTo>
                <a:lnTo>
                  <a:pt x="50" y="157"/>
                </a:lnTo>
                <a:lnTo>
                  <a:pt x="343" y="157"/>
                </a:lnTo>
                <a:lnTo>
                  <a:pt x="343" y="140"/>
                </a:lnTo>
                <a:close/>
                <a:moveTo>
                  <a:pt x="273" y="92"/>
                </a:moveTo>
                <a:lnTo>
                  <a:pt x="273" y="114"/>
                </a:lnTo>
                <a:lnTo>
                  <a:pt x="255" y="114"/>
                </a:lnTo>
                <a:lnTo>
                  <a:pt x="255" y="92"/>
                </a:lnTo>
                <a:lnTo>
                  <a:pt x="273" y="92"/>
                </a:lnTo>
                <a:close/>
                <a:moveTo>
                  <a:pt x="207" y="71"/>
                </a:moveTo>
                <a:lnTo>
                  <a:pt x="237" y="71"/>
                </a:lnTo>
                <a:lnTo>
                  <a:pt x="237" y="75"/>
                </a:lnTo>
                <a:lnTo>
                  <a:pt x="237" y="98"/>
                </a:lnTo>
                <a:lnTo>
                  <a:pt x="207" y="98"/>
                </a:lnTo>
                <a:lnTo>
                  <a:pt x="207" y="71"/>
                </a:lnTo>
                <a:close/>
                <a:moveTo>
                  <a:pt x="123" y="320"/>
                </a:moveTo>
                <a:lnTo>
                  <a:pt x="123" y="167"/>
                </a:lnTo>
                <a:lnTo>
                  <a:pt x="73" y="167"/>
                </a:lnTo>
                <a:lnTo>
                  <a:pt x="73" y="320"/>
                </a:lnTo>
                <a:lnTo>
                  <a:pt x="123" y="320"/>
                </a:lnTo>
                <a:close/>
                <a:moveTo>
                  <a:pt x="90" y="185"/>
                </a:moveTo>
                <a:lnTo>
                  <a:pt x="106" y="185"/>
                </a:lnTo>
                <a:lnTo>
                  <a:pt x="106" y="302"/>
                </a:lnTo>
                <a:lnTo>
                  <a:pt x="90" y="302"/>
                </a:lnTo>
                <a:lnTo>
                  <a:pt x="90" y="185"/>
                </a:lnTo>
                <a:close/>
                <a:moveTo>
                  <a:pt x="189" y="320"/>
                </a:moveTo>
                <a:lnTo>
                  <a:pt x="189" y="167"/>
                </a:lnTo>
                <a:lnTo>
                  <a:pt x="138" y="167"/>
                </a:lnTo>
                <a:lnTo>
                  <a:pt x="138" y="320"/>
                </a:lnTo>
                <a:lnTo>
                  <a:pt x="189" y="320"/>
                </a:lnTo>
                <a:close/>
                <a:moveTo>
                  <a:pt x="155" y="185"/>
                </a:moveTo>
                <a:lnTo>
                  <a:pt x="172" y="185"/>
                </a:lnTo>
                <a:lnTo>
                  <a:pt x="172" y="302"/>
                </a:lnTo>
                <a:lnTo>
                  <a:pt x="155" y="302"/>
                </a:lnTo>
                <a:lnTo>
                  <a:pt x="155" y="185"/>
                </a:lnTo>
                <a:close/>
                <a:moveTo>
                  <a:pt x="255" y="320"/>
                </a:moveTo>
                <a:lnTo>
                  <a:pt x="255" y="167"/>
                </a:lnTo>
                <a:lnTo>
                  <a:pt x="204" y="167"/>
                </a:lnTo>
                <a:lnTo>
                  <a:pt x="204" y="320"/>
                </a:lnTo>
                <a:lnTo>
                  <a:pt x="255" y="320"/>
                </a:lnTo>
                <a:close/>
                <a:moveTo>
                  <a:pt x="220" y="185"/>
                </a:moveTo>
                <a:lnTo>
                  <a:pt x="237" y="185"/>
                </a:lnTo>
                <a:lnTo>
                  <a:pt x="237" y="302"/>
                </a:lnTo>
                <a:lnTo>
                  <a:pt x="220" y="302"/>
                </a:lnTo>
                <a:lnTo>
                  <a:pt x="220" y="185"/>
                </a:lnTo>
                <a:close/>
                <a:moveTo>
                  <a:pt x="320" y="320"/>
                </a:moveTo>
                <a:lnTo>
                  <a:pt x="320" y="167"/>
                </a:lnTo>
                <a:lnTo>
                  <a:pt x="269" y="167"/>
                </a:lnTo>
                <a:lnTo>
                  <a:pt x="269" y="320"/>
                </a:lnTo>
                <a:lnTo>
                  <a:pt x="320" y="320"/>
                </a:lnTo>
                <a:close/>
                <a:moveTo>
                  <a:pt x="287" y="185"/>
                </a:moveTo>
                <a:lnTo>
                  <a:pt x="304" y="185"/>
                </a:lnTo>
                <a:lnTo>
                  <a:pt x="304" y="302"/>
                </a:lnTo>
                <a:lnTo>
                  <a:pt x="287" y="302"/>
                </a:lnTo>
                <a:lnTo>
                  <a:pt x="287" y="185"/>
                </a:lnTo>
                <a:close/>
              </a:path>
            </a:pathLst>
          </a:custGeom>
          <a:solidFill>
            <a:schemeClr val="tx2"/>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800">
              <a:solidFill>
                <a:schemeClr val="accent1"/>
              </a:solidFill>
              <a:latin typeface="Arial"/>
              <a:ea typeface="Arial"/>
              <a:cs typeface="Arial"/>
              <a:sym typeface="Arial"/>
            </a:endParaRPr>
          </a:p>
        </p:txBody>
      </p:sp>
      <p:sp>
        <p:nvSpPr>
          <p:cNvPr id="51" name="Google Shape;1490;p91">
            <a:extLst>
              <a:ext uri="{FF2B5EF4-FFF2-40B4-BE49-F238E27FC236}">
                <a16:creationId xmlns:a16="http://schemas.microsoft.com/office/drawing/2014/main" id="{068E7E96-E629-666A-2597-2420A976A69C}"/>
              </a:ext>
            </a:extLst>
          </p:cNvPr>
          <p:cNvSpPr/>
          <p:nvPr/>
        </p:nvSpPr>
        <p:spPr>
          <a:xfrm>
            <a:off x="7421178" y="3171982"/>
            <a:ext cx="282273" cy="282273"/>
          </a:xfrm>
          <a:custGeom>
            <a:avLst/>
            <a:gdLst/>
            <a:ahLst/>
            <a:cxnLst/>
            <a:rect l="l" t="t" r="r" b="b"/>
            <a:pathLst>
              <a:path w="346" h="346" extrusionOk="0">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tx2"/>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800">
              <a:solidFill>
                <a:schemeClr val="accent1"/>
              </a:solidFill>
              <a:latin typeface="Arial"/>
              <a:ea typeface="Arial"/>
              <a:cs typeface="Arial"/>
              <a:sym typeface="Arial"/>
            </a:endParaRPr>
          </a:p>
        </p:txBody>
      </p:sp>
      <p:sp>
        <p:nvSpPr>
          <p:cNvPr id="52" name="Google Shape;1984;p97">
            <a:extLst>
              <a:ext uri="{FF2B5EF4-FFF2-40B4-BE49-F238E27FC236}">
                <a16:creationId xmlns:a16="http://schemas.microsoft.com/office/drawing/2014/main" id="{E8420F17-C1A2-D0B0-3F70-100604EAB0E7}"/>
              </a:ext>
            </a:extLst>
          </p:cNvPr>
          <p:cNvSpPr/>
          <p:nvPr/>
        </p:nvSpPr>
        <p:spPr>
          <a:xfrm>
            <a:off x="7421178" y="3854601"/>
            <a:ext cx="282273" cy="282273"/>
          </a:xfrm>
          <a:custGeom>
            <a:avLst/>
            <a:gdLst/>
            <a:ahLst/>
            <a:cxnLst/>
            <a:rect l="l" t="t" r="r" b="b"/>
            <a:pathLst>
              <a:path w="453744" h="453590" extrusionOk="0">
                <a:moveTo>
                  <a:pt x="357292" y="0"/>
                </a:moveTo>
                <a:lnTo>
                  <a:pt x="0" y="0"/>
                </a:lnTo>
                <a:lnTo>
                  <a:pt x="0" y="453590"/>
                </a:lnTo>
                <a:lnTo>
                  <a:pt x="453744" y="453590"/>
                </a:lnTo>
                <a:lnTo>
                  <a:pt x="453744" y="96419"/>
                </a:lnTo>
                <a:close/>
                <a:moveTo>
                  <a:pt x="362964" y="33074"/>
                </a:moveTo>
                <a:lnTo>
                  <a:pt x="423936" y="94025"/>
                </a:lnTo>
                <a:lnTo>
                  <a:pt x="362964" y="94025"/>
                </a:lnTo>
                <a:close/>
                <a:moveTo>
                  <a:pt x="19505" y="434250"/>
                </a:moveTo>
                <a:lnTo>
                  <a:pt x="19505" y="19372"/>
                </a:lnTo>
                <a:lnTo>
                  <a:pt x="343585" y="19372"/>
                </a:lnTo>
                <a:lnTo>
                  <a:pt x="343585" y="113398"/>
                </a:lnTo>
                <a:lnTo>
                  <a:pt x="434365" y="113398"/>
                </a:lnTo>
                <a:lnTo>
                  <a:pt x="434365" y="434250"/>
                </a:lnTo>
                <a:close/>
                <a:moveTo>
                  <a:pt x="224036" y="80953"/>
                </a:moveTo>
                <a:cubicBezTo>
                  <a:pt x="242942" y="80953"/>
                  <a:pt x="257500" y="86141"/>
                  <a:pt x="267709" y="96514"/>
                </a:cubicBezTo>
                <a:cubicBezTo>
                  <a:pt x="277918" y="106887"/>
                  <a:pt x="283265" y="121713"/>
                  <a:pt x="283748" y="140991"/>
                </a:cubicBezTo>
                <a:lnTo>
                  <a:pt x="256176" y="140991"/>
                </a:lnTo>
                <a:cubicBezTo>
                  <a:pt x="256438" y="131488"/>
                  <a:pt x="253132" y="122227"/>
                  <a:pt x="246912" y="115035"/>
                </a:cubicBezTo>
                <a:cubicBezTo>
                  <a:pt x="240878" y="108509"/>
                  <a:pt x="232289" y="104953"/>
                  <a:pt x="223406" y="105302"/>
                </a:cubicBezTo>
                <a:cubicBezTo>
                  <a:pt x="213669" y="105302"/>
                  <a:pt x="206076" y="107791"/>
                  <a:pt x="200687" y="112736"/>
                </a:cubicBezTo>
                <a:cubicBezTo>
                  <a:pt x="195138" y="118047"/>
                  <a:pt x="192170" y="125509"/>
                  <a:pt x="192558" y="133179"/>
                </a:cubicBezTo>
                <a:cubicBezTo>
                  <a:pt x="192876" y="140840"/>
                  <a:pt x="196288" y="148044"/>
                  <a:pt x="202011" y="153150"/>
                </a:cubicBezTo>
                <a:cubicBezTo>
                  <a:pt x="208313" y="159450"/>
                  <a:pt x="219184" y="166641"/>
                  <a:pt x="234624" y="174727"/>
                </a:cubicBezTo>
                <a:cubicBezTo>
                  <a:pt x="259832" y="187034"/>
                  <a:pt x="277090" y="198436"/>
                  <a:pt x="286395" y="208935"/>
                </a:cubicBezTo>
                <a:cubicBezTo>
                  <a:pt x="295198" y="218435"/>
                  <a:pt x="300123" y="230887"/>
                  <a:pt x="300196" y="243836"/>
                </a:cubicBezTo>
                <a:cubicBezTo>
                  <a:pt x="300155" y="253888"/>
                  <a:pt x="297032" y="263684"/>
                  <a:pt x="291247" y="271902"/>
                </a:cubicBezTo>
                <a:cubicBezTo>
                  <a:pt x="285147" y="280804"/>
                  <a:pt x="276488" y="287645"/>
                  <a:pt x="266417" y="291526"/>
                </a:cubicBezTo>
                <a:cubicBezTo>
                  <a:pt x="278911" y="300485"/>
                  <a:pt x="286092" y="315097"/>
                  <a:pt x="285544" y="330459"/>
                </a:cubicBezTo>
                <a:cubicBezTo>
                  <a:pt x="285944" y="344940"/>
                  <a:pt x="279585" y="358780"/>
                  <a:pt x="268339" y="367912"/>
                </a:cubicBezTo>
                <a:cubicBezTo>
                  <a:pt x="256870" y="377551"/>
                  <a:pt x="242375" y="382370"/>
                  <a:pt x="224855" y="382370"/>
                </a:cubicBezTo>
                <a:cubicBezTo>
                  <a:pt x="206454" y="382370"/>
                  <a:pt x="191360" y="377119"/>
                  <a:pt x="179576" y="366621"/>
                </a:cubicBezTo>
                <a:cubicBezTo>
                  <a:pt x="167791" y="356122"/>
                  <a:pt x="161142" y="340927"/>
                  <a:pt x="159630" y="321041"/>
                </a:cubicBezTo>
                <a:lnTo>
                  <a:pt x="187201" y="321041"/>
                </a:lnTo>
                <a:cubicBezTo>
                  <a:pt x="187081" y="331096"/>
                  <a:pt x="190866" y="340807"/>
                  <a:pt x="197757" y="348130"/>
                </a:cubicBezTo>
                <a:cubicBezTo>
                  <a:pt x="204840" y="354912"/>
                  <a:pt x="214397" y="358488"/>
                  <a:pt x="224194" y="358021"/>
                </a:cubicBezTo>
                <a:cubicBezTo>
                  <a:pt x="232537" y="358267"/>
                  <a:pt x="240718" y="355693"/>
                  <a:pt x="247417" y="350713"/>
                </a:cubicBezTo>
                <a:cubicBezTo>
                  <a:pt x="253602" y="346121"/>
                  <a:pt x="257134" y="338785"/>
                  <a:pt x="256870" y="331089"/>
                </a:cubicBezTo>
                <a:cubicBezTo>
                  <a:pt x="256844" y="325624"/>
                  <a:pt x="255017" y="320323"/>
                  <a:pt x="251670" y="316001"/>
                </a:cubicBezTo>
                <a:cubicBezTo>
                  <a:pt x="247666" y="310835"/>
                  <a:pt x="242907" y="306303"/>
                  <a:pt x="237554" y="302551"/>
                </a:cubicBezTo>
                <a:cubicBezTo>
                  <a:pt x="231589" y="298226"/>
                  <a:pt x="217145" y="289825"/>
                  <a:pt x="194228" y="277351"/>
                </a:cubicBezTo>
                <a:cubicBezTo>
                  <a:pt x="177108" y="268258"/>
                  <a:pt x="164451" y="258631"/>
                  <a:pt x="156258" y="248467"/>
                </a:cubicBezTo>
                <a:cubicBezTo>
                  <a:pt x="148066" y="238396"/>
                  <a:pt x="143692" y="225756"/>
                  <a:pt x="143906" y="212778"/>
                </a:cubicBezTo>
                <a:cubicBezTo>
                  <a:pt x="144079" y="203019"/>
                  <a:pt x="147394" y="193573"/>
                  <a:pt x="153359" y="185846"/>
                </a:cubicBezTo>
                <a:cubicBezTo>
                  <a:pt x="159538" y="177253"/>
                  <a:pt x="168408" y="170966"/>
                  <a:pt x="178567" y="167986"/>
                </a:cubicBezTo>
                <a:cubicBezTo>
                  <a:pt x="174105" y="163122"/>
                  <a:pt x="170340" y="157664"/>
                  <a:pt x="167381" y="151764"/>
                </a:cubicBezTo>
                <a:cubicBezTo>
                  <a:pt x="164788" y="146075"/>
                  <a:pt x="163515" y="139873"/>
                  <a:pt x="163663" y="133620"/>
                </a:cubicBezTo>
                <a:cubicBezTo>
                  <a:pt x="163439" y="119168"/>
                  <a:pt x="169763" y="105390"/>
                  <a:pt x="180868" y="96136"/>
                </a:cubicBezTo>
                <a:cubicBezTo>
                  <a:pt x="192791" y="85839"/>
                  <a:pt x="208161" y="80418"/>
                  <a:pt x="223910" y="80953"/>
                </a:cubicBezTo>
                <a:close/>
                <a:moveTo>
                  <a:pt x="170816" y="211392"/>
                </a:moveTo>
                <a:cubicBezTo>
                  <a:pt x="170712" y="219355"/>
                  <a:pt x="173743" y="227038"/>
                  <a:pt x="179260" y="232780"/>
                </a:cubicBezTo>
                <a:cubicBezTo>
                  <a:pt x="184869" y="238850"/>
                  <a:pt x="197095" y="246860"/>
                  <a:pt x="215938" y="256814"/>
                </a:cubicBezTo>
                <a:cubicBezTo>
                  <a:pt x="227789" y="263161"/>
                  <a:pt x="239240" y="270230"/>
                  <a:pt x="250221" y="277982"/>
                </a:cubicBezTo>
                <a:cubicBezTo>
                  <a:pt x="265787" y="271263"/>
                  <a:pt x="273570" y="261202"/>
                  <a:pt x="273570" y="247805"/>
                </a:cubicBezTo>
                <a:cubicBezTo>
                  <a:pt x="273214" y="241285"/>
                  <a:pt x="270696" y="235067"/>
                  <a:pt x="266417" y="230134"/>
                </a:cubicBezTo>
                <a:cubicBezTo>
                  <a:pt x="261668" y="223960"/>
                  <a:pt x="250211" y="215559"/>
                  <a:pt x="232040" y="204935"/>
                </a:cubicBezTo>
                <a:cubicBezTo>
                  <a:pt x="219083" y="197929"/>
                  <a:pt x="206513" y="190231"/>
                  <a:pt x="194385" y="181877"/>
                </a:cubicBezTo>
                <a:cubicBezTo>
                  <a:pt x="187560" y="184117"/>
                  <a:pt x="181529" y="188284"/>
                  <a:pt x="177023" y="193878"/>
                </a:cubicBezTo>
                <a:cubicBezTo>
                  <a:pt x="172974" y="198824"/>
                  <a:pt x="170740" y="205004"/>
                  <a:pt x="170690" y="211392"/>
                </a:cubicBezTo>
                <a:close/>
              </a:path>
            </a:pathLst>
          </a:custGeom>
          <a:solidFill>
            <a:schemeClr val="tx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lv-LV" sz="1800">
              <a:solidFill>
                <a:schemeClr val="dk1"/>
              </a:solidFill>
              <a:latin typeface="Arial"/>
              <a:ea typeface="Arial"/>
              <a:cs typeface="Arial"/>
              <a:sym typeface="Arial"/>
            </a:endParaRPr>
          </a:p>
        </p:txBody>
      </p:sp>
      <p:sp>
        <p:nvSpPr>
          <p:cNvPr id="53" name="Google Shape;1973;p97">
            <a:extLst>
              <a:ext uri="{FF2B5EF4-FFF2-40B4-BE49-F238E27FC236}">
                <a16:creationId xmlns:a16="http://schemas.microsoft.com/office/drawing/2014/main" id="{EA8EB5DA-D7B9-D8AD-98EA-8F9A80E795EF}"/>
              </a:ext>
            </a:extLst>
          </p:cNvPr>
          <p:cNvSpPr/>
          <p:nvPr/>
        </p:nvSpPr>
        <p:spPr>
          <a:xfrm>
            <a:off x="7421178" y="4537219"/>
            <a:ext cx="282273" cy="282273"/>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tx2"/>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800">
              <a:solidFill>
                <a:schemeClr val="accent1"/>
              </a:solidFill>
              <a:latin typeface="Arial"/>
              <a:ea typeface="Arial"/>
              <a:cs typeface="Arial"/>
              <a:sym typeface="Arial"/>
            </a:endParaRPr>
          </a:p>
        </p:txBody>
      </p:sp>
      <p:sp>
        <p:nvSpPr>
          <p:cNvPr id="54" name="Google Shape;1978;p97">
            <a:extLst>
              <a:ext uri="{FF2B5EF4-FFF2-40B4-BE49-F238E27FC236}">
                <a16:creationId xmlns:a16="http://schemas.microsoft.com/office/drawing/2014/main" id="{F5A3FD28-E92B-ED1F-7D12-3226BF4AC422}"/>
              </a:ext>
            </a:extLst>
          </p:cNvPr>
          <p:cNvSpPr/>
          <p:nvPr/>
        </p:nvSpPr>
        <p:spPr>
          <a:xfrm>
            <a:off x="7421178" y="5219837"/>
            <a:ext cx="282273" cy="282273"/>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tx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sp>
        <p:nvSpPr>
          <p:cNvPr id="27" name="TextBox 26">
            <a:extLst>
              <a:ext uri="{FF2B5EF4-FFF2-40B4-BE49-F238E27FC236}">
                <a16:creationId xmlns:a16="http://schemas.microsoft.com/office/drawing/2014/main" id="{2D6405CD-2499-573E-A031-A68FA08F053E}"/>
              </a:ext>
            </a:extLst>
          </p:cNvPr>
          <p:cNvSpPr txBox="1"/>
          <p:nvPr/>
        </p:nvSpPr>
        <p:spPr>
          <a:xfrm>
            <a:off x="478629" y="2625091"/>
            <a:ext cx="4743646" cy="3547110"/>
          </a:xfrm>
          <a:prstGeom prst="rect">
            <a:avLst/>
          </a:prstGeom>
          <a:solidFill>
            <a:schemeClr val="bg1">
              <a:lumMod val="95000"/>
            </a:schemeClr>
          </a:solidFill>
        </p:spPr>
        <p:txBody>
          <a:bodyPr wrap="square" lIns="72000" tIns="72000" rIns="144000" bIns="0" numCol="2" rtlCol="0" anchor="t">
            <a:noAutofit/>
          </a:bodyPr>
          <a:lstStyle/>
          <a:p>
            <a:pPr marL="285750" indent="-285750">
              <a:lnSpc>
                <a:spcPct val="100000"/>
              </a:lnSpc>
              <a:spcAft>
                <a:spcPts val="300"/>
              </a:spcAft>
              <a:buSzPct val="100000"/>
              <a:buBlip>
                <a:blip r:embed="rId3"/>
              </a:buBlip>
            </a:pPr>
            <a:r>
              <a:rPr lang="lv-LV" sz="1400">
                <a:cs typeface="Times New Roman"/>
              </a:rPr>
              <a:t>Par Valsts civilās aizsardzības plānu </a:t>
            </a:r>
            <a:r>
              <a:rPr lang="lv-LV" sz="1400">
                <a:solidFill>
                  <a:srgbClr val="525A72"/>
                </a:solidFill>
                <a:cs typeface="Times New Roman"/>
              </a:rPr>
              <a:t>(vairāk 3.4. sadaļā)</a:t>
            </a:r>
          </a:p>
          <a:p>
            <a:pPr marL="285750" indent="-285750">
              <a:lnSpc>
                <a:spcPct val="100000"/>
              </a:lnSpc>
              <a:spcAft>
                <a:spcPts val="300"/>
              </a:spcAft>
              <a:buSzPct val="100000"/>
              <a:buBlip>
                <a:blip r:embed="rId3"/>
              </a:buBlip>
            </a:pPr>
            <a:r>
              <a:rPr lang="lv-LV" sz="1400">
                <a:cs typeface="Times New Roman"/>
              </a:rPr>
              <a:t>Nacionālās</a:t>
            </a:r>
            <a:r>
              <a:rPr lang="lv-LV" sz="1400" spc="-50">
                <a:cs typeface="Times New Roman"/>
              </a:rPr>
              <a:t> </a:t>
            </a:r>
            <a:r>
              <a:rPr lang="lv-LV" sz="1400">
                <a:cs typeface="Times New Roman"/>
              </a:rPr>
              <a:t>drošības</a:t>
            </a:r>
            <a:r>
              <a:rPr lang="lv-LV" sz="1400" spc="-45">
                <a:cs typeface="Times New Roman"/>
              </a:rPr>
              <a:t> </a:t>
            </a:r>
            <a:r>
              <a:rPr lang="lv-LV" sz="1400">
                <a:cs typeface="Times New Roman"/>
              </a:rPr>
              <a:t>likums</a:t>
            </a:r>
          </a:p>
          <a:p>
            <a:pPr marL="285750" indent="-285750">
              <a:lnSpc>
                <a:spcPct val="100000"/>
              </a:lnSpc>
              <a:spcAft>
                <a:spcPts val="300"/>
              </a:spcAft>
              <a:buSzPct val="100000"/>
              <a:buBlip>
                <a:blip r:embed="rId3"/>
              </a:buBlip>
            </a:pPr>
            <a:r>
              <a:rPr lang="lv-LV" sz="1400">
                <a:cs typeface="Times New Roman"/>
              </a:rPr>
              <a:t>Par ārkārtējo situāciju </a:t>
            </a:r>
            <a:br>
              <a:rPr lang="en-US" sz="1400">
                <a:cs typeface="Times New Roman"/>
              </a:rPr>
            </a:br>
            <a:r>
              <a:rPr lang="lv-LV" sz="1400">
                <a:cs typeface="Times New Roman"/>
              </a:rPr>
              <a:t>un izņēmuma stāvokli</a:t>
            </a:r>
          </a:p>
          <a:p>
            <a:pPr marL="285750" indent="-285750">
              <a:lnSpc>
                <a:spcPct val="100000"/>
              </a:lnSpc>
              <a:spcAft>
                <a:spcPts val="300"/>
              </a:spcAft>
              <a:buSzPct val="100000"/>
              <a:buBlip>
                <a:blip r:embed="rId3"/>
              </a:buBlip>
            </a:pPr>
            <a:r>
              <a:rPr lang="lv-LV" sz="1400">
                <a:cs typeface="Times New Roman"/>
              </a:rPr>
              <a:t>Valsts materiālo </a:t>
            </a:r>
            <a:br>
              <a:rPr lang="en-US" sz="1400">
                <a:cs typeface="Times New Roman"/>
              </a:rPr>
            </a:br>
            <a:r>
              <a:rPr lang="lv-LV" sz="1400">
                <a:cs typeface="Times New Roman"/>
              </a:rPr>
              <a:t>rezervju likums</a:t>
            </a:r>
          </a:p>
          <a:p>
            <a:pPr marL="285750" indent="-285750">
              <a:lnSpc>
                <a:spcPct val="100000"/>
              </a:lnSpc>
              <a:spcAft>
                <a:spcPts val="300"/>
              </a:spcAft>
              <a:buSzPct val="100000"/>
              <a:buBlip>
                <a:blip r:embed="rId3"/>
              </a:buBlip>
            </a:pPr>
            <a:r>
              <a:rPr lang="lv-LV" sz="1400">
                <a:cs typeface="Times New Roman"/>
              </a:rPr>
              <a:t>Ķīmisko vielu likums</a:t>
            </a:r>
          </a:p>
          <a:p>
            <a:pPr marL="285750" indent="-285750">
              <a:lnSpc>
                <a:spcPct val="100000"/>
              </a:lnSpc>
              <a:spcAft>
                <a:spcPts val="300"/>
              </a:spcAft>
              <a:buSzPct val="100000"/>
              <a:buBlip>
                <a:blip r:embed="rId3"/>
              </a:buBlip>
            </a:pPr>
            <a:r>
              <a:rPr lang="lv-LV" sz="1400">
                <a:cs typeface="Times New Roman"/>
              </a:rPr>
              <a:t>Par piesārņojumu</a:t>
            </a:r>
          </a:p>
          <a:p>
            <a:pPr marL="285750" indent="-285750">
              <a:spcAft>
                <a:spcPts val="300"/>
              </a:spcAft>
              <a:buSzPct val="100000"/>
              <a:buBlip>
                <a:blip r:embed="rId3"/>
              </a:buBlip>
            </a:pPr>
            <a:r>
              <a:rPr lang="lv-LV" sz="1400">
                <a:cs typeface="Times New Roman"/>
              </a:rPr>
              <a:t>Enerģētikas likums</a:t>
            </a:r>
          </a:p>
          <a:p>
            <a:pPr marL="285750" indent="-285750">
              <a:lnSpc>
                <a:spcPct val="100000"/>
              </a:lnSpc>
              <a:spcAft>
                <a:spcPts val="300"/>
              </a:spcAft>
              <a:buSzPct val="100000"/>
              <a:buBlip>
                <a:blip r:embed="rId3"/>
              </a:buBlip>
            </a:pPr>
            <a:r>
              <a:rPr lang="lv-LV" sz="1400">
                <a:cs typeface="Times New Roman"/>
              </a:rPr>
              <a:t>Par radiācijas drošību un kodoldrošību</a:t>
            </a:r>
          </a:p>
          <a:p>
            <a:pPr marL="285750" indent="-285750">
              <a:lnSpc>
                <a:spcPct val="100000"/>
              </a:lnSpc>
              <a:spcAft>
                <a:spcPts val="300"/>
              </a:spcAft>
              <a:buSzPct val="100000"/>
              <a:buBlip>
                <a:blip r:embed="rId3"/>
              </a:buBlip>
            </a:pPr>
            <a:r>
              <a:rPr lang="lv-LV" sz="1400">
                <a:cs typeface="Times New Roman"/>
              </a:rPr>
              <a:t>Bīstamo kravu aprites likums</a:t>
            </a:r>
          </a:p>
          <a:p>
            <a:pPr marL="285750" indent="-285750">
              <a:lnSpc>
                <a:spcPct val="100000"/>
              </a:lnSpc>
              <a:spcAft>
                <a:spcPts val="300"/>
              </a:spcAft>
              <a:buSzPct val="100000"/>
              <a:buBlip>
                <a:blip r:embed="rId3"/>
              </a:buBlip>
            </a:pPr>
            <a:r>
              <a:rPr lang="lv-LV" sz="1400">
                <a:cs typeface="Times New Roman"/>
              </a:rPr>
              <a:t>Ugunsdrošības un ugunsdzēsības likums</a:t>
            </a:r>
          </a:p>
          <a:p>
            <a:pPr marL="285750" indent="-285750">
              <a:lnSpc>
                <a:spcPct val="100000"/>
              </a:lnSpc>
              <a:spcAft>
                <a:spcPts val="300"/>
              </a:spcAft>
              <a:buSzPct val="100000"/>
              <a:buBlip>
                <a:blip r:embed="rId3"/>
              </a:buBlip>
            </a:pPr>
            <a:r>
              <a:rPr lang="lv-LV" sz="1400">
                <a:cs typeface="Times New Roman"/>
              </a:rPr>
              <a:t>Starptautiskās palīdzības likums</a:t>
            </a:r>
          </a:p>
          <a:p>
            <a:pPr marL="285750" indent="-285750">
              <a:lnSpc>
                <a:spcPct val="100000"/>
              </a:lnSpc>
              <a:spcAft>
                <a:spcPts val="300"/>
              </a:spcAft>
              <a:buSzPct val="100000"/>
              <a:buBlip>
                <a:blip r:embed="rId3"/>
              </a:buBlip>
            </a:pPr>
            <a:r>
              <a:rPr lang="lv-LV" sz="1400">
                <a:cs typeface="Times New Roman"/>
              </a:rPr>
              <a:t>Ārstniecības likums</a:t>
            </a:r>
          </a:p>
          <a:p>
            <a:pPr marL="285750" indent="-285750">
              <a:lnSpc>
                <a:spcPct val="100000"/>
              </a:lnSpc>
              <a:spcAft>
                <a:spcPts val="300"/>
              </a:spcAft>
              <a:buSzPct val="100000"/>
              <a:buBlip>
                <a:blip r:embed="rId3"/>
              </a:buBlip>
            </a:pPr>
            <a:r>
              <a:rPr lang="lv-LV" sz="1400">
                <a:cs typeface="Times New Roman"/>
              </a:rPr>
              <a:t>Epidemioloģiskās drošības likums</a:t>
            </a:r>
          </a:p>
          <a:p>
            <a:pPr marL="285750" indent="-285750">
              <a:lnSpc>
                <a:spcPct val="100000"/>
              </a:lnSpc>
              <a:spcAft>
                <a:spcPts val="300"/>
              </a:spcAft>
              <a:buSzPct val="100000"/>
              <a:buBlip>
                <a:blip r:embed="rId3"/>
              </a:buBlip>
            </a:pPr>
            <a:r>
              <a:rPr lang="lv-LV" sz="1400">
                <a:cs typeface="Times New Roman"/>
              </a:rPr>
              <a:t>u.c.</a:t>
            </a:r>
            <a:endParaRPr lang="lv-LV" sz="1400" b="1"/>
          </a:p>
        </p:txBody>
      </p:sp>
      <p:sp>
        <p:nvSpPr>
          <p:cNvPr id="45" name="Google Shape;1984;p97">
            <a:extLst>
              <a:ext uri="{FF2B5EF4-FFF2-40B4-BE49-F238E27FC236}">
                <a16:creationId xmlns:a16="http://schemas.microsoft.com/office/drawing/2014/main" id="{2041981A-11A6-9BA7-331A-38669E547A49}"/>
              </a:ext>
            </a:extLst>
          </p:cNvPr>
          <p:cNvSpPr/>
          <p:nvPr/>
        </p:nvSpPr>
        <p:spPr>
          <a:xfrm>
            <a:off x="4437884" y="5639957"/>
            <a:ext cx="360000" cy="360000"/>
          </a:xfrm>
          <a:custGeom>
            <a:avLst/>
            <a:gdLst/>
            <a:ahLst/>
            <a:cxnLst/>
            <a:rect l="l" t="t" r="r" b="b"/>
            <a:pathLst>
              <a:path w="453744" h="453590" extrusionOk="0">
                <a:moveTo>
                  <a:pt x="357292" y="0"/>
                </a:moveTo>
                <a:lnTo>
                  <a:pt x="0" y="0"/>
                </a:lnTo>
                <a:lnTo>
                  <a:pt x="0" y="453590"/>
                </a:lnTo>
                <a:lnTo>
                  <a:pt x="453744" y="453590"/>
                </a:lnTo>
                <a:lnTo>
                  <a:pt x="453744" y="96419"/>
                </a:lnTo>
                <a:close/>
                <a:moveTo>
                  <a:pt x="362964" y="33074"/>
                </a:moveTo>
                <a:lnTo>
                  <a:pt x="423936" y="94025"/>
                </a:lnTo>
                <a:lnTo>
                  <a:pt x="362964" y="94025"/>
                </a:lnTo>
                <a:close/>
                <a:moveTo>
                  <a:pt x="19505" y="434250"/>
                </a:moveTo>
                <a:lnTo>
                  <a:pt x="19505" y="19372"/>
                </a:lnTo>
                <a:lnTo>
                  <a:pt x="343585" y="19372"/>
                </a:lnTo>
                <a:lnTo>
                  <a:pt x="343585" y="113398"/>
                </a:lnTo>
                <a:lnTo>
                  <a:pt x="434365" y="113398"/>
                </a:lnTo>
                <a:lnTo>
                  <a:pt x="434365" y="434250"/>
                </a:lnTo>
                <a:close/>
                <a:moveTo>
                  <a:pt x="224036" y="80953"/>
                </a:moveTo>
                <a:cubicBezTo>
                  <a:pt x="242942" y="80953"/>
                  <a:pt x="257500" y="86141"/>
                  <a:pt x="267709" y="96514"/>
                </a:cubicBezTo>
                <a:cubicBezTo>
                  <a:pt x="277918" y="106887"/>
                  <a:pt x="283265" y="121713"/>
                  <a:pt x="283748" y="140991"/>
                </a:cubicBezTo>
                <a:lnTo>
                  <a:pt x="256176" y="140991"/>
                </a:lnTo>
                <a:cubicBezTo>
                  <a:pt x="256438" y="131488"/>
                  <a:pt x="253132" y="122227"/>
                  <a:pt x="246912" y="115035"/>
                </a:cubicBezTo>
                <a:cubicBezTo>
                  <a:pt x="240878" y="108509"/>
                  <a:pt x="232289" y="104953"/>
                  <a:pt x="223406" y="105302"/>
                </a:cubicBezTo>
                <a:cubicBezTo>
                  <a:pt x="213669" y="105302"/>
                  <a:pt x="206076" y="107791"/>
                  <a:pt x="200687" y="112736"/>
                </a:cubicBezTo>
                <a:cubicBezTo>
                  <a:pt x="195138" y="118047"/>
                  <a:pt x="192170" y="125509"/>
                  <a:pt x="192558" y="133179"/>
                </a:cubicBezTo>
                <a:cubicBezTo>
                  <a:pt x="192876" y="140840"/>
                  <a:pt x="196288" y="148044"/>
                  <a:pt x="202011" y="153150"/>
                </a:cubicBezTo>
                <a:cubicBezTo>
                  <a:pt x="208313" y="159450"/>
                  <a:pt x="219184" y="166641"/>
                  <a:pt x="234624" y="174727"/>
                </a:cubicBezTo>
                <a:cubicBezTo>
                  <a:pt x="259832" y="187034"/>
                  <a:pt x="277090" y="198436"/>
                  <a:pt x="286395" y="208935"/>
                </a:cubicBezTo>
                <a:cubicBezTo>
                  <a:pt x="295198" y="218435"/>
                  <a:pt x="300123" y="230887"/>
                  <a:pt x="300196" y="243836"/>
                </a:cubicBezTo>
                <a:cubicBezTo>
                  <a:pt x="300155" y="253888"/>
                  <a:pt x="297032" y="263684"/>
                  <a:pt x="291247" y="271902"/>
                </a:cubicBezTo>
                <a:cubicBezTo>
                  <a:pt x="285147" y="280804"/>
                  <a:pt x="276488" y="287645"/>
                  <a:pt x="266417" y="291526"/>
                </a:cubicBezTo>
                <a:cubicBezTo>
                  <a:pt x="278911" y="300485"/>
                  <a:pt x="286092" y="315097"/>
                  <a:pt x="285544" y="330459"/>
                </a:cubicBezTo>
                <a:cubicBezTo>
                  <a:pt x="285944" y="344940"/>
                  <a:pt x="279585" y="358780"/>
                  <a:pt x="268339" y="367912"/>
                </a:cubicBezTo>
                <a:cubicBezTo>
                  <a:pt x="256870" y="377551"/>
                  <a:pt x="242375" y="382370"/>
                  <a:pt x="224855" y="382370"/>
                </a:cubicBezTo>
                <a:cubicBezTo>
                  <a:pt x="206454" y="382370"/>
                  <a:pt x="191360" y="377119"/>
                  <a:pt x="179576" y="366621"/>
                </a:cubicBezTo>
                <a:cubicBezTo>
                  <a:pt x="167791" y="356122"/>
                  <a:pt x="161142" y="340927"/>
                  <a:pt x="159630" y="321041"/>
                </a:cubicBezTo>
                <a:lnTo>
                  <a:pt x="187201" y="321041"/>
                </a:lnTo>
                <a:cubicBezTo>
                  <a:pt x="187081" y="331096"/>
                  <a:pt x="190866" y="340807"/>
                  <a:pt x="197757" y="348130"/>
                </a:cubicBezTo>
                <a:cubicBezTo>
                  <a:pt x="204840" y="354912"/>
                  <a:pt x="214397" y="358488"/>
                  <a:pt x="224194" y="358021"/>
                </a:cubicBezTo>
                <a:cubicBezTo>
                  <a:pt x="232537" y="358267"/>
                  <a:pt x="240718" y="355693"/>
                  <a:pt x="247417" y="350713"/>
                </a:cubicBezTo>
                <a:cubicBezTo>
                  <a:pt x="253602" y="346121"/>
                  <a:pt x="257134" y="338785"/>
                  <a:pt x="256870" y="331089"/>
                </a:cubicBezTo>
                <a:cubicBezTo>
                  <a:pt x="256844" y="325624"/>
                  <a:pt x="255017" y="320323"/>
                  <a:pt x="251670" y="316001"/>
                </a:cubicBezTo>
                <a:cubicBezTo>
                  <a:pt x="247666" y="310835"/>
                  <a:pt x="242907" y="306303"/>
                  <a:pt x="237554" y="302551"/>
                </a:cubicBezTo>
                <a:cubicBezTo>
                  <a:pt x="231589" y="298226"/>
                  <a:pt x="217145" y="289825"/>
                  <a:pt x="194228" y="277351"/>
                </a:cubicBezTo>
                <a:cubicBezTo>
                  <a:pt x="177108" y="268258"/>
                  <a:pt x="164451" y="258631"/>
                  <a:pt x="156258" y="248467"/>
                </a:cubicBezTo>
                <a:cubicBezTo>
                  <a:pt x="148066" y="238396"/>
                  <a:pt x="143692" y="225756"/>
                  <a:pt x="143906" y="212778"/>
                </a:cubicBezTo>
                <a:cubicBezTo>
                  <a:pt x="144079" y="203019"/>
                  <a:pt x="147394" y="193573"/>
                  <a:pt x="153359" y="185846"/>
                </a:cubicBezTo>
                <a:cubicBezTo>
                  <a:pt x="159538" y="177253"/>
                  <a:pt x="168408" y="170966"/>
                  <a:pt x="178567" y="167986"/>
                </a:cubicBezTo>
                <a:cubicBezTo>
                  <a:pt x="174105" y="163122"/>
                  <a:pt x="170340" y="157664"/>
                  <a:pt x="167381" y="151764"/>
                </a:cubicBezTo>
                <a:cubicBezTo>
                  <a:pt x="164788" y="146075"/>
                  <a:pt x="163515" y="139873"/>
                  <a:pt x="163663" y="133620"/>
                </a:cubicBezTo>
                <a:cubicBezTo>
                  <a:pt x="163439" y="119168"/>
                  <a:pt x="169763" y="105390"/>
                  <a:pt x="180868" y="96136"/>
                </a:cubicBezTo>
                <a:cubicBezTo>
                  <a:pt x="192791" y="85839"/>
                  <a:pt x="208161" y="80418"/>
                  <a:pt x="223910" y="80953"/>
                </a:cubicBezTo>
                <a:close/>
                <a:moveTo>
                  <a:pt x="170816" y="211392"/>
                </a:moveTo>
                <a:cubicBezTo>
                  <a:pt x="170712" y="219355"/>
                  <a:pt x="173743" y="227038"/>
                  <a:pt x="179260" y="232780"/>
                </a:cubicBezTo>
                <a:cubicBezTo>
                  <a:pt x="184869" y="238850"/>
                  <a:pt x="197095" y="246860"/>
                  <a:pt x="215938" y="256814"/>
                </a:cubicBezTo>
                <a:cubicBezTo>
                  <a:pt x="227789" y="263161"/>
                  <a:pt x="239240" y="270230"/>
                  <a:pt x="250221" y="277982"/>
                </a:cubicBezTo>
                <a:cubicBezTo>
                  <a:pt x="265787" y="271263"/>
                  <a:pt x="273570" y="261202"/>
                  <a:pt x="273570" y="247805"/>
                </a:cubicBezTo>
                <a:cubicBezTo>
                  <a:pt x="273214" y="241285"/>
                  <a:pt x="270696" y="235067"/>
                  <a:pt x="266417" y="230134"/>
                </a:cubicBezTo>
                <a:cubicBezTo>
                  <a:pt x="261668" y="223960"/>
                  <a:pt x="250211" y="215559"/>
                  <a:pt x="232040" y="204935"/>
                </a:cubicBezTo>
                <a:cubicBezTo>
                  <a:pt x="219083" y="197929"/>
                  <a:pt x="206513" y="190231"/>
                  <a:pt x="194385" y="181877"/>
                </a:cubicBezTo>
                <a:cubicBezTo>
                  <a:pt x="187560" y="184117"/>
                  <a:pt x="181529" y="188284"/>
                  <a:pt x="177023" y="193878"/>
                </a:cubicBezTo>
                <a:cubicBezTo>
                  <a:pt x="172974" y="198824"/>
                  <a:pt x="170740" y="205004"/>
                  <a:pt x="170690" y="211392"/>
                </a:cubicBezTo>
                <a:close/>
              </a:path>
            </a:pathLst>
          </a:custGeom>
          <a:solidFill>
            <a:schemeClr val="tx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lv-LV" sz="1800">
              <a:solidFill>
                <a:schemeClr val="dk1"/>
              </a:solidFill>
              <a:latin typeface="Arial"/>
              <a:ea typeface="Arial"/>
              <a:cs typeface="Arial"/>
              <a:sym typeface="Arial"/>
            </a:endParaRPr>
          </a:p>
        </p:txBody>
      </p:sp>
      <p:sp>
        <p:nvSpPr>
          <p:cNvPr id="2" name="Satura vietturis 2">
            <a:extLst>
              <a:ext uri="{FF2B5EF4-FFF2-40B4-BE49-F238E27FC236}">
                <a16:creationId xmlns:a16="http://schemas.microsoft.com/office/drawing/2014/main" id="{99EBE929-5086-509F-AD07-D08D5C033061}"/>
              </a:ext>
            </a:extLst>
          </p:cNvPr>
          <p:cNvSpPr txBox="1">
            <a:spLocks/>
          </p:cNvSpPr>
          <p:nvPr/>
        </p:nvSpPr>
        <p:spPr>
          <a:xfrm>
            <a:off x="444873" y="2347595"/>
            <a:ext cx="4777402" cy="284163"/>
          </a:xfrm>
          <a:prstGeom prst="rect">
            <a:avLst/>
          </a:prstGeom>
          <a:solidFill>
            <a:srgbClr val="A8192D"/>
          </a:solidFill>
        </p:spPr>
        <p:txBody>
          <a:bodyPr vert="horz" wrap="square" lIns="144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sz="1400">
                <a:solidFill>
                  <a:schemeClr val="bg1"/>
                </a:solidFill>
              </a:rPr>
              <a:t>Citi saistošo likumu piemēri:</a:t>
            </a:r>
          </a:p>
        </p:txBody>
      </p:sp>
      <p:sp>
        <p:nvSpPr>
          <p:cNvPr id="3" name="Rectangle 2">
            <a:extLst>
              <a:ext uri="{FF2B5EF4-FFF2-40B4-BE49-F238E27FC236}">
                <a16:creationId xmlns:a16="http://schemas.microsoft.com/office/drawing/2014/main" id="{38E74F9D-F723-F56C-6D65-A1BC0F730074}"/>
              </a:ext>
            </a:extLst>
          </p:cNvPr>
          <p:cNvSpPr/>
          <p:nvPr/>
        </p:nvSpPr>
        <p:spPr>
          <a:xfrm>
            <a:off x="442911" y="2347596"/>
            <a:ext cx="72000" cy="284163"/>
          </a:xfrm>
          <a:prstGeom prst="rect">
            <a:avLst/>
          </a:prstGeom>
          <a:solidFill>
            <a:srgbClr val="CFD6E8"/>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5" name="TextBox 4">
            <a:extLst>
              <a:ext uri="{FF2B5EF4-FFF2-40B4-BE49-F238E27FC236}">
                <a16:creationId xmlns:a16="http://schemas.microsoft.com/office/drawing/2014/main" id="{F2A86895-E746-0EF0-DFA0-62FD03AC488C}"/>
              </a:ext>
            </a:extLst>
          </p:cNvPr>
          <p:cNvSpPr txBox="1"/>
          <p:nvPr/>
        </p:nvSpPr>
        <p:spPr>
          <a:xfrm>
            <a:off x="442912" y="1829572"/>
            <a:ext cx="4851363" cy="483421"/>
          </a:xfrm>
          <a:prstGeom prst="rect">
            <a:avLst/>
          </a:prstGeom>
          <a:solidFill>
            <a:schemeClr val="bg1">
              <a:lumMod val="95000"/>
            </a:schemeClr>
          </a:solidFill>
        </p:spPr>
        <p:txBody>
          <a:bodyPr wrap="square" lIns="72000" tIns="72000" rIns="144000" bIns="0" rtlCol="0">
            <a:noAutofit/>
          </a:bodyPr>
          <a:lstStyle/>
          <a:p>
            <a:pPr marL="285750" indent="-285750">
              <a:lnSpc>
                <a:spcPct val="100000"/>
              </a:lnSpc>
              <a:spcAft>
                <a:spcPts val="300"/>
              </a:spcAft>
              <a:buSzPct val="100000"/>
              <a:buBlip>
                <a:blip r:embed="rId3"/>
              </a:buBlip>
            </a:pPr>
            <a:r>
              <a:rPr lang="lv-LV" sz="1400">
                <a:cs typeface="Times New Roman"/>
              </a:rPr>
              <a:t>Civilās aizsardzības un katastrofas pārvaldīšanas likums</a:t>
            </a:r>
            <a:r>
              <a:rPr lang="en-US" sz="1400">
                <a:cs typeface="Times New Roman"/>
              </a:rPr>
              <a:t> </a:t>
            </a:r>
            <a:r>
              <a:rPr lang="lv-LV" sz="1400">
                <a:cs typeface="Times New Roman"/>
              </a:rPr>
              <a:t>(CAKPL)</a:t>
            </a:r>
          </a:p>
        </p:txBody>
      </p:sp>
      <p:sp>
        <p:nvSpPr>
          <p:cNvPr id="28" name="Rectangle 27">
            <a:extLst>
              <a:ext uri="{FF2B5EF4-FFF2-40B4-BE49-F238E27FC236}">
                <a16:creationId xmlns:a16="http://schemas.microsoft.com/office/drawing/2014/main" id="{4B436DA1-5D6D-C5CA-FF35-B921088B411A}"/>
              </a:ext>
            </a:extLst>
          </p:cNvPr>
          <p:cNvSpPr/>
          <p:nvPr/>
        </p:nvSpPr>
        <p:spPr>
          <a:xfrm>
            <a:off x="5222275" y="1819275"/>
            <a:ext cx="72000" cy="4352925"/>
          </a:xfrm>
          <a:prstGeom prst="rect">
            <a:avLst/>
          </a:prstGeom>
          <a:solidFill>
            <a:srgbClr val="A4A3B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Rectangle 5">
            <a:extLst>
              <a:ext uri="{FF2B5EF4-FFF2-40B4-BE49-F238E27FC236}">
                <a16:creationId xmlns:a16="http://schemas.microsoft.com/office/drawing/2014/main" id="{BB5AE894-C7E9-7EC5-6F97-2F99D72E73F5}"/>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rgbClr val="A4A3B2"/>
                </a:solidFill>
                <a:effectLst/>
                <a:uLnTx/>
                <a:uFillTx/>
                <a:ea typeface="Georgia"/>
                <a:cs typeface="Georgia"/>
                <a:sym typeface="Georgia"/>
              </a:rPr>
              <a:t>2. CIVILĀS AIZSARDZĪBAS SISTĒMA UN NORMATĪVAIS UN POLITIKAS PLĀNOŠANAS IETVARS</a:t>
            </a:r>
          </a:p>
        </p:txBody>
      </p:sp>
      <p:grpSp>
        <p:nvGrpSpPr>
          <p:cNvPr id="31" name="Group 30">
            <a:extLst>
              <a:ext uri="{FF2B5EF4-FFF2-40B4-BE49-F238E27FC236}">
                <a16:creationId xmlns:a16="http://schemas.microsoft.com/office/drawing/2014/main" id="{6024F4C3-61C2-AF47-F821-4853E8B8D58F}"/>
              </a:ext>
            </a:extLst>
          </p:cNvPr>
          <p:cNvGrpSpPr/>
          <p:nvPr/>
        </p:nvGrpSpPr>
        <p:grpSpPr>
          <a:xfrm>
            <a:off x="6635744" y="132067"/>
            <a:ext cx="5113344" cy="217488"/>
            <a:chOff x="6393917" y="132067"/>
            <a:chExt cx="5113344" cy="217488"/>
          </a:xfrm>
        </p:grpSpPr>
        <p:sp>
          <p:nvSpPr>
            <p:cNvPr id="32" name="Rectangle 31">
              <a:extLst>
                <a:ext uri="{FF2B5EF4-FFF2-40B4-BE49-F238E27FC236}">
                  <a16:creationId xmlns:a16="http://schemas.microsoft.com/office/drawing/2014/main" id="{9E96C773-6FEC-19AF-C0E6-E1419D627837}"/>
                </a:ext>
              </a:extLst>
            </p:cNvPr>
            <p:cNvSpPr/>
            <p:nvPr/>
          </p:nvSpPr>
          <p:spPr>
            <a:xfrm>
              <a:off x="639391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1</a:t>
              </a:r>
            </a:p>
          </p:txBody>
        </p:sp>
        <p:sp>
          <p:nvSpPr>
            <p:cNvPr id="33" name="Rectangle 32">
              <a:extLst>
                <a:ext uri="{FF2B5EF4-FFF2-40B4-BE49-F238E27FC236}">
                  <a16:creationId xmlns:a16="http://schemas.microsoft.com/office/drawing/2014/main" id="{6BDAF9B6-0B83-3E41-7B86-9FBCD64F952E}"/>
                </a:ext>
              </a:extLst>
            </p:cNvPr>
            <p:cNvSpPr/>
            <p:nvPr/>
          </p:nvSpPr>
          <p:spPr>
            <a:xfrm>
              <a:off x="6635744"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2</a:t>
              </a:r>
            </a:p>
          </p:txBody>
        </p:sp>
        <p:sp>
          <p:nvSpPr>
            <p:cNvPr id="34" name="Rectangle 33">
              <a:extLst>
                <a:ext uri="{FF2B5EF4-FFF2-40B4-BE49-F238E27FC236}">
                  <a16:creationId xmlns:a16="http://schemas.microsoft.com/office/drawing/2014/main" id="{423B42DC-A249-0399-EB10-42BF838B677D}"/>
                </a:ext>
              </a:extLst>
            </p:cNvPr>
            <p:cNvSpPr/>
            <p:nvPr/>
          </p:nvSpPr>
          <p:spPr>
            <a:xfrm>
              <a:off x="6877571" y="132067"/>
              <a:ext cx="390420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lv-LV" sz="800" b="1">
                  <a:cs typeface="Arial"/>
                </a:rPr>
                <a:t>Tiesiskais regulējums civilās aizsardzības sistēmas darbības nodrošināšanai</a:t>
              </a:r>
            </a:p>
          </p:txBody>
        </p:sp>
        <p:sp>
          <p:nvSpPr>
            <p:cNvPr id="35" name="Rectangle 34">
              <a:extLst>
                <a:ext uri="{FF2B5EF4-FFF2-40B4-BE49-F238E27FC236}">
                  <a16:creationId xmlns:a16="http://schemas.microsoft.com/office/drawing/2014/main" id="{0B779906-5303-9C85-0F9B-3CE175042FA1}"/>
                </a:ext>
              </a:extLst>
            </p:cNvPr>
            <p:cNvSpPr/>
            <p:nvPr/>
          </p:nvSpPr>
          <p:spPr>
            <a:xfrm>
              <a:off x="1080760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36" name="Rectangle 35">
              <a:extLst>
                <a:ext uri="{FF2B5EF4-FFF2-40B4-BE49-F238E27FC236}">
                  <a16:creationId xmlns:a16="http://schemas.microsoft.com/office/drawing/2014/main" id="{7A58E512-FDC8-9525-D1B5-DA23EF17D48E}"/>
                </a:ext>
              </a:extLst>
            </p:cNvPr>
            <p:cNvSpPr/>
            <p:nvPr/>
          </p:nvSpPr>
          <p:spPr>
            <a:xfrm>
              <a:off x="1104943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37" name="Rectangle 36">
              <a:extLst>
                <a:ext uri="{FF2B5EF4-FFF2-40B4-BE49-F238E27FC236}">
                  <a16:creationId xmlns:a16="http://schemas.microsoft.com/office/drawing/2014/main" id="{0D46D010-9B03-B607-38A8-30104CC06BD3}"/>
                </a:ext>
              </a:extLst>
            </p:cNvPr>
            <p:cNvSpPr/>
            <p:nvPr/>
          </p:nvSpPr>
          <p:spPr>
            <a:xfrm>
              <a:off x="11291261"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grpSp>
    </p:spTree>
    <p:extLst>
      <p:ext uri="{BB962C8B-B14F-4D97-AF65-F5344CB8AC3E}">
        <p14:creationId xmlns:p14="http://schemas.microsoft.com/office/powerpoint/2010/main" val="27851267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atura vietturis 2">
            <a:extLst>
              <a:ext uri="{FF2B5EF4-FFF2-40B4-BE49-F238E27FC236}">
                <a16:creationId xmlns:a16="http://schemas.microsoft.com/office/drawing/2014/main" id="{27F43C28-AECB-FD5D-4993-0D32C4976748}"/>
              </a:ext>
            </a:extLst>
          </p:cNvPr>
          <p:cNvSpPr txBox="1">
            <a:spLocks/>
          </p:cNvSpPr>
          <p:nvPr/>
        </p:nvSpPr>
        <p:spPr>
          <a:xfrm>
            <a:off x="444873" y="1819275"/>
            <a:ext cx="4593807" cy="284163"/>
          </a:xfrm>
          <a:prstGeom prst="rect">
            <a:avLst/>
          </a:prstGeom>
          <a:solidFill>
            <a:srgbClr val="CFD6E8"/>
          </a:solidFill>
        </p:spPr>
        <p:txBody>
          <a:bodyPr vert="horz" wrap="square" lIns="144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sz="1400">
                <a:solidFill>
                  <a:schemeClr val="tx1"/>
                </a:solidFill>
              </a:rPr>
              <a:t>Ministru kabineta (MK) noteikumu piemēri:</a:t>
            </a:r>
          </a:p>
        </p:txBody>
      </p:sp>
      <p:sp>
        <p:nvSpPr>
          <p:cNvPr id="3" name="Rectangle 2">
            <a:extLst>
              <a:ext uri="{FF2B5EF4-FFF2-40B4-BE49-F238E27FC236}">
                <a16:creationId xmlns:a16="http://schemas.microsoft.com/office/drawing/2014/main" id="{CB552A29-92DA-CE38-2B3E-BCA06BA97D53}"/>
              </a:ext>
            </a:extLst>
          </p:cNvPr>
          <p:cNvSpPr/>
          <p:nvPr/>
        </p:nvSpPr>
        <p:spPr>
          <a:xfrm>
            <a:off x="442911" y="1819276"/>
            <a:ext cx="72000" cy="284163"/>
          </a:xfrm>
          <a:prstGeom prst="rect">
            <a:avLst/>
          </a:prstGeom>
          <a:solidFill>
            <a:srgbClr val="A8192D"/>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cxnSp>
        <p:nvCxnSpPr>
          <p:cNvPr id="8" name="Straight Connector 7">
            <a:extLst>
              <a:ext uri="{FF2B5EF4-FFF2-40B4-BE49-F238E27FC236}">
                <a16:creationId xmlns:a16="http://schemas.microsoft.com/office/drawing/2014/main" id="{E94534AD-FA19-97C1-A2D3-EB1064D893A3}"/>
              </a:ext>
            </a:extLst>
          </p:cNvPr>
          <p:cNvCxnSpPr>
            <a:cxnSpLocks/>
          </p:cNvCxnSpPr>
          <p:nvPr/>
        </p:nvCxnSpPr>
        <p:spPr>
          <a:xfrm>
            <a:off x="5078481" y="4645224"/>
            <a:ext cx="1832859" cy="0"/>
          </a:xfrm>
          <a:prstGeom prst="line">
            <a:avLst/>
          </a:prstGeom>
          <a:ln w="38100" cap="sq">
            <a:solidFill>
              <a:srgbClr val="525A72"/>
            </a:solidFill>
          </a:ln>
        </p:spPr>
        <p:style>
          <a:lnRef idx="1">
            <a:schemeClr val="accent1"/>
          </a:lnRef>
          <a:fillRef idx="0">
            <a:schemeClr val="accent1"/>
          </a:fillRef>
          <a:effectRef idx="0">
            <a:schemeClr val="dk1"/>
          </a:effectRef>
          <a:fontRef idx="minor">
            <a:schemeClr val="lt1"/>
          </a:fontRef>
        </p:style>
      </p:cxnSp>
      <p:sp>
        <p:nvSpPr>
          <p:cNvPr id="57346" name="Title 1">
            <a:extLst>
              <a:ext uri="{FF2B5EF4-FFF2-40B4-BE49-F238E27FC236}">
                <a16:creationId xmlns:a16="http://schemas.microsoft.com/office/drawing/2014/main" id="{FCA19F51-1289-1EC9-1082-2616C6DFFA9F}"/>
              </a:ext>
            </a:extLst>
          </p:cNvPr>
          <p:cNvSpPr>
            <a:spLocks noGrp="1"/>
          </p:cNvSpPr>
          <p:nvPr>
            <p:ph type="title"/>
          </p:nvPr>
        </p:nvSpPr>
        <p:spPr>
          <a:xfrm>
            <a:off x="442913" y="431800"/>
            <a:ext cx="11306175" cy="1387475"/>
          </a:xfrm>
        </p:spPr>
        <p:txBody>
          <a:bodyPr vert="horz">
            <a:normAutofit/>
          </a:bodyPr>
          <a:lstStyle/>
          <a:p>
            <a:r>
              <a:rPr lang="lv-LV" altLang="lv-LV"/>
              <a:t>Civilās aizsardzības normatīvo aktu pakļautības sistēmas skaidrojums</a:t>
            </a:r>
            <a:endParaRPr lang="lv-LV"/>
          </a:p>
        </p:txBody>
      </p:sp>
      <p:sp>
        <p:nvSpPr>
          <p:cNvPr id="4" name="Slide Number Placeholder 3">
            <a:extLst>
              <a:ext uri="{FF2B5EF4-FFF2-40B4-BE49-F238E27FC236}">
                <a16:creationId xmlns:a16="http://schemas.microsoft.com/office/drawing/2014/main" id="{5A61784A-59B7-DFB2-948F-11357F6AD9AC}"/>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62C999B-8A19-4CBE-B8CE-8064C986E16F}" type="slidenum">
              <a:rPr lang="lv-LV" altLang="en-US"/>
              <a:pPr/>
              <a:t>11</a:t>
            </a:fld>
            <a:endParaRPr lang="lv-LV" altLang="en-US"/>
          </a:p>
        </p:txBody>
      </p:sp>
      <p:cxnSp>
        <p:nvCxnSpPr>
          <p:cNvPr id="23" name="Straight Connector 22">
            <a:extLst>
              <a:ext uri="{FF2B5EF4-FFF2-40B4-BE49-F238E27FC236}">
                <a16:creationId xmlns:a16="http://schemas.microsoft.com/office/drawing/2014/main" id="{E8846961-D91A-20AF-7FE8-DFABE1D41867}"/>
              </a:ext>
            </a:extLst>
          </p:cNvPr>
          <p:cNvCxnSpPr>
            <a:cxnSpLocks/>
          </p:cNvCxnSpPr>
          <p:nvPr/>
        </p:nvCxnSpPr>
        <p:spPr>
          <a:xfrm>
            <a:off x="7471144" y="2971810"/>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4" name="Straight Connector 23">
            <a:extLst>
              <a:ext uri="{FF2B5EF4-FFF2-40B4-BE49-F238E27FC236}">
                <a16:creationId xmlns:a16="http://schemas.microsoft.com/office/drawing/2014/main" id="{AC76435C-6965-2044-9A7C-81DC1657CB77}"/>
              </a:ext>
            </a:extLst>
          </p:cNvPr>
          <p:cNvCxnSpPr>
            <a:cxnSpLocks/>
          </p:cNvCxnSpPr>
          <p:nvPr/>
        </p:nvCxnSpPr>
        <p:spPr>
          <a:xfrm>
            <a:off x="7471144" y="3654428"/>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5" name="Straight Connector 24">
            <a:extLst>
              <a:ext uri="{FF2B5EF4-FFF2-40B4-BE49-F238E27FC236}">
                <a16:creationId xmlns:a16="http://schemas.microsoft.com/office/drawing/2014/main" id="{D9DA443E-4298-3849-1482-AB7D4704719D}"/>
              </a:ext>
            </a:extLst>
          </p:cNvPr>
          <p:cNvCxnSpPr>
            <a:cxnSpLocks/>
          </p:cNvCxnSpPr>
          <p:nvPr/>
        </p:nvCxnSpPr>
        <p:spPr>
          <a:xfrm>
            <a:off x="7471144" y="4337047"/>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6" name="Straight Connector 25">
            <a:extLst>
              <a:ext uri="{FF2B5EF4-FFF2-40B4-BE49-F238E27FC236}">
                <a16:creationId xmlns:a16="http://schemas.microsoft.com/office/drawing/2014/main" id="{ECC3D074-804F-5878-A908-4C986877F108}"/>
              </a:ext>
            </a:extLst>
          </p:cNvPr>
          <p:cNvCxnSpPr>
            <a:cxnSpLocks/>
          </p:cNvCxnSpPr>
          <p:nvPr/>
        </p:nvCxnSpPr>
        <p:spPr>
          <a:xfrm>
            <a:off x="7471144" y="5019665"/>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7" name="Rectangle 16">
            <a:extLst>
              <a:ext uri="{FF2B5EF4-FFF2-40B4-BE49-F238E27FC236}">
                <a16:creationId xmlns:a16="http://schemas.microsoft.com/office/drawing/2014/main" id="{B6F948A6-0922-23DB-91DD-ACCDC742353D}"/>
              </a:ext>
            </a:extLst>
          </p:cNvPr>
          <p:cNvSpPr/>
          <p:nvPr/>
        </p:nvSpPr>
        <p:spPr>
          <a:xfrm>
            <a:off x="9466719" y="2554483"/>
            <a:ext cx="2178880" cy="15203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a:lnSpc>
                <a:spcPct val="90000"/>
              </a:lnSpc>
              <a:spcBef>
                <a:spcPct val="0"/>
              </a:spcBef>
              <a:spcAft>
                <a:spcPct val="35000"/>
              </a:spcAft>
              <a:buNone/>
            </a:pPr>
            <a:r>
              <a:rPr lang="lv-LV" sz="1400" kern="1200">
                <a:solidFill>
                  <a:schemeClr val="tx2"/>
                </a:solidFill>
              </a:rPr>
              <a:t>Satversme</a:t>
            </a:r>
          </a:p>
        </p:txBody>
      </p:sp>
      <p:sp>
        <p:nvSpPr>
          <p:cNvPr id="18" name="Rectangle 17">
            <a:extLst>
              <a:ext uri="{FF2B5EF4-FFF2-40B4-BE49-F238E27FC236}">
                <a16:creationId xmlns:a16="http://schemas.microsoft.com/office/drawing/2014/main" id="{3D37D2FC-305C-2948-9261-01531F1B517B}"/>
              </a:ext>
            </a:extLst>
          </p:cNvPr>
          <p:cNvSpPr/>
          <p:nvPr/>
        </p:nvSpPr>
        <p:spPr>
          <a:xfrm>
            <a:off x="9466719" y="3237101"/>
            <a:ext cx="2178880" cy="15203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rtl="0">
              <a:lnSpc>
                <a:spcPct val="90000"/>
              </a:lnSpc>
              <a:spcBef>
                <a:spcPct val="0"/>
              </a:spcBef>
              <a:spcAft>
                <a:spcPct val="35000"/>
              </a:spcAft>
              <a:buNone/>
            </a:pPr>
            <a:r>
              <a:rPr lang="lv-LV" sz="1400" kern="1200">
                <a:solidFill>
                  <a:schemeClr val="tx2"/>
                </a:solidFill>
              </a:rPr>
              <a:t>Starptautisko tiesību normas</a:t>
            </a:r>
          </a:p>
        </p:txBody>
      </p:sp>
      <p:sp>
        <p:nvSpPr>
          <p:cNvPr id="19" name="Rectangle 18">
            <a:extLst>
              <a:ext uri="{FF2B5EF4-FFF2-40B4-BE49-F238E27FC236}">
                <a16:creationId xmlns:a16="http://schemas.microsoft.com/office/drawing/2014/main" id="{F2A1576E-AA22-F7BF-2F83-839482ADA18C}"/>
              </a:ext>
            </a:extLst>
          </p:cNvPr>
          <p:cNvSpPr/>
          <p:nvPr/>
        </p:nvSpPr>
        <p:spPr>
          <a:xfrm>
            <a:off x="9466719" y="3898787"/>
            <a:ext cx="2178880" cy="1938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a:lnSpc>
                <a:spcPct val="90000"/>
              </a:lnSpc>
              <a:spcBef>
                <a:spcPct val="0"/>
              </a:spcBef>
              <a:spcAft>
                <a:spcPct val="35000"/>
              </a:spcAft>
              <a:buNone/>
            </a:pPr>
            <a:r>
              <a:rPr lang="lv-LV" sz="1400" kern="1200">
                <a:solidFill>
                  <a:schemeClr val="tx2"/>
                </a:solidFill>
              </a:rPr>
              <a:t>Likumi</a:t>
            </a:r>
          </a:p>
        </p:txBody>
      </p:sp>
      <p:sp>
        <p:nvSpPr>
          <p:cNvPr id="20" name="Rectangle 19">
            <a:extLst>
              <a:ext uri="{FF2B5EF4-FFF2-40B4-BE49-F238E27FC236}">
                <a16:creationId xmlns:a16="http://schemas.microsoft.com/office/drawing/2014/main" id="{83FBD7EB-47E2-E2C9-A0E2-1AF68270CE5A}"/>
              </a:ext>
            </a:extLst>
          </p:cNvPr>
          <p:cNvSpPr/>
          <p:nvPr/>
        </p:nvSpPr>
        <p:spPr>
          <a:xfrm>
            <a:off x="9158774" y="4581406"/>
            <a:ext cx="2486825" cy="1938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rtl="0">
              <a:lnSpc>
                <a:spcPct val="90000"/>
              </a:lnSpc>
              <a:spcBef>
                <a:spcPct val="0"/>
              </a:spcBef>
              <a:spcAft>
                <a:spcPct val="35000"/>
              </a:spcAft>
              <a:buNone/>
            </a:pPr>
            <a:r>
              <a:rPr lang="lv-LV" sz="1400" b="1" kern="1200">
                <a:solidFill>
                  <a:schemeClr val="tx1"/>
                </a:solidFill>
              </a:rPr>
              <a:t>Ministru kabineta noteikumi</a:t>
            </a:r>
          </a:p>
        </p:txBody>
      </p:sp>
      <p:sp>
        <p:nvSpPr>
          <p:cNvPr id="21" name="Rectangle 20">
            <a:extLst>
              <a:ext uri="{FF2B5EF4-FFF2-40B4-BE49-F238E27FC236}">
                <a16:creationId xmlns:a16="http://schemas.microsoft.com/office/drawing/2014/main" id="{3437E61C-571D-87C4-E1D3-99CE2EEEE763}"/>
              </a:ext>
            </a:extLst>
          </p:cNvPr>
          <p:cNvSpPr/>
          <p:nvPr/>
        </p:nvSpPr>
        <p:spPr>
          <a:xfrm>
            <a:off x="9467126" y="5284956"/>
            <a:ext cx="2178473" cy="15203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rtl="0">
              <a:lnSpc>
                <a:spcPct val="90000"/>
              </a:lnSpc>
              <a:spcBef>
                <a:spcPct val="0"/>
              </a:spcBef>
              <a:spcAft>
                <a:spcPct val="35000"/>
              </a:spcAft>
              <a:buNone/>
            </a:pPr>
            <a:r>
              <a:rPr lang="lv-LV" sz="1400" kern="1200">
                <a:solidFill>
                  <a:schemeClr val="tx2"/>
                </a:solidFill>
              </a:rPr>
              <a:t>Pašvaldību saistošie noteikumi</a:t>
            </a:r>
          </a:p>
        </p:txBody>
      </p:sp>
      <p:sp>
        <p:nvSpPr>
          <p:cNvPr id="15" name="Freeform: Shape 14">
            <a:extLst>
              <a:ext uri="{FF2B5EF4-FFF2-40B4-BE49-F238E27FC236}">
                <a16:creationId xmlns:a16="http://schemas.microsoft.com/office/drawing/2014/main" id="{DEBA95F2-D529-A6BC-6AC4-DCFF6790B4C7}"/>
              </a:ext>
            </a:extLst>
          </p:cNvPr>
          <p:cNvSpPr/>
          <p:nvPr/>
        </p:nvSpPr>
        <p:spPr>
          <a:xfrm>
            <a:off x="5566739" y="5019665"/>
            <a:ext cx="3991151" cy="682618"/>
          </a:xfrm>
          <a:custGeom>
            <a:avLst/>
            <a:gdLst>
              <a:gd name="connsiteX0" fmla="*/ 0 w 5949107"/>
              <a:gd name="connsiteY0" fmla="*/ 977563 h 977563"/>
              <a:gd name="connsiteX1" fmla="*/ 594916 w 5949107"/>
              <a:gd name="connsiteY1" fmla="*/ 0 h 977563"/>
              <a:gd name="connsiteX2" fmla="*/ 5354191 w 5949107"/>
              <a:gd name="connsiteY2" fmla="*/ 0 h 977563"/>
              <a:gd name="connsiteX3" fmla="*/ 5949107 w 5949107"/>
              <a:gd name="connsiteY3" fmla="*/ 977563 h 977563"/>
              <a:gd name="connsiteX4" fmla="*/ 0 w 5949107"/>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9107" h="977563">
                <a:moveTo>
                  <a:pt x="0" y="977563"/>
                </a:moveTo>
                <a:lnTo>
                  <a:pt x="594916" y="0"/>
                </a:lnTo>
                <a:lnTo>
                  <a:pt x="5354191" y="0"/>
                </a:lnTo>
                <a:lnTo>
                  <a:pt x="5949107"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65223" tIns="24130" rIns="1065224" bIns="24130" numCol="1" spcCol="127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11" name="Freeform: Shape 10">
            <a:extLst>
              <a:ext uri="{FF2B5EF4-FFF2-40B4-BE49-F238E27FC236}">
                <a16:creationId xmlns:a16="http://schemas.microsoft.com/office/drawing/2014/main" id="{6B97B1CC-1E29-3BF1-7F3B-3E1A3CAFC42B}"/>
              </a:ext>
            </a:extLst>
          </p:cNvPr>
          <p:cNvSpPr/>
          <p:nvPr/>
        </p:nvSpPr>
        <p:spPr>
          <a:xfrm>
            <a:off x="7163199" y="2289192"/>
            <a:ext cx="798230" cy="682618"/>
          </a:xfrm>
          <a:custGeom>
            <a:avLst/>
            <a:gdLst>
              <a:gd name="connsiteX0" fmla="*/ 0 w 1189821"/>
              <a:gd name="connsiteY0" fmla="*/ 977563 h 977563"/>
              <a:gd name="connsiteX1" fmla="*/ 594911 w 1189821"/>
              <a:gd name="connsiteY1" fmla="*/ 0 h 977563"/>
              <a:gd name="connsiteX2" fmla="*/ 594911 w 1189821"/>
              <a:gd name="connsiteY2" fmla="*/ 0 h 977563"/>
              <a:gd name="connsiteX3" fmla="*/ 1189821 w 1189821"/>
              <a:gd name="connsiteY3" fmla="*/ 977563 h 977563"/>
              <a:gd name="connsiteX4" fmla="*/ 0 w 1189821"/>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821" h="977563">
                <a:moveTo>
                  <a:pt x="0" y="977563"/>
                </a:moveTo>
                <a:lnTo>
                  <a:pt x="594911" y="0"/>
                </a:lnTo>
                <a:lnTo>
                  <a:pt x="594911" y="0"/>
                </a:lnTo>
                <a:lnTo>
                  <a:pt x="1189821"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endParaRPr lang="lv-LV" sz="1900" kern="1200">
              <a:solidFill>
                <a:schemeClr val="tx1"/>
              </a:solidFill>
            </a:endParaRPr>
          </a:p>
        </p:txBody>
      </p:sp>
      <p:sp>
        <p:nvSpPr>
          <p:cNvPr id="12" name="Freeform: Shape 11">
            <a:extLst>
              <a:ext uri="{FF2B5EF4-FFF2-40B4-BE49-F238E27FC236}">
                <a16:creationId xmlns:a16="http://schemas.microsoft.com/office/drawing/2014/main" id="{8C9FDD50-3ECC-4B56-4C39-6AB999970B00}"/>
              </a:ext>
            </a:extLst>
          </p:cNvPr>
          <p:cNvSpPr/>
          <p:nvPr/>
        </p:nvSpPr>
        <p:spPr>
          <a:xfrm>
            <a:off x="6764084" y="2971810"/>
            <a:ext cx="1596460" cy="682618"/>
          </a:xfrm>
          <a:custGeom>
            <a:avLst/>
            <a:gdLst>
              <a:gd name="connsiteX0" fmla="*/ 0 w 2379643"/>
              <a:gd name="connsiteY0" fmla="*/ 977563 h 977563"/>
              <a:gd name="connsiteX1" fmla="*/ 594916 w 2379643"/>
              <a:gd name="connsiteY1" fmla="*/ 0 h 977563"/>
              <a:gd name="connsiteX2" fmla="*/ 1784727 w 2379643"/>
              <a:gd name="connsiteY2" fmla="*/ 0 h 977563"/>
              <a:gd name="connsiteX3" fmla="*/ 2379643 w 2379643"/>
              <a:gd name="connsiteY3" fmla="*/ 977563 h 977563"/>
              <a:gd name="connsiteX4" fmla="*/ 0 w 2379643"/>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9643" h="977563">
                <a:moveTo>
                  <a:pt x="0" y="977563"/>
                </a:moveTo>
                <a:lnTo>
                  <a:pt x="594916" y="0"/>
                </a:lnTo>
                <a:lnTo>
                  <a:pt x="1784727" y="0"/>
                </a:lnTo>
                <a:lnTo>
                  <a:pt x="2379643"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40567" tIns="24130" rIns="440568" bIns="24130" numCol="1" spcCol="127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13" name="Freeform: Shape 12">
            <a:extLst>
              <a:ext uri="{FF2B5EF4-FFF2-40B4-BE49-F238E27FC236}">
                <a16:creationId xmlns:a16="http://schemas.microsoft.com/office/drawing/2014/main" id="{D9E2DB3C-BBE6-5407-30D9-5C89B4281328}"/>
              </a:ext>
            </a:extLst>
          </p:cNvPr>
          <p:cNvSpPr/>
          <p:nvPr/>
        </p:nvSpPr>
        <p:spPr>
          <a:xfrm>
            <a:off x="6364969" y="3654428"/>
            <a:ext cx="2394691" cy="682618"/>
          </a:xfrm>
          <a:custGeom>
            <a:avLst/>
            <a:gdLst>
              <a:gd name="connsiteX0" fmla="*/ 0 w 3569464"/>
              <a:gd name="connsiteY0" fmla="*/ 977563 h 977563"/>
              <a:gd name="connsiteX1" fmla="*/ 594916 w 3569464"/>
              <a:gd name="connsiteY1" fmla="*/ 0 h 977563"/>
              <a:gd name="connsiteX2" fmla="*/ 2974548 w 3569464"/>
              <a:gd name="connsiteY2" fmla="*/ 0 h 977563"/>
              <a:gd name="connsiteX3" fmla="*/ 3569464 w 3569464"/>
              <a:gd name="connsiteY3" fmla="*/ 977563 h 977563"/>
              <a:gd name="connsiteX4" fmla="*/ 0 w 3569464"/>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9464" h="977563">
                <a:moveTo>
                  <a:pt x="0" y="977563"/>
                </a:moveTo>
                <a:lnTo>
                  <a:pt x="594916" y="0"/>
                </a:lnTo>
                <a:lnTo>
                  <a:pt x="2974548" y="0"/>
                </a:lnTo>
                <a:lnTo>
                  <a:pt x="3569464"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48786" tIns="24130" rIns="648786" bIns="24130" numCol="1" spcCol="1270" anchor="ctr" anchorCtr="0">
            <a:noAutofit/>
          </a:bodyPr>
          <a:lstStyle/>
          <a:p>
            <a:pPr marL="0" lvl="0" indent="0" algn="ctr" defTabSz="844550">
              <a:lnSpc>
                <a:spcPct val="90000"/>
              </a:lnSpc>
              <a:spcBef>
                <a:spcPct val="0"/>
              </a:spcBef>
              <a:spcAft>
                <a:spcPct val="35000"/>
              </a:spcAft>
              <a:buNone/>
            </a:pPr>
            <a:endParaRPr lang="lv-LV" sz="1900" kern="1200">
              <a:solidFill>
                <a:schemeClr val="tx1"/>
              </a:solidFill>
            </a:endParaRPr>
          </a:p>
        </p:txBody>
      </p:sp>
      <p:sp>
        <p:nvSpPr>
          <p:cNvPr id="14" name="Freeform: Shape 13">
            <a:extLst>
              <a:ext uri="{FF2B5EF4-FFF2-40B4-BE49-F238E27FC236}">
                <a16:creationId xmlns:a16="http://schemas.microsoft.com/office/drawing/2014/main" id="{139E8CFE-F242-9EAC-2FA5-46CE02F3EA12}"/>
              </a:ext>
            </a:extLst>
          </p:cNvPr>
          <p:cNvSpPr/>
          <p:nvPr/>
        </p:nvSpPr>
        <p:spPr>
          <a:xfrm>
            <a:off x="5965853" y="4337047"/>
            <a:ext cx="3192921" cy="682618"/>
          </a:xfrm>
          <a:custGeom>
            <a:avLst/>
            <a:gdLst>
              <a:gd name="connsiteX0" fmla="*/ 0 w 4759286"/>
              <a:gd name="connsiteY0" fmla="*/ 977563 h 977563"/>
              <a:gd name="connsiteX1" fmla="*/ 594916 w 4759286"/>
              <a:gd name="connsiteY1" fmla="*/ 0 h 977563"/>
              <a:gd name="connsiteX2" fmla="*/ 4164370 w 4759286"/>
              <a:gd name="connsiteY2" fmla="*/ 0 h 977563"/>
              <a:gd name="connsiteX3" fmla="*/ 4759286 w 4759286"/>
              <a:gd name="connsiteY3" fmla="*/ 977563 h 977563"/>
              <a:gd name="connsiteX4" fmla="*/ 0 w 4759286"/>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9286" h="977563">
                <a:moveTo>
                  <a:pt x="0" y="977563"/>
                </a:moveTo>
                <a:lnTo>
                  <a:pt x="594916" y="0"/>
                </a:lnTo>
                <a:lnTo>
                  <a:pt x="4164370" y="0"/>
                </a:lnTo>
                <a:lnTo>
                  <a:pt x="4759286" y="977563"/>
                </a:lnTo>
                <a:lnTo>
                  <a:pt x="0" y="977563"/>
                </a:lnTo>
                <a:close/>
              </a:path>
            </a:pathLst>
          </a:custGeom>
          <a:solidFill>
            <a:srgbClr val="525A7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7005" tIns="24130" rIns="857005" bIns="24130" numCol="1" spcCol="127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50" name="Google Shape;1488;p91">
            <a:extLst>
              <a:ext uri="{FF2B5EF4-FFF2-40B4-BE49-F238E27FC236}">
                <a16:creationId xmlns:a16="http://schemas.microsoft.com/office/drawing/2014/main" id="{D9C6F400-E18F-9139-A3C2-56BDA98A0FB1}"/>
              </a:ext>
            </a:extLst>
          </p:cNvPr>
          <p:cNvSpPr/>
          <p:nvPr/>
        </p:nvSpPr>
        <p:spPr>
          <a:xfrm>
            <a:off x="7421178" y="2630501"/>
            <a:ext cx="282273" cy="282273"/>
          </a:xfrm>
          <a:custGeom>
            <a:avLst/>
            <a:gdLst/>
            <a:ahLst/>
            <a:cxnLst/>
            <a:rect l="l" t="t" r="r" b="b"/>
            <a:pathLst>
              <a:path w="395" h="396" extrusionOk="0">
                <a:moveTo>
                  <a:pt x="0" y="0"/>
                </a:moveTo>
                <a:lnTo>
                  <a:pt x="0" y="396"/>
                </a:lnTo>
                <a:lnTo>
                  <a:pt x="395" y="396"/>
                </a:lnTo>
                <a:lnTo>
                  <a:pt x="395" y="0"/>
                </a:lnTo>
                <a:lnTo>
                  <a:pt x="0" y="0"/>
                </a:lnTo>
                <a:close/>
                <a:moveTo>
                  <a:pt x="378" y="379"/>
                </a:moveTo>
                <a:lnTo>
                  <a:pt x="17" y="379"/>
                </a:lnTo>
                <a:lnTo>
                  <a:pt x="17" y="16"/>
                </a:lnTo>
                <a:lnTo>
                  <a:pt x="378" y="16"/>
                </a:lnTo>
                <a:lnTo>
                  <a:pt x="378" y="379"/>
                </a:lnTo>
                <a:close/>
                <a:moveTo>
                  <a:pt x="343" y="346"/>
                </a:moveTo>
                <a:lnTo>
                  <a:pt x="50" y="346"/>
                </a:lnTo>
                <a:lnTo>
                  <a:pt x="50" y="329"/>
                </a:lnTo>
                <a:lnTo>
                  <a:pt x="343" y="329"/>
                </a:lnTo>
                <a:lnTo>
                  <a:pt x="343" y="346"/>
                </a:lnTo>
                <a:close/>
                <a:moveTo>
                  <a:pt x="343" y="140"/>
                </a:moveTo>
                <a:lnTo>
                  <a:pt x="207" y="140"/>
                </a:lnTo>
                <a:lnTo>
                  <a:pt x="207" y="115"/>
                </a:lnTo>
                <a:lnTo>
                  <a:pt x="237" y="115"/>
                </a:lnTo>
                <a:lnTo>
                  <a:pt x="237" y="130"/>
                </a:lnTo>
                <a:lnTo>
                  <a:pt x="289" y="130"/>
                </a:lnTo>
                <a:lnTo>
                  <a:pt x="289" y="75"/>
                </a:lnTo>
                <a:lnTo>
                  <a:pt x="255" y="75"/>
                </a:lnTo>
                <a:lnTo>
                  <a:pt x="255" y="54"/>
                </a:lnTo>
                <a:lnTo>
                  <a:pt x="190" y="54"/>
                </a:lnTo>
                <a:lnTo>
                  <a:pt x="190" y="140"/>
                </a:lnTo>
                <a:lnTo>
                  <a:pt x="50" y="140"/>
                </a:lnTo>
                <a:lnTo>
                  <a:pt x="50" y="157"/>
                </a:lnTo>
                <a:lnTo>
                  <a:pt x="343" y="157"/>
                </a:lnTo>
                <a:lnTo>
                  <a:pt x="343" y="140"/>
                </a:lnTo>
                <a:close/>
                <a:moveTo>
                  <a:pt x="273" y="92"/>
                </a:moveTo>
                <a:lnTo>
                  <a:pt x="273" y="114"/>
                </a:lnTo>
                <a:lnTo>
                  <a:pt x="255" y="114"/>
                </a:lnTo>
                <a:lnTo>
                  <a:pt x="255" y="92"/>
                </a:lnTo>
                <a:lnTo>
                  <a:pt x="273" y="92"/>
                </a:lnTo>
                <a:close/>
                <a:moveTo>
                  <a:pt x="207" y="71"/>
                </a:moveTo>
                <a:lnTo>
                  <a:pt x="237" y="71"/>
                </a:lnTo>
                <a:lnTo>
                  <a:pt x="237" y="75"/>
                </a:lnTo>
                <a:lnTo>
                  <a:pt x="237" y="98"/>
                </a:lnTo>
                <a:lnTo>
                  <a:pt x="207" y="98"/>
                </a:lnTo>
                <a:lnTo>
                  <a:pt x="207" y="71"/>
                </a:lnTo>
                <a:close/>
                <a:moveTo>
                  <a:pt x="123" y="320"/>
                </a:moveTo>
                <a:lnTo>
                  <a:pt x="123" y="167"/>
                </a:lnTo>
                <a:lnTo>
                  <a:pt x="73" y="167"/>
                </a:lnTo>
                <a:lnTo>
                  <a:pt x="73" y="320"/>
                </a:lnTo>
                <a:lnTo>
                  <a:pt x="123" y="320"/>
                </a:lnTo>
                <a:close/>
                <a:moveTo>
                  <a:pt x="90" y="185"/>
                </a:moveTo>
                <a:lnTo>
                  <a:pt x="106" y="185"/>
                </a:lnTo>
                <a:lnTo>
                  <a:pt x="106" y="302"/>
                </a:lnTo>
                <a:lnTo>
                  <a:pt x="90" y="302"/>
                </a:lnTo>
                <a:lnTo>
                  <a:pt x="90" y="185"/>
                </a:lnTo>
                <a:close/>
                <a:moveTo>
                  <a:pt x="189" y="320"/>
                </a:moveTo>
                <a:lnTo>
                  <a:pt x="189" y="167"/>
                </a:lnTo>
                <a:lnTo>
                  <a:pt x="138" y="167"/>
                </a:lnTo>
                <a:lnTo>
                  <a:pt x="138" y="320"/>
                </a:lnTo>
                <a:lnTo>
                  <a:pt x="189" y="320"/>
                </a:lnTo>
                <a:close/>
                <a:moveTo>
                  <a:pt x="155" y="185"/>
                </a:moveTo>
                <a:lnTo>
                  <a:pt x="172" y="185"/>
                </a:lnTo>
                <a:lnTo>
                  <a:pt x="172" y="302"/>
                </a:lnTo>
                <a:lnTo>
                  <a:pt x="155" y="302"/>
                </a:lnTo>
                <a:lnTo>
                  <a:pt x="155" y="185"/>
                </a:lnTo>
                <a:close/>
                <a:moveTo>
                  <a:pt x="255" y="320"/>
                </a:moveTo>
                <a:lnTo>
                  <a:pt x="255" y="167"/>
                </a:lnTo>
                <a:lnTo>
                  <a:pt x="204" y="167"/>
                </a:lnTo>
                <a:lnTo>
                  <a:pt x="204" y="320"/>
                </a:lnTo>
                <a:lnTo>
                  <a:pt x="255" y="320"/>
                </a:lnTo>
                <a:close/>
                <a:moveTo>
                  <a:pt x="220" y="185"/>
                </a:moveTo>
                <a:lnTo>
                  <a:pt x="237" y="185"/>
                </a:lnTo>
                <a:lnTo>
                  <a:pt x="237" y="302"/>
                </a:lnTo>
                <a:lnTo>
                  <a:pt x="220" y="302"/>
                </a:lnTo>
                <a:lnTo>
                  <a:pt x="220" y="185"/>
                </a:lnTo>
                <a:close/>
                <a:moveTo>
                  <a:pt x="320" y="320"/>
                </a:moveTo>
                <a:lnTo>
                  <a:pt x="320" y="167"/>
                </a:lnTo>
                <a:lnTo>
                  <a:pt x="269" y="167"/>
                </a:lnTo>
                <a:lnTo>
                  <a:pt x="269" y="320"/>
                </a:lnTo>
                <a:lnTo>
                  <a:pt x="320" y="320"/>
                </a:lnTo>
                <a:close/>
                <a:moveTo>
                  <a:pt x="287" y="185"/>
                </a:moveTo>
                <a:lnTo>
                  <a:pt x="304" y="185"/>
                </a:lnTo>
                <a:lnTo>
                  <a:pt x="304" y="302"/>
                </a:lnTo>
                <a:lnTo>
                  <a:pt x="287" y="302"/>
                </a:lnTo>
                <a:lnTo>
                  <a:pt x="287" y="185"/>
                </a:lnTo>
                <a:close/>
              </a:path>
            </a:pathLst>
          </a:custGeom>
          <a:solidFill>
            <a:schemeClr val="tx2"/>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800">
              <a:solidFill>
                <a:schemeClr val="accent1"/>
              </a:solidFill>
              <a:latin typeface="Arial"/>
              <a:ea typeface="Arial"/>
              <a:cs typeface="Arial"/>
              <a:sym typeface="Arial"/>
            </a:endParaRPr>
          </a:p>
        </p:txBody>
      </p:sp>
      <p:sp>
        <p:nvSpPr>
          <p:cNvPr id="51" name="Google Shape;1490;p91">
            <a:extLst>
              <a:ext uri="{FF2B5EF4-FFF2-40B4-BE49-F238E27FC236}">
                <a16:creationId xmlns:a16="http://schemas.microsoft.com/office/drawing/2014/main" id="{068E7E96-E629-666A-2597-2420A976A69C}"/>
              </a:ext>
            </a:extLst>
          </p:cNvPr>
          <p:cNvSpPr/>
          <p:nvPr/>
        </p:nvSpPr>
        <p:spPr>
          <a:xfrm>
            <a:off x="7421178" y="3171982"/>
            <a:ext cx="282273" cy="282273"/>
          </a:xfrm>
          <a:custGeom>
            <a:avLst/>
            <a:gdLst/>
            <a:ahLst/>
            <a:cxnLst/>
            <a:rect l="l" t="t" r="r" b="b"/>
            <a:pathLst>
              <a:path w="346" h="346" extrusionOk="0">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tx2"/>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800">
              <a:solidFill>
                <a:schemeClr val="accent1"/>
              </a:solidFill>
              <a:latin typeface="Arial"/>
              <a:ea typeface="Arial"/>
              <a:cs typeface="Arial"/>
              <a:sym typeface="Arial"/>
            </a:endParaRPr>
          </a:p>
        </p:txBody>
      </p:sp>
      <p:sp>
        <p:nvSpPr>
          <p:cNvPr id="52" name="Google Shape;1984;p97">
            <a:extLst>
              <a:ext uri="{FF2B5EF4-FFF2-40B4-BE49-F238E27FC236}">
                <a16:creationId xmlns:a16="http://schemas.microsoft.com/office/drawing/2014/main" id="{E8420F17-C1A2-D0B0-3F70-100604EAB0E7}"/>
              </a:ext>
            </a:extLst>
          </p:cNvPr>
          <p:cNvSpPr/>
          <p:nvPr/>
        </p:nvSpPr>
        <p:spPr>
          <a:xfrm>
            <a:off x="7421178" y="3854601"/>
            <a:ext cx="282273" cy="282273"/>
          </a:xfrm>
          <a:custGeom>
            <a:avLst/>
            <a:gdLst/>
            <a:ahLst/>
            <a:cxnLst/>
            <a:rect l="l" t="t" r="r" b="b"/>
            <a:pathLst>
              <a:path w="453744" h="453590" extrusionOk="0">
                <a:moveTo>
                  <a:pt x="357292" y="0"/>
                </a:moveTo>
                <a:lnTo>
                  <a:pt x="0" y="0"/>
                </a:lnTo>
                <a:lnTo>
                  <a:pt x="0" y="453590"/>
                </a:lnTo>
                <a:lnTo>
                  <a:pt x="453744" y="453590"/>
                </a:lnTo>
                <a:lnTo>
                  <a:pt x="453744" y="96419"/>
                </a:lnTo>
                <a:close/>
                <a:moveTo>
                  <a:pt x="362964" y="33074"/>
                </a:moveTo>
                <a:lnTo>
                  <a:pt x="423936" y="94025"/>
                </a:lnTo>
                <a:lnTo>
                  <a:pt x="362964" y="94025"/>
                </a:lnTo>
                <a:close/>
                <a:moveTo>
                  <a:pt x="19505" y="434250"/>
                </a:moveTo>
                <a:lnTo>
                  <a:pt x="19505" y="19372"/>
                </a:lnTo>
                <a:lnTo>
                  <a:pt x="343585" y="19372"/>
                </a:lnTo>
                <a:lnTo>
                  <a:pt x="343585" y="113398"/>
                </a:lnTo>
                <a:lnTo>
                  <a:pt x="434365" y="113398"/>
                </a:lnTo>
                <a:lnTo>
                  <a:pt x="434365" y="434250"/>
                </a:lnTo>
                <a:close/>
                <a:moveTo>
                  <a:pt x="224036" y="80953"/>
                </a:moveTo>
                <a:cubicBezTo>
                  <a:pt x="242942" y="80953"/>
                  <a:pt x="257500" y="86141"/>
                  <a:pt x="267709" y="96514"/>
                </a:cubicBezTo>
                <a:cubicBezTo>
                  <a:pt x="277918" y="106887"/>
                  <a:pt x="283265" y="121713"/>
                  <a:pt x="283748" y="140991"/>
                </a:cubicBezTo>
                <a:lnTo>
                  <a:pt x="256176" y="140991"/>
                </a:lnTo>
                <a:cubicBezTo>
                  <a:pt x="256438" y="131488"/>
                  <a:pt x="253132" y="122227"/>
                  <a:pt x="246912" y="115035"/>
                </a:cubicBezTo>
                <a:cubicBezTo>
                  <a:pt x="240878" y="108509"/>
                  <a:pt x="232289" y="104953"/>
                  <a:pt x="223406" y="105302"/>
                </a:cubicBezTo>
                <a:cubicBezTo>
                  <a:pt x="213669" y="105302"/>
                  <a:pt x="206076" y="107791"/>
                  <a:pt x="200687" y="112736"/>
                </a:cubicBezTo>
                <a:cubicBezTo>
                  <a:pt x="195138" y="118047"/>
                  <a:pt x="192170" y="125509"/>
                  <a:pt x="192558" y="133179"/>
                </a:cubicBezTo>
                <a:cubicBezTo>
                  <a:pt x="192876" y="140840"/>
                  <a:pt x="196288" y="148044"/>
                  <a:pt x="202011" y="153150"/>
                </a:cubicBezTo>
                <a:cubicBezTo>
                  <a:pt x="208313" y="159450"/>
                  <a:pt x="219184" y="166641"/>
                  <a:pt x="234624" y="174727"/>
                </a:cubicBezTo>
                <a:cubicBezTo>
                  <a:pt x="259832" y="187034"/>
                  <a:pt x="277090" y="198436"/>
                  <a:pt x="286395" y="208935"/>
                </a:cubicBezTo>
                <a:cubicBezTo>
                  <a:pt x="295198" y="218435"/>
                  <a:pt x="300123" y="230887"/>
                  <a:pt x="300196" y="243836"/>
                </a:cubicBezTo>
                <a:cubicBezTo>
                  <a:pt x="300155" y="253888"/>
                  <a:pt x="297032" y="263684"/>
                  <a:pt x="291247" y="271902"/>
                </a:cubicBezTo>
                <a:cubicBezTo>
                  <a:pt x="285147" y="280804"/>
                  <a:pt x="276488" y="287645"/>
                  <a:pt x="266417" y="291526"/>
                </a:cubicBezTo>
                <a:cubicBezTo>
                  <a:pt x="278911" y="300485"/>
                  <a:pt x="286092" y="315097"/>
                  <a:pt x="285544" y="330459"/>
                </a:cubicBezTo>
                <a:cubicBezTo>
                  <a:pt x="285944" y="344940"/>
                  <a:pt x="279585" y="358780"/>
                  <a:pt x="268339" y="367912"/>
                </a:cubicBezTo>
                <a:cubicBezTo>
                  <a:pt x="256870" y="377551"/>
                  <a:pt x="242375" y="382370"/>
                  <a:pt x="224855" y="382370"/>
                </a:cubicBezTo>
                <a:cubicBezTo>
                  <a:pt x="206454" y="382370"/>
                  <a:pt x="191360" y="377119"/>
                  <a:pt x="179576" y="366621"/>
                </a:cubicBezTo>
                <a:cubicBezTo>
                  <a:pt x="167791" y="356122"/>
                  <a:pt x="161142" y="340927"/>
                  <a:pt x="159630" y="321041"/>
                </a:cubicBezTo>
                <a:lnTo>
                  <a:pt x="187201" y="321041"/>
                </a:lnTo>
                <a:cubicBezTo>
                  <a:pt x="187081" y="331096"/>
                  <a:pt x="190866" y="340807"/>
                  <a:pt x="197757" y="348130"/>
                </a:cubicBezTo>
                <a:cubicBezTo>
                  <a:pt x="204840" y="354912"/>
                  <a:pt x="214397" y="358488"/>
                  <a:pt x="224194" y="358021"/>
                </a:cubicBezTo>
                <a:cubicBezTo>
                  <a:pt x="232537" y="358267"/>
                  <a:pt x="240718" y="355693"/>
                  <a:pt x="247417" y="350713"/>
                </a:cubicBezTo>
                <a:cubicBezTo>
                  <a:pt x="253602" y="346121"/>
                  <a:pt x="257134" y="338785"/>
                  <a:pt x="256870" y="331089"/>
                </a:cubicBezTo>
                <a:cubicBezTo>
                  <a:pt x="256844" y="325624"/>
                  <a:pt x="255017" y="320323"/>
                  <a:pt x="251670" y="316001"/>
                </a:cubicBezTo>
                <a:cubicBezTo>
                  <a:pt x="247666" y="310835"/>
                  <a:pt x="242907" y="306303"/>
                  <a:pt x="237554" y="302551"/>
                </a:cubicBezTo>
                <a:cubicBezTo>
                  <a:pt x="231589" y="298226"/>
                  <a:pt x="217145" y="289825"/>
                  <a:pt x="194228" y="277351"/>
                </a:cubicBezTo>
                <a:cubicBezTo>
                  <a:pt x="177108" y="268258"/>
                  <a:pt x="164451" y="258631"/>
                  <a:pt x="156258" y="248467"/>
                </a:cubicBezTo>
                <a:cubicBezTo>
                  <a:pt x="148066" y="238396"/>
                  <a:pt x="143692" y="225756"/>
                  <a:pt x="143906" y="212778"/>
                </a:cubicBezTo>
                <a:cubicBezTo>
                  <a:pt x="144079" y="203019"/>
                  <a:pt x="147394" y="193573"/>
                  <a:pt x="153359" y="185846"/>
                </a:cubicBezTo>
                <a:cubicBezTo>
                  <a:pt x="159538" y="177253"/>
                  <a:pt x="168408" y="170966"/>
                  <a:pt x="178567" y="167986"/>
                </a:cubicBezTo>
                <a:cubicBezTo>
                  <a:pt x="174105" y="163122"/>
                  <a:pt x="170340" y="157664"/>
                  <a:pt x="167381" y="151764"/>
                </a:cubicBezTo>
                <a:cubicBezTo>
                  <a:pt x="164788" y="146075"/>
                  <a:pt x="163515" y="139873"/>
                  <a:pt x="163663" y="133620"/>
                </a:cubicBezTo>
                <a:cubicBezTo>
                  <a:pt x="163439" y="119168"/>
                  <a:pt x="169763" y="105390"/>
                  <a:pt x="180868" y="96136"/>
                </a:cubicBezTo>
                <a:cubicBezTo>
                  <a:pt x="192791" y="85839"/>
                  <a:pt x="208161" y="80418"/>
                  <a:pt x="223910" y="80953"/>
                </a:cubicBezTo>
                <a:close/>
                <a:moveTo>
                  <a:pt x="170816" y="211392"/>
                </a:moveTo>
                <a:cubicBezTo>
                  <a:pt x="170712" y="219355"/>
                  <a:pt x="173743" y="227038"/>
                  <a:pt x="179260" y="232780"/>
                </a:cubicBezTo>
                <a:cubicBezTo>
                  <a:pt x="184869" y="238850"/>
                  <a:pt x="197095" y="246860"/>
                  <a:pt x="215938" y="256814"/>
                </a:cubicBezTo>
                <a:cubicBezTo>
                  <a:pt x="227789" y="263161"/>
                  <a:pt x="239240" y="270230"/>
                  <a:pt x="250221" y="277982"/>
                </a:cubicBezTo>
                <a:cubicBezTo>
                  <a:pt x="265787" y="271263"/>
                  <a:pt x="273570" y="261202"/>
                  <a:pt x="273570" y="247805"/>
                </a:cubicBezTo>
                <a:cubicBezTo>
                  <a:pt x="273214" y="241285"/>
                  <a:pt x="270696" y="235067"/>
                  <a:pt x="266417" y="230134"/>
                </a:cubicBezTo>
                <a:cubicBezTo>
                  <a:pt x="261668" y="223960"/>
                  <a:pt x="250211" y="215559"/>
                  <a:pt x="232040" y="204935"/>
                </a:cubicBezTo>
                <a:cubicBezTo>
                  <a:pt x="219083" y="197929"/>
                  <a:pt x="206513" y="190231"/>
                  <a:pt x="194385" y="181877"/>
                </a:cubicBezTo>
                <a:cubicBezTo>
                  <a:pt x="187560" y="184117"/>
                  <a:pt x="181529" y="188284"/>
                  <a:pt x="177023" y="193878"/>
                </a:cubicBezTo>
                <a:cubicBezTo>
                  <a:pt x="172974" y="198824"/>
                  <a:pt x="170740" y="205004"/>
                  <a:pt x="170690" y="211392"/>
                </a:cubicBezTo>
                <a:close/>
              </a:path>
            </a:pathLst>
          </a:custGeom>
          <a:solidFill>
            <a:schemeClr val="tx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lv-LV" sz="1800">
              <a:solidFill>
                <a:schemeClr val="dk1"/>
              </a:solidFill>
              <a:latin typeface="Arial"/>
              <a:ea typeface="Arial"/>
              <a:cs typeface="Arial"/>
              <a:sym typeface="Arial"/>
            </a:endParaRPr>
          </a:p>
        </p:txBody>
      </p:sp>
      <p:sp>
        <p:nvSpPr>
          <p:cNvPr id="53" name="Google Shape;1973;p97">
            <a:extLst>
              <a:ext uri="{FF2B5EF4-FFF2-40B4-BE49-F238E27FC236}">
                <a16:creationId xmlns:a16="http://schemas.microsoft.com/office/drawing/2014/main" id="{EA8EB5DA-D7B9-D8AD-98EA-8F9A80E795EF}"/>
              </a:ext>
            </a:extLst>
          </p:cNvPr>
          <p:cNvSpPr/>
          <p:nvPr/>
        </p:nvSpPr>
        <p:spPr>
          <a:xfrm>
            <a:off x="7421178" y="4537219"/>
            <a:ext cx="282273" cy="282273"/>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800">
              <a:solidFill>
                <a:schemeClr val="accent1"/>
              </a:solidFill>
              <a:latin typeface="Arial"/>
              <a:ea typeface="Arial"/>
              <a:cs typeface="Arial"/>
              <a:sym typeface="Arial"/>
            </a:endParaRPr>
          </a:p>
        </p:txBody>
      </p:sp>
      <p:sp>
        <p:nvSpPr>
          <p:cNvPr id="54" name="Google Shape;1978;p97">
            <a:extLst>
              <a:ext uri="{FF2B5EF4-FFF2-40B4-BE49-F238E27FC236}">
                <a16:creationId xmlns:a16="http://schemas.microsoft.com/office/drawing/2014/main" id="{F5A3FD28-E92B-ED1F-7D12-3226BF4AC422}"/>
              </a:ext>
            </a:extLst>
          </p:cNvPr>
          <p:cNvSpPr/>
          <p:nvPr/>
        </p:nvSpPr>
        <p:spPr>
          <a:xfrm>
            <a:off x="7421178" y="5219837"/>
            <a:ext cx="282273" cy="282273"/>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tx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sp>
        <p:nvSpPr>
          <p:cNvPr id="27" name="TextBox 26">
            <a:extLst>
              <a:ext uri="{FF2B5EF4-FFF2-40B4-BE49-F238E27FC236}">
                <a16:creationId xmlns:a16="http://schemas.microsoft.com/office/drawing/2014/main" id="{2D6405CD-2499-573E-A031-A68FA08F053E}"/>
              </a:ext>
            </a:extLst>
          </p:cNvPr>
          <p:cNvSpPr txBox="1"/>
          <p:nvPr/>
        </p:nvSpPr>
        <p:spPr>
          <a:xfrm>
            <a:off x="442911" y="2103438"/>
            <a:ext cx="4635570" cy="4068762"/>
          </a:xfrm>
          <a:prstGeom prst="rect">
            <a:avLst/>
          </a:prstGeom>
          <a:solidFill>
            <a:schemeClr val="bg1">
              <a:lumMod val="95000"/>
            </a:schemeClr>
          </a:solidFill>
        </p:spPr>
        <p:txBody>
          <a:bodyPr wrap="square" lIns="72000" tIns="36000" rIns="144000" bIns="72000" rtlCol="0">
            <a:noAutofit/>
          </a:bodyPr>
          <a:lstStyle/>
          <a:p>
            <a:pPr marL="285750" indent="-285750">
              <a:spcAft>
                <a:spcPts val="300"/>
              </a:spcAft>
              <a:buSzPct val="100000"/>
              <a:buBlip>
                <a:blip r:embed="rId3"/>
              </a:buBlip>
            </a:pPr>
            <a:r>
              <a:rPr lang="lv-LV" altLang="lv-LV" sz="1400" dirty="0">
                <a:cs typeface="Times New Roman"/>
              </a:rPr>
              <a:t>MK </a:t>
            </a:r>
            <a:r>
              <a:rPr lang="en-US" altLang="lv-LV" sz="1400" dirty="0">
                <a:cs typeface="Times New Roman"/>
              </a:rPr>
              <a:t>2021. gada 21. </a:t>
            </a:r>
            <a:r>
              <a:rPr lang="en-US" altLang="lv-LV" sz="1400" dirty="0" err="1">
                <a:cs typeface="Times New Roman"/>
              </a:rPr>
              <a:t>janvāra</a:t>
            </a:r>
            <a:r>
              <a:rPr lang="en-US" altLang="lv-LV" sz="1400" dirty="0">
                <a:cs typeface="Times New Roman"/>
              </a:rPr>
              <a:t> </a:t>
            </a:r>
            <a:r>
              <a:rPr lang="en-US" altLang="lv-LV" sz="1400" dirty="0" err="1">
                <a:cs typeface="Times New Roman"/>
              </a:rPr>
              <a:t>noteikumi</a:t>
            </a:r>
            <a:r>
              <a:rPr lang="en-US" altLang="lv-LV" sz="1400" dirty="0">
                <a:cs typeface="Times New Roman"/>
              </a:rPr>
              <a:t> Nr. 46 "</a:t>
            </a:r>
            <a:r>
              <a:rPr lang="en-US" altLang="lv-LV" sz="1400" dirty="0" err="1">
                <a:cs typeface="Times New Roman"/>
              </a:rPr>
              <a:t>Paaugstinātas</a:t>
            </a:r>
            <a:r>
              <a:rPr lang="en-US" altLang="lv-LV" sz="1400" dirty="0">
                <a:cs typeface="Times New Roman"/>
              </a:rPr>
              <a:t> </a:t>
            </a:r>
            <a:r>
              <a:rPr lang="en-US" altLang="lv-LV" sz="1400" dirty="0" err="1">
                <a:cs typeface="Times New Roman"/>
              </a:rPr>
              <a:t>bīstamības</a:t>
            </a:r>
            <a:r>
              <a:rPr lang="en-US" altLang="lv-LV" sz="1400" dirty="0">
                <a:cs typeface="Times New Roman"/>
              </a:rPr>
              <a:t> </a:t>
            </a:r>
            <a:r>
              <a:rPr lang="en-US" altLang="lv-LV" sz="1400" dirty="0" err="1">
                <a:cs typeface="Times New Roman"/>
              </a:rPr>
              <a:t>objektu</a:t>
            </a:r>
            <a:r>
              <a:rPr lang="en-US" altLang="lv-LV" sz="1400" dirty="0">
                <a:cs typeface="Times New Roman"/>
              </a:rPr>
              <a:t> </a:t>
            </a:r>
            <a:r>
              <a:rPr lang="en-US" altLang="lv-LV" sz="1400" dirty="0" err="1">
                <a:cs typeface="Times New Roman"/>
              </a:rPr>
              <a:t>saraksts</a:t>
            </a:r>
            <a:r>
              <a:rPr lang="lv-LV" altLang="lv-LV" sz="1400" dirty="0">
                <a:cs typeface="Times New Roman"/>
              </a:rPr>
              <a:t>"</a:t>
            </a:r>
          </a:p>
          <a:p>
            <a:pPr marL="285750" indent="-285750">
              <a:spcAft>
                <a:spcPts val="300"/>
              </a:spcAft>
              <a:buSzPct val="100000"/>
              <a:buBlip>
                <a:blip r:embed="rId3"/>
              </a:buBlip>
            </a:pPr>
            <a:r>
              <a:rPr lang="lv-LV" sz="1400" dirty="0">
                <a:cs typeface="Times New Roman"/>
              </a:rPr>
              <a:t>MK 2017. gada 5. decembra noteikumi Nr. 716 "Minimālās prasības obligātā civilās aizsardzības kursa saturam un nodarbināto civilās aizsardzības apmācības saturam"</a:t>
            </a:r>
          </a:p>
          <a:p>
            <a:pPr marL="285750" indent="-285750">
              <a:spcAft>
                <a:spcPts val="300"/>
              </a:spcAft>
              <a:buSzPct val="100000"/>
              <a:buBlip>
                <a:blip r:embed="rId3"/>
              </a:buBlip>
            </a:pPr>
            <a:r>
              <a:rPr lang="lv-LV" sz="1400" dirty="0">
                <a:cs typeface="Times New Roman"/>
              </a:rPr>
              <a:t>MK 2017. gada 12. decembra noteikumi Nr. 723 "Valsts civilās aizsardzības kontaktpunkta noteikumi"</a:t>
            </a:r>
          </a:p>
          <a:p>
            <a:pPr marL="285750" indent="-285750">
              <a:spcAft>
                <a:spcPts val="300"/>
              </a:spcAft>
              <a:buSzPct val="100000"/>
              <a:buBlip>
                <a:blip r:embed="rId3"/>
              </a:buBlip>
            </a:pPr>
            <a:r>
              <a:rPr lang="lv-LV" sz="1400" dirty="0">
                <a:cs typeface="Times New Roman"/>
              </a:rPr>
              <a:t>MK 2017. gada 7. novembra noteikumi Nr. 658 "Noteikumi par civilās aizsardzības plānu struktūru un tajos iekļaujamo informāciju"</a:t>
            </a:r>
          </a:p>
          <a:p>
            <a:pPr marL="285750" indent="-285750">
              <a:spcAft>
                <a:spcPts val="300"/>
              </a:spcAft>
              <a:buSzPct val="100000"/>
              <a:buBlip>
                <a:blip r:embed="rId3"/>
              </a:buBlip>
            </a:pPr>
            <a:r>
              <a:rPr lang="lv-LV" sz="1400" dirty="0">
                <a:cs typeface="Times New Roman"/>
              </a:rPr>
              <a:t>MK 2017. gada 26. septembra noteikumi Nr. 582 "Noteikumi par pašvaldību sadarbības teritorijas civilās aizsardzības komisijām" </a:t>
            </a:r>
          </a:p>
          <a:p>
            <a:pPr marL="285750" indent="-285750">
              <a:spcAft>
                <a:spcPts val="300"/>
              </a:spcAft>
              <a:buSzPct val="100000"/>
              <a:buBlip>
                <a:blip r:embed="rId3"/>
              </a:buBlip>
            </a:pPr>
            <a:r>
              <a:rPr lang="lv-LV" sz="1400" dirty="0">
                <a:cs typeface="Times New Roman"/>
              </a:rPr>
              <a:t>MK 2017. gada 8. augusta noteikumi Nr. 440</a:t>
            </a:r>
            <a:br>
              <a:rPr lang="lv-LV" sz="1400" dirty="0">
                <a:cs typeface="Times New Roman"/>
              </a:rPr>
            </a:br>
            <a:r>
              <a:rPr lang="lv-LV" sz="1400" dirty="0">
                <a:cs typeface="Times New Roman"/>
              </a:rPr>
              <a:t>"Valsts agrīnās brīdināšanas sistēmas izveidošanas, darbības un finansēšanas kārtība" </a:t>
            </a:r>
          </a:p>
          <a:p>
            <a:pPr marL="285750" indent="-285750">
              <a:spcAft>
                <a:spcPts val="300"/>
              </a:spcAft>
              <a:buSzPct val="100000"/>
              <a:buBlip>
                <a:blip r:embed="rId3"/>
              </a:buBlip>
            </a:pPr>
            <a:endParaRPr lang="lv-LV" sz="1400" dirty="0">
              <a:cs typeface="Times New Roman"/>
            </a:endParaRPr>
          </a:p>
          <a:p>
            <a:pPr marL="285750" indent="-285750">
              <a:spcAft>
                <a:spcPts val="300"/>
              </a:spcAft>
              <a:buSzPct val="100000"/>
              <a:buBlip>
                <a:blip r:embed="rId3"/>
              </a:buBlip>
            </a:pPr>
            <a:endParaRPr lang="lv-LV" sz="1400" dirty="0">
              <a:cs typeface="Times New Roman"/>
            </a:endParaRPr>
          </a:p>
          <a:p>
            <a:pPr marL="285750" indent="-285750">
              <a:spcAft>
                <a:spcPts val="300"/>
              </a:spcAft>
              <a:buSzPct val="100000"/>
              <a:buBlip>
                <a:blip r:embed="rId3"/>
              </a:buBlip>
            </a:pPr>
            <a:endParaRPr lang="lv-LV" sz="1400" dirty="0">
              <a:cs typeface="Times New Roman"/>
            </a:endParaRPr>
          </a:p>
        </p:txBody>
      </p:sp>
      <p:sp>
        <p:nvSpPr>
          <p:cNvPr id="28" name="Rectangle 27">
            <a:extLst>
              <a:ext uri="{FF2B5EF4-FFF2-40B4-BE49-F238E27FC236}">
                <a16:creationId xmlns:a16="http://schemas.microsoft.com/office/drawing/2014/main" id="{4B436DA1-5D6D-C5CA-FF35-B921088B411A}"/>
              </a:ext>
            </a:extLst>
          </p:cNvPr>
          <p:cNvSpPr/>
          <p:nvPr/>
        </p:nvSpPr>
        <p:spPr>
          <a:xfrm>
            <a:off x="5006481" y="1819275"/>
            <a:ext cx="72000" cy="435292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 name="Rectangle 4">
            <a:extLst>
              <a:ext uri="{FF2B5EF4-FFF2-40B4-BE49-F238E27FC236}">
                <a16:creationId xmlns:a16="http://schemas.microsoft.com/office/drawing/2014/main" id="{2CEB3D9C-E816-F65C-9AF8-BCBDCD9B5290}"/>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rgbClr val="A4A3B2"/>
                </a:solidFill>
                <a:effectLst/>
                <a:uLnTx/>
                <a:uFillTx/>
                <a:ea typeface="Georgia"/>
                <a:cs typeface="Georgia"/>
                <a:sym typeface="Georgia"/>
              </a:rPr>
              <a:t>2. CIVILĀS AIZSARDZĪBAS SISTĒMA UN NORMATĪVAIS UN POLITIKAS PLĀNOŠANAS IETVARS</a:t>
            </a:r>
          </a:p>
        </p:txBody>
      </p:sp>
      <p:grpSp>
        <p:nvGrpSpPr>
          <p:cNvPr id="31" name="Group 30">
            <a:extLst>
              <a:ext uri="{FF2B5EF4-FFF2-40B4-BE49-F238E27FC236}">
                <a16:creationId xmlns:a16="http://schemas.microsoft.com/office/drawing/2014/main" id="{7811B578-D81A-6045-8E23-860DCEC7B570}"/>
              </a:ext>
            </a:extLst>
          </p:cNvPr>
          <p:cNvGrpSpPr/>
          <p:nvPr/>
        </p:nvGrpSpPr>
        <p:grpSpPr>
          <a:xfrm>
            <a:off x="6635744" y="132067"/>
            <a:ext cx="5113344" cy="217488"/>
            <a:chOff x="6393917" y="132067"/>
            <a:chExt cx="5113344" cy="217488"/>
          </a:xfrm>
        </p:grpSpPr>
        <p:sp>
          <p:nvSpPr>
            <p:cNvPr id="7" name="Rectangle 6">
              <a:extLst>
                <a:ext uri="{FF2B5EF4-FFF2-40B4-BE49-F238E27FC236}">
                  <a16:creationId xmlns:a16="http://schemas.microsoft.com/office/drawing/2014/main" id="{F60C031E-0CA5-19CE-02E2-D78168C0C432}"/>
                </a:ext>
              </a:extLst>
            </p:cNvPr>
            <p:cNvSpPr/>
            <p:nvPr/>
          </p:nvSpPr>
          <p:spPr>
            <a:xfrm>
              <a:off x="639391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1</a:t>
              </a:r>
            </a:p>
          </p:txBody>
        </p:sp>
        <p:sp>
          <p:nvSpPr>
            <p:cNvPr id="9" name="Rectangle 8">
              <a:extLst>
                <a:ext uri="{FF2B5EF4-FFF2-40B4-BE49-F238E27FC236}">
                  <a16:creationId xmlns:a16="http://schemas.microsoft.com/office/drawing/2014/main" id="{73F1981D-C806-70CF-1837-6A46FF385161}"/>
                </a:ext>
              </a:extLst>
            </p:cNvPr>
            <p:cNvSpPr/>
            <p:nvPr/>
          </p:nvSpPr>
          <p:spPr>
            <a:xfrm>
              <a:off x="6635744"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2</a:t>
              </a:r>
            </a:p>
          </p:txBody>
        </p:sp>
        <p:sp>
          <p:nvSpPr>
            <p:cNvPr id="10" name="Rectangle 9">
              <a:extLst>
                <a:ext uri="{FF2B5EF4-FFF2-40B4-BE49-F238E27FC236}">
                  <a16:creationId xmlns:a16="http://schemas.microsoft.com/office/drawing/2014/main" id="{F31086A3-BA99-B2BD-D303-5F15E4A1FA7E}"/>
                </a:ext>
              </a:extLst>
            </p:cNvPr>
            <p:cNvSpPr/>
            <p:nvPr/>
          </p:nvSpPr>
          <p:spPr>
            <a:xfrm>
              <a:off x="6877571" y="132067"/>
              <a:ext cx="390420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lv-LV" sz="800" b="1">
                  <a:cs typeface="Arial"/>
                </a:rPr>
                <a:t>Tiesiskais regulējums civilās aizsardzības sistēmas darbības nodrošināšanai</a:t>
              </a:r>
            </a:p>
          </p:txBody>
        </p:sp>
        <p:sp>
          <p:nvSpPr>
            <p:cNvPr id="16" name="Rectangle 15">
              <a:extLst>
                <a:ext uri="{FF2B5EF4-FFF2-40B4-BE49-F238E27FC236}">
                  <a16:creationId xmlns:a16="http://schemas.microsoft.com/office/drawing/2014/main" id="{BCFEAAEB-70A1-2A5C-1AAF-7741BA072FBF}"/>
                </a:ext>
              </a:extLst>
            </p:cNvPr>
            <p:cNvSpPr/>
            <p:nvPr/>
          </p:nvSpPr>
          <p:spPr>
            <a:xfrm>
              <a:off x="1080760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22" name="Rectangle 21">
              <a:extLst>
                <a:ext uri="{FF2B5EF4-FFF2-40B4-BE49-F238E27FC236}">
                  <a16:creationId xmlns:a16="http://schemas.microsoft.com/office/drawing/2014/main" id="{DBF61592-5C12-633B-76FD-E1B8A80C2707}"/>
                </a:ext>
              </a:extLst>
            </p:cNvPr>
            <p:cNvSpPr/>
            <p:nvPr/>
          </p:nvSpPr>
          <p:spPr>
            <a:xfrm>
              <a:off x="1104943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29" name="Rectangle 28">
              <a:extLst>
                <a:ext uri="{FF2B5EF4-FFF2-40B4-BE49-F238E27FC236}">
                  <a16:creationId xmlns:a16="http://schemas.microsoft.com/office/drawing/2014/main" id="{A3749CF4-265C-2736-C610-7B5D7F96F034}"/>
                </a:ext>
              </a:extLst>
            </p:cNvPr>
            <p:cNvSpPr/>
            <p:nvPr/>
          </p:nvSpPr>
          <p:spPr>
            <a:xfrm>
              <a:off x="11291261"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grpSp>
    </p:spTree>
    <p:extLst>
      <p:ext uri="{BB962C8B-B14F-4D97-AF65-F5344CB8AC3E}">
        <p14:creationId xmlns:p14="http://schemas.microsoft.com/office/powerpoint/2010/main" val="42334230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26D02910-881C-50EE-F448-D03745506520}"/>
              </a:ext>
            </a:extLst>
          </p:cNvPr>
          <p:cNvPicPr>
            <a:picLocks noGrp="1" noChangeAspect="1"/>
          </p:cNvPicPr>
          <p:nvPr>
            <p:ph type="pic" sz="quarter" idx="10"/>
          </p:nvPr>
        </p:nvPicPr>
        <p:blipFill rotWithShape="1">
          <a:blip r:embed="rId3"/>
          <a:srcRect r="23505"/>
          <a:stretch/>
        </p:blipFill>
        <p:spPr>
          <a:xfrm>
            <a:off x="4327525" y="0"/>
            <a:ext cx="7864475" cy="6858000"/>
          </a:xfrm>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4" name="Title 1">
            <a:extLst>
              <a:ext uri="{FF2B5EF4-FFF2-40B4-BE49-F238E27FC236}">
                <a16:creationId xmlns:a16="http://schemas.microsoft.com/office/drawing/2014/main" id="{B1CBE399-95B1-4855-23E2-3019CA5A03DE}"/>
              </a:ext>
            </a:extLst>
          </p:cNvPr>
          <p:cNvSpPr txBox="1">
            <a:spLocks/>
          </p:cNvSpPr>
          <p:nvPr/>
        </p:nvSpPr>
        <p:spPr>
          <a:xfrm>
            <a:off x="442913" y="1893539"/>
            <a:ext cx="7418387" cy="2428875"/>
          </a:xfrm>
          <a:prstGeom prst="rect">
            <a:avLst/>
          </a:prstGeom>
        </p:spPr>
        <p:txBody>
          <a:bodyPr vert="horz" lIns="0" tIns="0" rIns="0" bIns="0" rtlCol="0" anchor="b" anchorCtr="0">
            <a:normAutofit fontScale="97500"/>
          </a:bodyPr>
          <a:lstStyle>
            <a:lvl1pPr algn="l" defTabSz="914400" rtl="0" eaLnBrk="1" latinLnBrk="0" hangingPunct="1">
              <a:lnSpc>
                <a:spcPct val="85000"/>
              </a:lnSpc>
              <a:spcBef>
                <a:spcPct val="0"/>
              </a:spcBef>
              <a:buNone/>
              <a:defRPr sz="6000" kern="1200">
                <a:solidFill>
                  <a:schemeClr val="bg1"/>
                </a:solidFill>
                <a:latin typeface="+mj-lt"/>
                <a:ea typeface="+mj-ea"/>
                <a:cs typeface="+mj-cs"/>
              </a:defRPr>
            </a:lvl1pPr>
          </a:lstStyle>
          <a:p>
            <a:pPr>
              <a:spcAft>
                <a:spcPts val="600"/>
              </a:spcAft>
            </a:pPr>
            <a:r>
              <a:rPr lang="lv-LV" sz="4800">
                <a:cs typeface="Arial"/>
              </a:rPr>
              <a:t>2.3. Civilās aizsardzības sistēmas organizācija un vadība</a:t>
            </a:r>
          </a:p>
        </p:txBody>
      </p:sp>
    </p:spTree>
    <p:extLst>
      <p:ext uri="{BB962C8B-B14F-4D97-AF65-F5344CB8AC3E}">
        <p14:creationId xmlns:p14="http://schemas.microsoft.com/office/powerpoint/2010/main" val="14985908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81BA8ACB-F717-622A-8E55-7DDEAFC69175}"/>
              </a:ext>
            </a:extLst>
          </p:cNvPr>
          <p:cNvSpPr>
            <a:spLocks noGrp="1"/>
          </p:cNvSpPr>
          <p:nvPr>
            <p:ph type="title"/>
          </p:nvPr>
        </p:nvSpPr>
        <p:spPr>
          <a:xfrm>
            <a:off x="442913" y="431800"/>
            <a:ext cx="11306175" cy="1387475"/>
          </a:xfrm>
        </p:spPr>
        <p:txBody>
          <a:bodyPr vert="horz"/>
          <a:lstStyle/>
          <a:p>
            <a:r>
              <a:rPr lang="lv-LV" altLang="lv-LV"/>
              <a:t>Civilās aizsardzības un katastrofas pārvaldīšanas likums</a:t>
            </a:r>
            <a:endParaRPr lang="cs-CZ"/>
          </a:p>
        </p:txBody>
      </p:sp>
      <p:sp>
        <p:nvSpPr>
          <p:cNvPr id="4" name="Slide Number Placeholder 3">
            <a:extLst>
              <a:ext uri="{FF2B5EF4-FFF2-40B4-BE49-F238E27FC236}">
                <a16:creationId xmlns:a16="http://schemas.microsoft.com/office/drawing/2014/main" id="{040780D8-703A-C262-0354-AF3142DA01BA}"/>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5792C573-D341-4F68-BE6D-16C190AEC2B7}" type="slidenum">
              <a:rPr lang="lv-LV" altLang="en-US"/>
              <a:pPr/>
              <a:t>13</a:t>
            </a:fld>
            <a:endParaRPr lang="lv-LV" altLang="en-US"/>
          </a:p>
        </p:txBody>
      </p:sp>
      <p:sp>
        <p:nvSpPr>
          <p:cNvPr id="27" name="TextBox 26">
            <a:extLst>
              <a:ext uri="{FF2B5EF4-FFF2-40B4-BE49-F238E27FC236}">
                <a16:creationId xmlns:a16="http://schemas.microsoft.com/office/drawing/2014/main" id="{2FDA45F6-3706-D3EA-97DA-1652D5185D03}"/>
              </a:ext>
            </a:extLst>
          </p:cNvPr>
          <p:cNvSpPr txBox="1"/>
          <p:nvPr/>
        </p:nvSpPr>
        <p:spPr>
          <a:xfrm>
            <a:off x="442913" y="1161554"/>
            <a:ext cx="6528120" cy="276999"/>
          </a:xfrm>
          <a:prstGeom prst="rect">
            <a:avLst/>
          </a:prstGeom>
          <a:noFill/>
        </p:spPr>
        <p:txBody>
          <a:bodyPr wrap="square" lIns="0" tIns="0" rIns="0" bIns="0">
            <a:spAutoFit/>
          </a:bodyPr>
          <a:lstStyle/>
          <a:p>
            <a:pPr marL="0" indent="0">
              <a:buNone/>
              <a:defRPr/>
            </a:pPr>
            <a:r>
              <a:rPr lang="lv-LV" altLang="lv-LV" sz="1800" b="1">
                <a:solidFill>
                  <a:srgbClr val="A8192D"/>
                </a:solidFill>
              </a:rPr>
              <a:t>Stājās spēkā 2016. gada 1. oktobrī</a:t>
            </a:r>
            <a:endParaRPr lang="en-US" sz="1800" b="1">
              <a:solidFill>
                <a:srgbClr val="A8192D"/>
              </a:solidFill>
            </a:endParaRPr>
          </a:p>
        </p:txBody>
      </p:sp>
      <p:sp>
        <p:nvSpPr>
          <p:cNvPr id="29" name="Satura vietturis 2">
            <a:extLst>
              <a:ext uri="{FF2B5EF4-FFF2-40B4-BE49-F238E27FC236}">
                <a16:creationId xmlns:a16="http://schemas.microsoft.com/office/drawing/2014/main" id="{5574D7B1-6FAF-4EF4-9006-9E83166E5D67}"/>
              </a:ext>
            </a:extLst>
          </p:cNvPr>
          <p:cNvSpPr txBox="1">
            <a:spLocks/>
          </p:cNvSpPr>
          <p:nvPr/>
        </p:nvSpPr>
        <p:spPr>
          <a:xfrm>
            <a:off x="442913" y="1819275"/>
            <a:ext cx="11306175" cy="576000"/>
          </a:xfrm>
          <a:prstGeom prst="rect">
            <a:avLst/>
          </a:prstGeom>
          <a:solidFill>
            <a:srgbClr val="525A72"/>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indent="0">
              <a:spcAft>
                <a:spcPts val="0"/>
              </a:spcAft>
              <a:buNone/>
              <a:defRPr/>
            </a:pPr>
            <a:r>
              <a:rPr lang="lv-LV" altLang="lv-LV" sz="1400" b="1">
                <a:solidFill>
                  <a:schemeClr val="bg1"/>
                </a:solidFill>
              </a:rPr>
              <a:t>Mērķis:</a:t>
            </a:r>
            <a:r>
              <a:rPr lang="lv-LV" altLang="lv-LV" sz="1400">
                <a:solidFill>
                  <a:schemeClr val="bg1"/>
                </a:solidFill>
              </a:rPr>
              <a:t> </a:t>
            </a:r>
            <a:r>
              <a:rPr lang="lv-LV" sz="1400" b="0">
                <a:solidFill>
                  <a:schemeClr val="bg1"/>
                </a:solidFill>
                <a:ea typeface="+mn-lt"/>
                <a:cs typeface="+mn-lt"/>
              </a:rPr>
              <a:t>noteikt civilās aizsardzības sistēmas un katastrofas pārvaldīšanas subjektu kompetenci, lai pēc iespējas pilnīgāk </a:t>
            </a:r>
            <a:endParaRPr lang="en-US" sz="1400" b="0">
              <a:solidFill>
                <a:schemeClr val="bg1"/>
              </a:solidFill>
              <a:ea typeface="+mn-lt"/>
              <a:cs typeface="+mn-lt"/>
            </a:endParaRPr>
          </a:p>
          <a:p>
            <a:pPr marL="0" indent="0">
              <a:spcAft>
                <a:spcPts val="0"/>
              </a:spcAft>
              <a:buNone/>
              <a:defRPr/>
            </a:pPr>
            <a:r>
              <a:rPr lang="lv-LV" sz="1400" b="0">
                <a:solidFill>
                  <a:schemeClr val="bg1"/>
                </a:solidFill>
                <a:ea typeface="+mn-lt"/>
                <a:cs typeface="+mn-lt"/>
              </a:rPr>
              <a:t>nodrošinātu cilvēku, vides un īpašuma drošību un aizsardzību katastrofas vai katastrofas draudu gadījumā.</a:t>
            </a:r>
          </a:p>
        </p:txBody>
      </p:sp>
      <p:sp>
        <p:nvSpPr>
          <p:cNvPr id="31" name="Rectangle 30">
            <a:extLst>
              <a:ext uri="{FF2B5EF4-FFF2-40B4-BE49-F238E27FC236}">
                <a16:creationId xmlns:a16="http://schemas.microsoft.com/office/drawing/2014/main" id="{6AA91A95-D630-E613-2708-437B8D6C1533}"/>
              </a:ext>
            </a:extLst>
          </p:cNvPr>
          <p:cNvSpPr/>
          <p:nvPr/>
        </p:nvSpPr>
        <p:spPr>
          <a:xfrm>
            <a:off x="11171499"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2" name="Rectangle 31">
            <a:extLst>
              <a:ext uri="{FF2B5EF4-FFF2-40B4-BE49-F238E27FC236}">
                <a16:creationId xmlns:a16="http://schemas.microsoft.com/office/drawing/2014/main" id="{8A800BF2-59CB-AB1E-F213-5521B8B38D92}"/>
              </a:ext>
            </a:extLst>
          </p:cNvPr>
          <p:cNvSpPr/>
          <p:nvPr/>
        </p:nvSpPr>
        <p:spPr>
          <a:xfrm>
            <a:off x="11099499"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3" name="Rectangle 32">
            <a:extLst>
              <a:ext uri="{FF2B5EF4-FFF2-40B4-BE49-F238E27FC236}">
                <a16:creationId xmlns:a16="http://schemas.microsoft.com/office/drawing/2014/main" id="{E5E0FC03-01B5-ADF6-557D-2E1E7E911E8B}"/>
              </a:ext>
            </a:extLst>
          </p:cNvPr>
          <p:cNvSpPr/>
          <p:nvPr/>
        </p:nvSpPr>
        <p:spPr>
          <a:xfrm>
            <a:off x="1120996" y="3433939"/>
            <a:ext cx="4896000" cy="5725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Civilās aizsardzības sistēma un tās uzdevumi</a:t>
            </a:r>
          </a:p>
        </p:txBody>
      </p:sp>
      <p:sp>
        <p:nvSpPr>
          <p:cNvPr id="34" name="Rectangle 33">
            <a:extLst>
              <a:ext uri="{FF2B5EF4-FFF2-40B4-BE49-F238E27FC236}">
                <a16:creationId xmlns:a16="http://schemas.microsoft.com/office/drawing/2014/main" id="{D44AE823-592A-ECA3-A50B-68DFE4DB7171}"/>
              </a:ext>
            </a:extLst>
          </p:cNvPr>
          <p:cNvSpPr/>
          <p:nvPr/>
        </p:nvSpPr>
        <p:spPr>
          <a:xfrm>
            <a:off x="1120996" y="4155835"/>
            <a:ext cx="4896000" cy="5725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Katastrofu veidi un mērogi, risku novērtēšana, katastrofu pārvaldīšana, evakuācija</a:t>
            </a:r>
          </a:p>
        </p:txBody>
      </p:sp>
      <p:sp>
        <p:nvSpPr>
          <p:cNvPr id="35" name="Rectangle 34">
            <a:extLst>
              <a:ext uri="{FF2B5EF4-FFF2-40B4-BE49-F238E27FC236}">
                <a16:creationId xmlns:a16="http://schemas.microsoft.com/office/drawing/2014/main" id="{0242BEA4-F4CA-3551-DC3D-70B900B999AD}"/>
              </a:ext>
            </a:extLst>
          </p:cNvPr>
          <p:cNvSpPr/>
          <p:nvPr/>
        </p:nvSpPr>
        <p:spPr>
          <a:xfrm>
            <a:off x="1120996" y="4877731"/>
            <a:ext cx="4896000" cy="5725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Subjektu pienākumi, uzdevumi un tiesības</a:t>
            </a:r>
          </a:p>
        </p:txBody>
      </p:sp>
      <p:sp>
        <p:nvSpPr>
          <p:cNvPr id="36" name="Rectangle 35">
            <a:extLst>
              <a:ext uri="{FF2B5EF4-FFF2-40B4-BE49-F238E27FC236}">
                <a16:creationId xmlns:a16="http://schemas.microsoft.com/office/drawing/2014/main" id="{3668AD13-713C-AE01-8868-1A88134CDB3B}"/>
              </a:ext>
            </a:extLst>
          </p:cNvPr>
          <p:cNvSpPr/>
          <p:nvPr/>
        </p:nvSpPr>
        <p:spPr>
          <a:xfrm>
            <a:off x="1120996" y="5599625"/>
            <a:ext cx="4896000" cy="5725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Objekti un paaugstinātas bīstamības objekti</a:t>
            </a:r>
          </a:p>
        </p:txBody>
      </p:sp>
      <p:sp>
        <p:nvSpPr>
          <p:cNvPr id="38" name="Rectangle 37">
            <a:extLst>
              <a:ext uri="{FF2B5EF4-FFF2-40B4-BE49-F238E27FC236}">
                <a16:creationId xmlns:a16="http://schemas.microsoft.com/office/drawing/2014/main" id="{89E2623A-9E7E-EB8A-9A8F-9C24E03BEFDB}"/>
              </a:ext>
            </a:extLst>
          </p:cNvPr>
          <p:cNvSpPr/>
          <p:nvPr/>
        </p:nvSpPr>
        <p:spPr>
          <a:xfrm>
            <a:off x="441325" y="2708618"/>
            <a:ext cx="11306173"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b="1"/>
              <a:t>Likumā ietvertās daļas:</a:t>
            </a:r>
          </a:p>
        </p:txBody>
      </p:sp>
      <p:grpSp>
        <p:nvGrpSpPr>
          <p:cNvPr id="57" name="Group 56">
            <a:extLst>
              <a:ext uri="{FF2B5EF4-FFF2-40B4-BE49-F238E27FC236}">
                <a16:creationId xmlns:a16="http://schemas.microsoft.com/office/drawing/2014/main" id="{9B49212B-65F1-B561-AE2C-F190307C1C6F}"/>
              </a:ext>
            </a:extLst>
          </p:cNvPr>
          <p:cNvGrpSpPr/>
          <p:nvPr/>
        </p:nvGrpSpPr>
        <p:grpSpPr>
          <a:xfrm>
            <a:off x="11101088" y="2708618"/>
            <a:ext cx="648000" cy="576000"/>
            <a:chOff x="7213300" y="2708618"/>
            <a:chExt cx="648000" cy="576000"/>
          </a:xfrm>
        </p:grpSpPr>
        <p:sp>
          <p:nvSpPr>
            <p:cNvPr id="39" name="Rectangle 38">
              <a:extLst>
                <a:ext uri="{FF2B5EF4-FFF2-40B4-BE49-F238E27FC236}">
                  <a16:creationId xmlns:a16="http://schemas.microsoft.com/office/drawing/2014/main" id="{B4E04617-9F8D-4A9B-E61E-0A6A8A9D3CEC}"/>
                </a:ext>
              </a:extLst>
            </p:cNvPr>
            <p:cNvSpPr/>
            <p:nvPr/>
          </p:nvSpPr>
          <p:spPr>
            <a:xfrm>
              <a:off x="7285300" y="2708618"/>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0" name="Rectangle 39">
              <a:extLst>
                <a:ext uri="{FF2B5EF4-FFF2-40B4-BE49-F238E27FC236}">
                  <a16:creationId xmlns:a16="http://schemas.microsoft.com/office/drawing/2014/main" id="{0E5FFE4D-F549-9309-1644-0F90C1B34CA9}"/>
                </a:ext>
              </a:extLst>
            </p:cNvPr>
            <p:cNvSpPr/>
            <p:nvPr/>
          </p:nvSpPr>
          <p:spPr>
            <a:xfrm>
              <a:off x="7213300" y="2708618"/>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59" name="Group 58">
            <a:extLst>
              <a:ext uri="{FF2B5EF4-FFF2-40B4-BE49-F238E27FC236}">
                <a16:creationId xmlns:a16="http://schemas.microsoft.com/office/drawing/2014/main" id="{316319DF-E371-9AD1-342B-FD12C773E718}"/>
              </a:ext>
            </a:extLst>
          </p:cNvPr>
          <p:cNvGrpSpPr/>
          <p:nvPr/>
        </p:nvGrpSpPr>
        <p:grpSpPr>
          <a:xfrm>
            <a:off x="441326" y="3433426"/>
            <a:ext cx="576000" cy="573088"/>
            <a:chOff x="441326" y="3433426"/>
            <a:chExt cx="576000" cy="573088"/>
          </a:xfrm>
        </p:grpSpPr>
        <p:sp>
          <p:nvSpPr>
            <p:cNvPr id="42" name="Rectangle 41">
              <a:extLst>
                <a:ext uri="{FF2B5EF4-FFF2-40B4-BE49-F238E27FC236}">
                  <a16:creationId xmlns:a16="http://schemas.microsoft.com/office/drawing/2014/main" id="{BE40173B-FABB-BD9C-E2C4-9AE4220AA92C}"/>
                </a:ext>
              </a:extLst>
            </p:cNvPr>
            <p:cNvSpPr/>
            <p:nvPr/>
          </p:nvSpPr>
          <p:spPr>
            <a:xfrm>
              <a:off x="441326" y="3433426"/>
              <a:ext cx="576000" cy="5730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3" name="L-Shape 42">
              <a:extLst>
                <a:ext uri="{FF2B5EF4-FFF2-40B4-BE49-F238E27FC236}">
                  <a16:creationId xmlns:a16="http://schemas.microsoft.com/office/drawing/2014/main" id="{F348695D-7C8F-2963-EC46-9838BB582FEB}"/>
                </a:ext>
              </a:extLst>
            </p:cNvPr>
            <p:cNvSpPr/>
            <p:nvPr/>
          </p:nvSpPr>
          <p:spPr>
            <a:xfrm rot="13500000">
              <a:off x="580626" y="3599425"/>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60" name="Group 59">
            <a:extLst>
              <a:ext uri="{FF2B5EF4-FFF2-40B4-BE49-F238E27FC236}">
                <a16:creationId xmlns:a16="http://schemas.microsoft.com/office/drawing/2014/main" id="{F188BF85-4887-8256-FC96-0FDEC07BC2B0}"/>
              </a:ext>
            </a:extLst>
          </p:cNvPr>
          <p:cNvGrpSpPr/>
          <p:nvPr/>
        </p:nvGrpSpPr>
        <p:grpSpPr>
          <a:xfrm>
            <a:off x="441326" y="4155321"/>
            <a:ext cx="576000" cy="573088"/>
            <a:chOff x="441326" y="3433426"/>
            <a:chExt cx="576000" cy="573088"/>
          </a:xfrm>
        </p:grpSpPr>
        <p:sp>
          <p:nvSpPr>
            <p:cNvPr id="61" name="Rectangle 60">
              <a:extLst>
                <a:ext uri="{FF2B5EF4-FFF2-40B4-BE49-F238E27FC236}">
                  <a16:creationId xmlns:a16="http://schemas.microsoft.com/office/drawing/2014/main" id="{D6962A43-B3FB-7BDA-8C88-3A66BA3CF370}"/>
                </a:ext>
              </a:extLst>
            </p:cNvPr>
            <p:cNvSpPr/>
            <p:nvPr/>
          </p:nvSpPr>
          <p:spPr>
            <a:xfrm>
              <a:off x="441326" y="3433426"/>
              <a:ext cx="576000" cy="5730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2" name="L-Shape 61">
              <a:extLst>
                <a:ext uri="{FF2B5EF4-FFF2-40B4-BE49-F238E27FC236}">
                  <a16:creationId xmlns:a16="http://schemas.microsoft.com/office/drawing/2014/main" id="{2DD07F1E-A112-6C90-A0BA-EF680E70F4A1}"/>
                </a:ext>
              </a:extLst>
            </p:cNvPr>
            <p:cNvSpPr/>
            <p:nvPr/>
          </p:nvSpPr>
          <p:spPr>
            <a:xfrm rot="13500000">
              <a:off x="580626" y="3599425"/>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63" name="Group 62">
            <a:extLst>
              <a:ext uri="{FF2B5EF4-FFF2-40B4-BE49-F238E27FC236}">
                <a16:creationId xmlns:a16="http://schemas.microsoft.com/office/drawing/2014/main" id="{1E7B9018-3863-305A-6760-E766FC090216}"/>
              </a:ext>
            </a:extLst>
          </p:cNvPr>
          <p:cNvGrpSpPr/>
          <p:nvPr/>
        </p:nvGrpSpPr>
        <p:grpSpPr>
          <a:xfrm>
            <a:off x="441326" y="4877216"/>
            <a:ext cx="576000" cy="573088"/>
            <a:chOff x="441326" y="3433426"/>
            <a:chExt cx="576000" cy="573088"/>
          </a:xfrm>
        </p:grpSpPr>
        <p:sp>
          <p:nvSpPr>
            <p:cNvPr id="43008" name="Rectangle 43007">
              <a:extLst>
                <a:ext uri="{FF2B5EF4-FFF2-40B4-BE49-F238E27FC236}">
                  <a16:creationId xmlns:a16="http://schemas.microsoft.com/office/drawing/2014/main" id="{35F920C4-C49D-9ECF-332F-A4EB6DE99149}"/>
                </a:ext>
              </a:extLst>
            </p:cNvPr>
            <p:cNvSpPr/>
            <p:nvPr/>
          </p:nvSpPr>
          <p:spPr>
            <a:xfrm>
              <a:off x="441326" y="3433426"/>
              <a:ext cx="576000" cy="5730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3009" name="L-Shape 43008">
              <a:extLst>
                <a:ext uri="{FF2B5EF4-FFF2-40B4-BE49-F238E27FC236}">
                  <a16:creationId xmlns:a16="http://schemas.microsoft.com/office/drawing/2014/main" id="{0B0B515C-1208-46F5-711D-98C694F0E8E6}"/>
                </a:ext>
              </a:extLst>
            </p:cNvPr>
            <p:cNvSpPr/>
            <p:nvPr/>
          </p:nvSpPr>
          <p:spPr>
            <a:xfrm rot="13500000">
              <a:off x="580626" y="3599425"/>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43010" name="Group 43009">
            <a:extLst>
              <a:ext uri="{FF2B5EF4-FFF2-40B4-BE49-F238E27FC236}">
                <a16:creationId xmlns:a16="http://schemas.microsoft.com/office/drawing/2014/main" id="{E3A36F27-CF71-8D4C-E622-035267C2AEB8}"/>
              </a:ext>
            </a:extLst>
          </p:cNvPr>
          <p:cNvGrpSpPr/>
          <p:nvPr/>
        </p:nvGrpSpPr>
        <p:grpSpPr>
          <a:xfrm>
            <a:off x="441326" y="5599112"/>
            <a:ext cx="576000" cy="573088"/>
            <a:chOff x="441326" y="3433426"/>
            <a:chExt cx="576000" cy="573088"/>
          </a:xfrm>
        </p:grpSpPr>
        <p:sp>
          <p:nvSpPr>
            <p:cNvPr id="43012" name="Rectangle 43011">
              <a:extLst>
                <a:ext uri="{FF2B5EF4-FFF2-40B4-BE49-F238E27FC236}">
                  <a16:creationId xmlns:a16="http://schemas.microsoft.com/office/drawing/2014/main" id="{6C240ED1-FF97-0EBF-6FDB-D66DDBCF553E}"/>
                </a:ext>
              </a:extLst>
            </p:cNvPr>
            <p:cNvSpPr/>
            <p:nvPr/>
          </p:nvSpPr>
          <p:spPr>
            <a:xfrm>
              <a:off x="441326" y="3433426"/>
              <a:ext cx="576000" cy="5730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3013" name="L-Shape 43012">
              <a:extLst>
                <a:ext uri="{FF2B5EF4-FFF2-40B4-BE49-F238E27FC236}">
                  <a16:creationId xmlns:a16="http://schemas.microsoft.com/office/drawing/2014/main" id="{98FB0E04-48A7-DF04-7B99-9EBAF48FB2C0}"/>
                </a:ext>
              </a:extLst>
            </p:cNvPr>
            <p:cNvSpPr/>
            <p:nvPr/>
          </p:nvSpPr>
          <p:spPr>
            <a:xfrm rot="13500000">
              <a:off x="580626" y="3599425"/>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43014" name="Rectangle 43013">
            <a:extLst>
              <a:ext uri="{FF2B5EF4-FFF2-40B4-BE49-F238E27FC236}">
                <a16:creationId xmlns:a16="http://schemas.microsoft.com/office/drawing/2014/main" id="{696B08F4-1589-D083-5F6F-A8FA92075C92}"/>
              </a:ext>
            </a:extLst>
          </p:cNvPr>
          <p:cNvSpPr/>
          <p:nvPr/>
        </p:nvSpPr>
        <p:spPr>
          <a:xfrm>
            <a:off x="6851498" y="3433939"/>
            <a:ext cx="4896000" cy="5725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Civilās aizsardzības plānošana</a:t>
            </a:r>
          </a:p>
        </p:txBody>
      </p:sp>
      <p:sp>
        <p:nvSpPr>
          <p:cNvPr id="43015" name="Rectangle 43014">
            <a:extLst>
              <a:ext uri="{FF2B5EF4-FFF2-40B4-BE49-F238E27FC236}">
                <a16:creationId xmlns:a16="http://schemas.microsoft.com/office/drawing/2014/main" id="{709CBB9D-B64E-9EDD-A1B2-2B32373AC0F6}"/>
              </a:ext>
            </a:extLst>
          </p:cNvPr>
          <p:cNvSpPr/>
          <p:nvPr/>
        </p:nvSpPr>
        <p:spPr>
          <a:xfrm>
            <a:off x="6851498" y="4155835"/>
            <a:ext cx="4896000" cy="5725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Civilās aizsardzības sistēmas darbības un atbilstības pārbaudes</a:t>
            </a:r>
          </a:p>
        </p:txBody>
      </p:sp>
      <p:sp>
        <p:nvSpPr>
          <p:cNvPr id="43016" name="Rectangle 43015">
            <a:extLst>
              <a:ext uri="{FF2B5EF4-FFF2-40B4-BE49-F238E27FC236}">
                <a16:creationId xmlns:a16="http://schemas.microsoft.com/office/drawing/2014/main" id="{F13453CE-C15D-4CD6-29C6-01CAFCA1F40F}"/>
              </a:ext>
            </a:extLst>
          </p:cNvPr>
          <p:cNvSpPr/>
          <p:nvPr/>
        </p:nvSpPr>
        <p:spPr>
          <a:xfrm>
            <a:off x="6851498" y="4877731"/>
            <a:ext cx="4896000" cy="5725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Zinātniskā pētniecība, izglītība un apmācības civilās aizsardzības un katastrofu pārvaldīšanas jomā</a:t>
            </a:r>
          </a:p>
        </p:txBody>
      </p:sp>
      <p:sp>
        <p:nvSpPr>
          <p:cNvPr id="43017" name="Rectangle 43016">
            <a:extLst>
              <a:ext uri="{FF2B5EF4-FFF2-40B4-BE49-F238E27FC236}">
                <a16:creationId xmlns:a16="http://schemas.microsoft.com/office/drawing/2014/main" id="{E0BDA50B-AF7B-6CC0-96A4-E7E42A907BD3}"/>
              </a:ext>
            </a:extLst>
          </p:cNvPr>
          <p:cNvSpPr/>
          <p:nvPr/>
        </p:nvSpPr>
        <p:spPr>
          <a:xfrm>
            <a:off x="6851498" y="5599625"/>
            <a:ext cx="4896000" cy="5725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Starptautiskā palīdzība katastrofas vai katastrofas draudu gadījumā, civilās aizsardzības sistēmas finansēšana</a:t>
            </a:r>
          </a:p>
        </p:txBody>
      </p:sp>
      <p:grpSp>
        <p:nvGrpSpPr>
          <p:cNvPr id="43018" name="Group 43017">
            <a:extLst>
              <a:ext uri="{FF2B5EF4-FFF2-40B4-BE49-F238E27FC236}">
                <a16:creationId xmlns:a16="http://schemas.microsoft.com/office/drawing/2014/main" id="{4FC4FFE9-A093-7B3D-2E42-ED01F019FFBF}"/>
              </a:ext>
            </a:extLst>
          </p:cNvPr>
          <p:cNvGrpSpPr/>
          <p:nvPr/>
        </p:nvGrpSpPr>
        <p:grpSpPr>
          <a:xfrm>
            <a:off x="6171828" y="3433426"/>
            <a:ext cx="576000" cy="573088"/>
            <a:chOff x="441326" y="3433426"/>
            <a:chExt cx="576000" cy="573088"/>
          </a:xfrm>
        </p:grpSpPr>
        <p:sp>
          <p:nvSpPr>
            <p:cNvPr id="43019" name="Rectangle 43018">
              <a:extLst>
                <a:ext uri="{FF2B5EF4-FFF2-40B4-BE49-F238E27FC236}">
                  <a16:creationId xmlns:a16="http://schemas.microsoft.com/office/drawing/2014/main" id="{96881D6D-523A-61BF-6BB1-4B3D45A18504}"/>
                </a:ext>
              </a:extLst>
            </p:cNvPr>
            <p:cNvSpPr/>
            <p:nvPr/>
          </p:nvSpPr>
          <p:spPr>
            <a:xfrm>
              <a:off x="441326" y="3433426"/>
              <a:ext cx="576000" cy="5730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3020" name="L-Shape 43019">
              <a:extLst>
                <a:ext uri="{FF2B5EF4-FFF2-40B4-BE49-F238E27FC236}">
                  <a16:creationId xmlns:a16="http://schemas.microsoft.com/office/drawing/2014/main" id="{5EA0533F-21A8-F538-4DB8-52F99A3FAE4A}"/>
                </a:ext>
              </a:extLst>
            </p:cNvPr>
            <p:cNvSpPr/>
            <p:nvPr/>
          </p:nvSpPr>
          <p:spPr>
            <a:xfrm rot="13500000">
              <a:off x="580626" y="3599425"/>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43021" name="Group 43020">
            <a:extLst>
              <a:ext uri="{FF2B5EF4-FFF2-40B4-BE49-F238E27FC236}">
                <a16:creationId xmlns:a16="http://schemas.microsoft.com/office/drawing/2014/main" id="{8898655E-7707-11D6-5787-81CA2144636C}"/>
              </a:ext>
            </a:extLst>
          </p:cNvPr>
          <p:cNvGrpSpPr/>
          <p:nvPr/>
        </p:nvGrpSpPr>
        <p:grpSpPr>
          <a:xfrm>
            <a:off x="6171828" y="4155321"/>
            <a:ext cx="576000" cy="573088"/>
            <a:chOff x="441326" y="3433426"/>
            <a:chExt cx="576000" cy="573088"/>
          </a:xfrm>
        </p:grpSpPr>
        <p:sp>
          <p:nvSpPr>
            <p:cNvPr id="43022" name="Rectangle 43021">
              <a:extLst>
                <a:ext uri="{FF2B5EF4-FFF2-40B4-BE49-F238E27FC236}">
                  <a16:creationId xmlns:a16="http://schemas.microsoft.com/office/drawing/2014/main" id="{667F6F2F-7326-3D46-A02B-34167AABC56B}"/>
                </a:ext>
              </a:extLst>
            </p:cNvPr>
            <p:cNvSpPr/>
            <p:nvPr/>
          </p:nvSpPr>
          <p:spPr>
            <a:xfrm>
              <a:off x="441326" y="3433426"/>
              <a:ext cx="576000" cy="5730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3023" name="L-Shape 43022">
              <a:extLst>
                <a:ext uri="{FF2B5EF4-FFF2-40B4-BE49-F238E27FC236}">
                  <a16:creationId xmlns:a16="http://schemas.microsoft.com/office/drawing/2014/main" id="{7ED1837C-2A82-717F-DE33-4E48C83C2DFA}"/>
                </a:ext>
              </a:extLst>
            </p:cNvPr>
            <p:cNvSpPr/>
            <p:nvPr/>
          </p:nvSpPr>
          <p:spPr>
            <a:xfrm rot="13500000">
              <a:off x="580626" y="3599425"/>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43024" name="Group 43023">
            <a:extLst>
              <a:ext uri="{FF2B5EF4-FFF2-40B4-BE49-F238E27FC236}">
                <a16:creationId xmlns:a16="http://schemas.microsoft.com/office/drawing/2014/main" id="{307A716E-CBD6-4C2A-C1EB-A77275B69E4C}"/>
              </a:ext>
            </a:extLst>
          </p:cNvPr>
          <p:cNvGrpSpPr/>
          <p:nvPr/>
        </p:nvGrpSpPr>
        <p:grpSpPr>
          <a:xfrm>
            <a:off x="6171828" y="4877216"/>
            <a:ext cx="576000" cy="573088"/>
            <a:chOff x="441326" y="3433426"/>
            <a:chExt cx="576000" cy="573088"/>
          </a:xfrm>
        </p:grpSpPr>
        <p:sp>
          <p:nvSpPr>
            <p:cNvPr id="43025" name="Rectangle 43024">
              <a:extLst>
                <a:ext uri="{FF2B5EF4-FFF2-40B4-BE49-F238E27FC236}">
                  <a16:creationId xmlns:a16="http://schemas.microsoft.com/office/drawing/2014/main" id="{096230F9-8A8C-9FC1-8415-0E42794E69A0}"/>
                </a:ext>
              </a:extLst>
            </p:cNvPr>
            <p:cNvSpPr/>
            <p:nvPr/>
          </p:nvSpPr>
          <p:spPr>
            <a:xfrm>
              <a:off x="441326" y="3433426"/>
              <a:ext cx="576000" cy="5730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3026" name="L-Shape 43025">
              <a:extLst>
                <a:ext uri="{FF2B5EF4-FFF2-40B4-BE49-F238E27FC236}">
                  <a16:creationId xmlns:a16="http://schemas.microsoft.com/office/drawing/2014/main" id="{3B57E60C-95EC-2101-89A3-C771248AE77D}"/>
                </a:ext>
              </a:extLst>
            </p:cNvPr>
            <p:cNvSpPr/>
            <p:nvPr/>
          </p:nvSpPr>
          <p:spPr>
            <a:xfrm rot="13500000">
              <a:off x="580626" y="3599425"/>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43027" name="Group 43026">
            <a:extLst>
              <a:ext uri="{FF2B5EF4-FFF2-40B4-BE49-F238E27FC236}">
                <a16:creationId xmlns:a16="http://schemas.microsoft.com/office/drawing/2014/main" id="{F7DE0848-7AEB-3B29-FEC4-ACE644DE5C3C}"/>
              </a:ext>
            </a:extLst>
          </p:cNvPr>
          <p:cNvGrpSpPr/>
          <p:nvPr/>
        </p:nvGrpSpPr>
        <p:grpSpPr>
          <a:xfrm>
            <a:off x="6171828" y="5599112"/>
            <a:ext cx="576000" cy="573088"/>
            <a:chOff x="441326" y="3433426"/>
            <a:chExt cx="576000" cy="573088"/>
          </a:xfrm>
        </p:grpSpPr>
        <p:sp>
          <p:nvSpPr>
            <p:cNvPr id="43028" name="Rectangle 43027">
              <a:extLst>
                <a:ext uri="{FF2B5EF4-FFF2-40B4-BE49-F238E27FC236}">
                  <a16:creationId xmlns:a16="http://schemas.microsoft.com/office/drawing/2014/main" id="{14F1736C-DDB0-D0A9-5E9A-3C005DF00C3F}"/>
                </a:ext>
              </a:extLst>
            </p:cNvPr>
            <p:cNvSpPr/>
            <p:nvPr/>
          </p:nvSpPr>
          <p:spPr>
            <a:xfrm>
              <a:off x="441326" y="3433426"/>
              <a:ext cx="576000" cy="5730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3029" name="L-Shape 43028">
              <a:extLst>
                <a:ext uri="{FF2B5EF4-FFF2-40B4-BE49-F238E27FC236}">
                  <a16:creationId xmlns:a16="http://schemas.microsoft.com/office/drawing/2014/main" id="{08E691E3-4B5D-94EC-C3C2-8EEBE6D2F0D2}"/>
                </a:ext>
              </a:extLst>
            </p:cNvPr>
            <p:cNvSpPr/>
            <p:nvPr/>
          </p:nvSpPr>
          <p:spPr>
            <a:xfrm rot="13500000">
              <a:off x="580626" y="3599425"/>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43031" name="Google Shape;1426;p90">
            <a:extLst>
              <a:ext uri="{FF2B5EF4-FFF2-40B4-BE49-F238E27FC236}">
                <a16:creationId xmlns:a16="http://schemas.microsoft.com/office/drawing/2014/main" id="{EF28AC14-6ED9-4BAC-1E00-60FFE7B635A3}"/>
              </a:ext>
            </a:extLst>
          </p:cNvPr>
          <p:cNvSpPr/>
          <p:nvPr/>
        </p:nvSpPr>
        <p:spPr>
          <a:xfrm>
            <a:off x="11279499" y="1927275"/>
            <a:ext cx="360000" cy="360000"/>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43032" name="Google Shape;1973;p97">
            <a:extLst>
              <a:ext uri="{FF2B5EF4-FFF2-40B4-BE49-F238E27FC236}">
                <a16:creationId xmlns:a16="http://schemas.microsoft.com/office/drawing/2014/main" id="{40610176-A8C2-5DFC-A517-D8D1E9302D59}"/>
              </a:ext>
            </a:extLst>
          </p:cNvPr>
          <p:cNvSpPr/>
          <p:nvPr/>
        </p:nvSpPr>
        <p:spPr>
          <a:xfrm>
            <a:off x="11279499" y="2816618"/>
            <a:ext cx="360000" cy="360000"/>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800">
              <a:solidFill>
                <a:schemeClr val="accent1"/>
              </a:solidFill>
              <a:latin typeface="Arial"/>
              <a:ea typeface="Arial"/>
              <a:cs typeface="Arial"/>
              <a:sym typeface="Arial"/>
            </a:endParaRPr>
          </a:p>
        </p:txBody>
      </p:sp>
      <p:sp>
        <p:nvSpPr>
          <p:cNvPr id="3" name="Rectangle 2">
            <a:extLst>
              <a:ext uri="{FF2B5EF4-FFF2-40B4-BE49-F238E27FC236}">
                <a16:creationId xmlns:a16="http://schemas.microsoft.com/office/drawing/2014/main" id="{4054DBA8-7533-4104-F0C8-00FAEB2195D2}"/>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rgbClr val="A4A3B2"/>
                </a:solidFill>
                <a:effectLst/>
                <a:uLnTx/>
                <a:uFillTx/>
                <a:ea typeface="Georgia"/>
                <a:cs typeface="Georgia"/>
                <a:sym typeface="Georgia"/>
              </a:rPr>
              <a:t>2. CIVILĀS AIZSARDZĪBAS SISTĒMA UN NORMATĪVAIS UN POLITIKAS PLĀNOŠANAS IETVARS</a:t>
            </a:r>
          </a:p>
        </p:txBody>
      </p:sp>
      <p:grpSp>
        <p:nvGrpSpPr>
          <p:cNvPr id="2" name="Group 1">
            <a:extLst>
              <a:ext uri="{FF2B5EF4-FFF2-40B4-BE49-F238E27FC236}">
                <a16:creationId xmlns:a16="http://schemas.microsoft.com/office/drawing/2014/main" id="{39FFEA93-42F4-AAB6-CEEE-C09A72CD053F}"/>
              </a:ext>
            </a:extLst>
          </p:cNvPr>
          <p:cNvGrpSpPr/>
          <p:nvPr/>
        </p:nvGrpSpPr>
        <p:grpSpPr>
          <a:xfrm>
            <a:off x="6597001" y="124926"/>
            <a:ext cx="5150498" cy="230498"/>
            <a:chOff x="6351171" y="122774"/>
            <a:chExt cx="5150498" cy="230498"/>
          </a:xfrm>
        </p:grpSpPr>
        <p:sp>
          <p:nvSpPr>
            <p:cNvPr id="11" name="Rectangle 10">
              <a:extLst>
                <a:ext uri="{FF2B5EF4-FFF2-40B4-BE49-F238E27FC236}">
                  <a16:creationId xmlns:a16="http://schemas.microsoft.com/office/drawing/2014/main" id="{5BE92CAA-EDE6-F4AF-FB23-F31CDB130AC1}"/>
                </a:ext>
              </a:extLst>
            </p:cNvPr>
            <p:cNvSpPr/>
            <p:nvPr/>
          </p:nvSpPr>
          <p:spPr>
            <a:xfrm>
              <a:off x="6607666"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a:lnSpc>
                  <a:spcPct val="100000"/>
                </a:lnSpc>
                <a:spcBef>
                  <a:spcPts val="0"/>
                </a:spcBef>
                <a:spcAft>
                  <a:spcPts val="0"/>
                </a:spcAft>
                <a:buNone/>
                <a:tabLst/>
                <a:defRPr/>
              </a:pPr>
              <a:r>
                <a:rPr lang="lv-LV" sz="800" b="1" kern="0">
                  <a:solidFill>
                    <a:srgbClr val="A4A3B2"/>
                  </a:solidFill>
                  <a:sym typeface="Georgia"/>
                </a:rPr>
                <a:t>2.2</a:t>
              </a:r>
            </a:p>
          </p:txBody>
        </p:sp>
        <p:sp>
          <p:nvSpPr>
            <p:cNvPr id="12" name="Rectangle 11">
              <a:extLst>
                <a:ext uri="{FF2B5EF4-FFF2-40B4-BE49-F238E27FC236}">
                  <a16:creationId xmlns:a16="http://schemas.microsoft.com/office/drawing/2014/main" id="{6E18F87A-C27C-1BAB-22B5-795B1BF67D21}"/>
                </a:ext>
              </a:extLst>
            </p:cNvPr>
            <p:cNvSpPr/>
            <p:nvPr/>
          </p:nvSpPr>
          <p:spPr>
            <a:xfrm>
              <a:off x="6854868" y="12277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a:lnSpc>
                  <a:spcPct val="100000"/>
                </a:lnSpc>
                <a:spcBef>
                  <a:spcPts val="0"/>
                </a:spcBef>
                <a:spcAft>
                  <a:spcPts val="0"/>
                </a:spcAft>
                <a:buNone/>
                <a:tabLst/>
                <a:defRPr/>
              </a:pPr>
              <a:r>
                <a:rPr lang="lv-LV" sz="800" b="1" kern="0">
                  <a:sym typeface="Georgia"/>
                </a:rPr>
                <a:t>2.3</a:t>
              </a:r>
              <a:endParaRPr lang="en-US"/>
            </a:p>
          </p:txBody>
        </p:sp>
        <p:sp>
          <p:nvSpPr>
            <p:cNvPr id="13" name="Rectangle 12">
              <a:extLst>
                <a:ext uri="{FF2B5EF4-FFF2-40B4-BE49-F238E27FC236}">
                  <a16:creationId xmlns:a16="http://schemas.microsoft.com/office/drawing/2014/main" id="{5FDC8150-2678-8B85-5535-F2F0BBC12734}"/>
                </a:ext>
              </a:extLst>
            </p:cNvPr>
            <p:cNvSpPr/>
            <p:nvPr/>
          </p:nvSpPr>
          <p:spPr>
            <a:xfrm>
              <a:off x="7102070" y="122774"/>
              <a:ext cx="390420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lv-LV" sz="800" b="1">
                  <a:latin typeface="Arial"/>
                  <a:cs typeface="Arial"/>
                </a:rPr>
                <a:t>Civilās aizsardzības sistēmas organizācija un vadība</a:t>
              </a:r>
              <a:endParaRPr lang="en-US"/>
            </a:p>
          </p:txBody>
        </p:sp>
        <p:sp>
          <p:nvSpPr>
            <p:cNvPr id="14" name="Rectangle 13">
              <a:extLst>
                <a:ext uri="{FF2B5EF4-FFF2-40B4-BE49-F238E27FC236}">
                  <a16:creationId xmlns:a16="http://schemas.microsoft.com/office/drawing/2014/main" id="{5DEB0CF5-F797-927D-F3D0-BCEDF9ABC4F6}"/>
                </a:ext>
              </a:extLst>
            </p:cNvPr>
            <p:cNvSpPr/>
            <p:nvPr/>
          </p:nvSpPr>
          <p:spPr>
            <a:xfrm>
              <a:off x="11038467" y="12277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a:lnSpc>
                  <a:spcPct val="100000"/>
                </a:lnSpc>
                <a:spcBef>
                  <a:spcPts val="0"/>
                </a:spcBef>
                <a:spcAft>
                  <a:spcPts val="0"/>
                </a:spcAft>
                <a:buNone/>
                <a:tabLst/>
                <a:defRPr/>
              </a:pPr>
              <a:r>
                <a:rPr lang="lv-LV" sz="800" b="1" kern="0">
                  <a:solidFill>
                    <a:srgbClr val="A4A3B2"/>
                  </a:solidFill>
                  <a:sym typeface="Georgia"/>
                </a:rPr>
                <a:t>2.4</a:t>
              </a:r>
              <a:endParaRPr lang="en-US"/>
            </a:p>
          </p:txBody>
        </p:sp>
        <p:sp>
          <p:nvSpPr>
            <p:cNvPr id="17" name="Rectangle 16">
              <a:extLst>
                <a:ext uri="{FF2B5EF4-FFF2-40B4-BE49-F238E27FC236}">
                  <a16:creationId xmlns:a16="http://schemas.microsoft.com/office/drawing/2014/main" id="{F0F7AD36-AB38-939A-E476-19D2025287C8}"/>
                </a:ext>
              </a:extLst>
            </p:cNvPr>
            <p:cNvSpPr/>
            <p:nvPr/>
          </p:nvSpPr>
          <p:spPr>
            <a:xfrm>
              <a:off x="11285669" y="12277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a:lnSpc>
                  <a:spcPct val="100000"/>
                </a:lnSpc>
                <a:spcBef>
                  <a:spcPts val="0"/>
                </a:spcBef>
                <a:spcAft>
                  <a:spcPts val="0"/>
                </a:spcAft>
                <a:buNone/>
                <a:tabLst/>
                <a:defRPr/>
              </a:pPr>
              <a:r>
                <a:rPr lang="lv-LV" sz="800" b="1" kern="0">
                  <a:solidFill>
                    <a:srgbClr val="A4A3B2"/>
                  </a:solidFill>
                  <a:sym typeface="Georgia"/>
                </a:rPr>
                <a:t>2.5</a:t>
              </a:r>
              <a:endParaRPr lang="en-US"/>
            </a:p>
          </p:txBody>
        </p:sp>
        <p:sp>
          <p:nvSpPr>
            <p:cNvPr id="18" name="Rectangle 17">
              <a:extLst>
                <a:ext uri="{FF2B5EF4-FFF2-40B4-BE49-F238E27FC236}">
                  <a16:creationId xmlns:a16="http://schemas.microsoft.com/office/drawing/2014/main" id="{E2E756E9-934F-5477-9628-D3BA3BB58670}"/>
                </a:ext>
              </a:extLst>
            </p:cNvPr>
            <p:cNvSpPr/>
            <p:nvPr/>
          </p:nvSpPr>
          <p:spPr>
            <a:xfrm>
              <a:off x="6351171" y="13578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a:lnSpc>
                  <a:spcPct val="100000"/>
                </a:lnSpc>
                <a:spcBef>
                  <a:spcPts val="0"/>
                </a:spcBef>
                <a:spcAft>
                  <a:spcPts val="0"/>
                </a:spcAft>
                <a:buNone/>
                <a:tabLst/>
                <a:defRPr/>
              </a:pPr>
              <a:r>
                <a:rPr lang="lv-LV" sz="800" b="1" kern="0">
                  <a:solidFill>
                    <a:srgbClr val="A4A3B2"/>
                  </a:solidFill>
                  <a:sym typeface="Georgia"/>
                </a:rPr>
                <a:t>2.1</a:t>
              </a:r>
              <a:endParaRPr lang="en-US"/>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B22CA9B-65B5-91DE-FAF2-05BBAF734EC7}"/>
              </a:ext>
            </a:extLst>
          </p:cNvPr>
          <p:cNvSpPr/>
          <p:nvPr/>
        </p:nvSpPr>
        <p:spPr>
          <a:xfrm>
            <a:off x="442912" y="5089713"/>
            <a:ext cx="11306175" cy="1089155"/>
          </a:xfrm>
          <a:prstGeom prst="rect">
            <a:avLst/>
          </a:prstGeom>
          <a:solidFill>
            <a:srgbClr val="FFFFFF">
              <a:lumMod val="95000"/>
            </a:srgbClr>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1600"/>
          </a:p>
        </p:txBody>
      </p:sp>
      <p:sp>
        <p:nvSpPr>
          <p:cNvPr id="7" name="Rectangle 6">
            <a:extLst>
              <a:ext uri="{FF2B5EF4-FFF2-40B4-BE49-F238E27FC236}">
                <a16:creationId xmlns:a16="http://schemas.microsoft.com/office/drawing/2014/main" id="{262E4242-418F-257C-D27A-E946377C64C0}"/>
              </a:ext>
            </a:extLst>
          </p:cNvPr>
          <p:cNvSpPr/>
          <p:nvPr/>
        </p:nvSpPr>
        <p:spPr>
          <a:xfrm>
            <a:off x="442912" y="1819275"/>
            <a:ext cx="11306175" cy="2005183"/>
          </a:xfrm>
          <a:prstGeom prst="rect">
            <a:avLst/>
          </a:prstGeom>
          <a:solidFill>
            <a:srgbClr val="F2F2F2"/>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1600"/>
          </a:p>
        </p:txBody>
      </p:sp>
      <p:grpSp>
        <p:nvGrpSpPr>
          <p:cNvPr id="2" name="Group 1">
            <a:extLst>
              <a:ext uri="{FF2B5EF4-FFF2-40B4-BE49-F238E27FC236}">
                <a16:creationId xmlns:a16="http://schemas.microsoft.com/office/drawing/2014/main" id="{ED5FC9B9-83E2-D4BE-4627-FAABD1896B6B}"/>
              </a:ext>
            </a:extLst>
          </p:cNvPr>
          <p:cNvGrpSpPr/>
          <p:nvPr/>
        </p:nvGrpSpPr>
        <p:grpSpPr>
          <a:xfrm>
            <a:off x="9999959" y="1914448"/>
            <a:ext cx="1789216" cy="708165"/>
            <a:chOff x="10046259" y="1989950"/>
            <a:chExt cx="1789216" cy="708165"/>
          </a:xfrm>
        </p:grpSpPr>
        <p:grpSp>
          <p:nvGrpSpPr>
            <p:cNvPr id="42" name="Group 41">
              <a:extLst>
                <a:ext uri="{FF2B5EF4-FFF2-40B4-BE49-F238E27FC236}">
                  <a16:creationId xmlns:a16="http://schemas.microsoft.com/office/drawing/2014/main" id="{95518D42-A563-6930-96D7-D7CEBB39A753}"/>
                </a:ext>
              </a:extLst>
            </p:cNvPr>
            <p:cNvGrpSpPr/>
            <p:nvPr/>
          </p:nvGrpSpPr>
          <p:grpSpPr>
            <a:xfrm>
              <a:off x="10046259" y="2172225"/>
              <a:ext cx="1789216" cy="169277"/>
              <a:chOff x="9603347" y="2165393"/>
              <a:chExt cx="1789216" cy="169277"/>
            </a:xfrm>
          </p:grpSpPr>
          <p:sp>
            <p:nvSpPr>
              <p:cNvPr id="90117" name="Rectangle 90116">
                <a:extLst>
                  <a:ext uri="{FF2B5EF4-FFF2-40B4-BE49-F238E27FC236}">
                    <a16:creationId xmlns:a16="http://schemas.microsoft.com/office/drawing/2014/main" id="{1F7D40B8-E82A-638E-FD4B-95A79A5EFB35}"/>
                  </a:ext>
                </a:extLst>
              </p:cNvPr>
              <p:cNvSpPr/>
              <p:nvPr/>
            </p:nvSpPr>
            <p:spPr>
              <a:xfrm>
                <a:off x="9603347" y="2173013"/>
                <a:ext cx="259044" cy="146817"/>
              </a:xfrm>
              <a:prstGeom prst="rect">
                <a:avLst/>
              </a:prstGeom>
              <a:solidFill>
                <a:srgbClr val="CFD6E8"/>
              </a:solidFill>
              <a:ln>
                <a:noFill/>
              </a:ln>
              <a:effectLst/>
            </p:spPr>
            <p:style>
              <a:lnRef idx="0">
                <a:schemeClr val="accent1"/>
              </a:lnRef>
              <a:fillRef idx="1">
                <a:schemeClr val="accent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900"/>
              </a:p>
            </p:txBody>
          </p:sp>
          <p:sp>
            <p:nvSpPr>
              <p:cNvPr id="90118" name="TextBox 43">
                <a:extLst>
                  <a:ext uri="{FF2B5EF4-FFF2-40B4-BE49-F238E27FC236}">
                    <a16:creationId xmlns:a16="http://schemas.microsoft.com/office/drawing/2014/main" id="{4A20F478-4AB6-C4EF-4237-E57585DC4AF7}"/>
                  </a:ext>
                </a:extLst>
              </p:cNvPr>
              <p:cNvSpPr txBox="1"/>
              <p:nvPr/>
            </p:nvSpPr>
            <p:spPr>
              <a:xfrm>
                <a:off x="9902191" y="2165393"/>
                <a:ext cx="1490372" cy="1692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a:t>Koordinēšana</a:t>
                </a:r>
              </a:p>
            </p:txBody>
          </p:sp>
        </p:grpSp>
        <p:grpSp>
          <p:nvGrpSpPr>
            <p:cNvPr id="43" name="Group 42">
              <a:extLst>
                <a:ext uri="{FF2B5EF4-FFF2-40B4-BE49-F238E27FC236}">
                  <a16:creationId xmlns:a16="http://schemas.microsoft.com/office/drawing/2014/main" id="{97D56296-48C2-748C-D670-2A0EB311DB87}"/>
                </a:ext>
              </a:extLst>
            </p:cNvPr>
            <p:cNvGrpSpPr/>
            <p:nvPr/>
          </p:nvGrpSpPr>
          <p:grpSpPr>
            <a:xfrm>
              <a:off x="10046259" y="2354670"/>
              <a:ext cx="1789216" cy="169277"/>
              <a:chOff x="9603347" y="2357161"/>
              <a:chExt cx="1789216" cy="169277"/>
            </a:xfrm>
          </p:grpSpPr>
          <p:sp>
            <p:nvSpPr>
              <p:cNvPr id="90113" name="Rectangle 90112">
                <a:extLst>
                  <a:ext uri="{FF2B5EF4-FFF2-40B4-BE49-F238E27FC236}">
                    <a16:creationId xmlns:a16="http://schemas.microsoft.com/office/drawing/2014/main" id="{E000151D-430C-096E-D01B-679964258931}"/>
                  </a:ext>
                </a:extLst>
              </p:cNvPr>
              <p:cNvSpPr/>
              <p:nvPr/>
            </p:nvSpPr>
            <p:spPr>
              <a:xfrm>
                <a:off x="9603347" y="2360642"/>
                <a:ext cx="259044" cy="146817"/>
              </a:xfrm>
              <a:prstGeom prst="rect">
                <a:avLst/>
              </a:prstGeom>
              <a:solidFill>
                <a:srgbClr val="525A72"/>
              </a:solidFill>
              <a:ln>
                <a:noFill/>
              </a:ln>
              <a:effectLst/>
            </p:spPr>
            <p:style>
              <a:lnRef idx="0">
                <a:schemeClr val="accent1"/>
              </a:lnRef>
              <a:fillRef idx="1">
                <a:schemeClr val="accent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900"/>
              </a:p>
            </p:txBody>
          </p:sp>
          <p:sp>
            <p:nvSpPr>
              <p:cNvPr id="90114" name="TextBox 46">
                <a:extLst>
                  <a:ext uri="{FF2B5EF4-FFF2-40B4-BE49-F238E27FC236}">
                    <a16:creationId xmlns:a16="http://schemas.microsoft.com/office/drawing/2014/main" id="{FC10AF84-664C-9515-4594-DE68099DAF0D}"/>
                  </a:ext>
                </a:extLst>
              </p:cNvPr>
              <p:cNvSpPr txBox="1"/>
              <p:nvPr/>
            </p:nvSpPr>
            <p:spPr>
              <a:xfrm>
                <a:off x="9902191" y="2357161"/>
                <a:ext cx="1490372" cy="1692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a:t>Atbalsts</a:t>
                </a:r>
              </a:p>
            </p:txBody>
          </p:sp>
        </p:grpSp>
        <p:grpSp>
          <p:nvGrpSpPr>
            <p:cNvPr id="44" name="Group 43">
              <a:extLst>
                <a:ext uri="{FF2B5EF4-FFF2-40B4-BE49-F238E27FC236}">
                  <a16:creationId xmlns:a16="http://schemas.microsoft.com/office/drawing/2014/main" id="{FB8A1C86-3BE9-79B2-9C65-A7F55174D916}"/>
                </a:ext>
              </a:extLst>
            </p:cNvPr>
            <p:cNvGrpSpPr/>
            <p:nvPr/>
          </p:nvGrpSpPr>
          <p:grpSpPr>
            <a:xfrm>
              <a:off x="10046259" y="2528838"/>
              <a:ext cx="1789216" cy="169277"/>
              <a:chOff x="9603347" y="2528838"/>
              <a:chExt cx="1789216" cy="169277"/>
            </a:xfrm>
            <a:solidFill>
              <a:srgbClr val="7D7D7D"/>
            </a:solidFill>
          </p:grpSpPr>
          <p:sp>
            <p:nvSpPr>
              <p:cNvPr id="63" name="Rectangle 62">
                <a:extLst>
                  <a:ext uri="{FF2B5EF4-FFF2-40B4-BE49-F238E27FC236}">
                    <a16:creationId xmlns:a16="http://schemas.microsoft.com/office/drawing/2014/main" id="{F7623038-ADC8-F584-53C3-F5F89349D89D}"/>
                  </a:ext>
                </a:extLst>
              </p:cNvPr>
              <p:cNvSpPr/>
              <p:nvPr/>
            </p:nvSpPr>
            <p:spPr>
              <a:xfrm>
                <a:off x="9603347" y="2540530"/>
                <a:ext cx="259044" cy="146817"/>
              </a:xfrm>
              <a:prstGeom prst="rect">
                <a:avLst/>
              </a:prstGeom>
              <a:solidFill>
                <a:srgbClr val="D18D85"/>
              </a:solidFill>
              <a:ln>
                <a:noFill/>
              </a:ln>
              <a:effectLst/>
            </p:spPr>
            <p:style>
              <a:lnRef idx="0">
                <a:schemeClr val="accent1"/>
              </a:lnRef>
              <a:fillRef idx="1">
                <a:schemeClr val="accent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900"/>
              </a:p>
            </p:txBody>
          </p:sp>
          <p:sp>
            <p:nvSpPr>
              <p:cNvPr id="90112" name="TextBox 49">
                <a:extLst>
                  <a:ext uri="{FF2B5EF4-FFF2-40B4-BE49-F238E27FC236}">
                    <a16:creationId xmlns:a16="http://schemas.microsoft.com/office/drawing/2014/main" id="{1567A904-7B34-1342-6923-C836A296E553}"/>
                  </a:ext>
                </a:extLst>
              </p:cNvPr>
              <p:cNvSpPr txBox="1"/>
              <p:nvPr/>
            </p:nvSpPr>
            <p:spPr>
              <a:xfrm>
                <a:off x="9902191" y="2528838"/>
                <a:ext cx="1490372" cy="1692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a:t>Infrastruktūra</a:t>
                </a:r>
              </a:p>
            </p:txBody>
          </p:sp>
        </p:grpSp>
        <p:grpSp>
          <p:nvGrpSpPr>
            <p:cNvPr id="47" name="Group 46">
              <a:extLst>
                <a:ext uri="{FF2B5EF4-FFF2-40B4-BE49-F238E27FC236}">
                  <a16:creationId xmlns:a16="http://schemas.microsoft.com/office/drawing/2014/main" id="{96B9EFD5-5D33-E7B1-9E40-17C71EFE1BD5}"/>
                </a:ext>
              </a:extLst>
            </p:cNvPr>
            <p:cNvGrpSpPr/>
            <p:nvPr/>
          </p:nvGrpSpPr>
          <p:grpSpPr>
            <a:xfrm>
              <a:off x="10046259" y="1989950"/>
              <a:ext cx="1789216" cy="169277"/>
              <a:chOff x="9603347" y="1995824"/>
              <a:chExt cx="1789216" cy="169277"/>
            </a:xfrm>
          </p:grpSpPr>
          <p:sp>
            <p:nvSpPr>
              <p:cNvPr id="61" name="Rectangle 60">
                <a:extLst>
                  <a:ext uri="{FF2B5EF4-FFF2-40B4-BE49-F238E27FC236}">
                    <a16:creationId xmlns:a16="http://schemas.microsoft.com/office/drawing/2014/main" id="{967A9640-3C16-E3C0-98FA-DFBFF921EDB5}"/>
                  </a:ext>
                </a:extLst>
              </p:cNvPr>
              <p:cNvSpPr/>
              <p:nvPr/>
            </p:nvSpPr>
            <p:spPr>
              <a:xfrm>
                <a:off x="9603347" y="2007413"/>
                <a:ext cx="259044" cy="146817"/>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900"/>
              </a:p>
            </p:txBody>
          </p:sp>
          <p:sp>
            <p:nvSpPr>
              <p:cNvPr id="62" name="TextBox 54">
                <a:extLst>
                  <a:ext uri="{FF2B5EF4-FFF2-40B4-BE49-F238E27FC236}">
                    <a16:creationId xmlns:a16="http://schemas.microsoft.com/office/drawing/2014/main" id="{01180E55-77B5-2B16-BB94-2685702C16B6}"/>
                  </a:ext>
                </a:extLst>
              </p:cNvPr>
              <p:cNvSpPr txBox="1"/>
              <p:nvPr/>
            </p:nvSpPr>
            <p:spPr>
              <a:xfrm>
                <a:off x="9902191" y="1995824"/>
                <a:ext cx="1490372" cy="1692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a:t>Lēmumu pieņemšana</a:t>
                </a:r>
              </a:p>
            </p:txBody>
          </p:sp>
        </p:grpSp>
      </p:grpSp>
      <p:sp>
        <p:nvSpPr>
          <p:cNvPr id="8" name="Rectangle 7">
            <a:extLst>
              <a:ext uri="{FF2B5EF4-FFF2-40B4-BE49-F238E27FC236}">
                <a16:creationId xmlns:a16="http://schemas.microsoft.com/office/drawing/2014/main" id="{1B266A6B-BF8D-A037-C99D-8AB184AF314A}"/>
              </a:ext>
            </a:extLst>
          </p:cNvPr>
          <p:cNvSpPr/>
          <p:nvPr/>
        </p:nvSpPr>
        <p:spPr>
          <a:xfrm>
            <a:off x="4330067" y="1997570"/>
            <a:ext cx="3550031" cy="331266"/>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t>Ministru prezidents</a:t>
            </a:r>
          </a:p>
        </p:txBody>
      </p:sp>
      <p:sp>
        <p:nvSpPr>
          <p:cNvPr id="9" name="Rectangle 8">
            <a:extLst>
              <a:ext uri="{FF2B5EF4-FFF2-40B4-BE49-F238E27FC236}">
                <a16:creationId xmlns:a16="http://schemas.microsoft.com/office/drawing/2014/main" id="{2D6D393C-6109-1B8D-48A9-6EE802818306}"/>
              </a:ext>
            </a:extLst>
          </p:cNvPr>
          <p:cNvSpPr/>
          <p:nvPr/>
        </p:nvSpPr>
        <p:spPr>
          <a:xfrm>
            <a:off x="4330067" y="2736046"/>
            <a:ext cx="3550031" cy="330200"/>
          </a:xfrm>
          <a:prstGeom prst="rect">
            <a:avLst/>
          </a:prstGeom>
          <a:solidFill>
            <a:srgbClr val="525A72"/>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solidFill>
                  <a:schemeClr val="bg1"/>
                </a:solidFill>
              </a:rPr>
              <a:t>Krīzes vadības padomes sekretariāts</a:t>
            </a:r>
          </a:p>
        </p:txBody>
      </p:sp>
      <p:sp>
        <p:nvSpPr>
          <p:cNvPr id="10" name="Rectangle 9">
            <a:extLst>
              <a:ext uri="{FF2B5EF4-FFF2-40B4-BE49-F238E27FC236}">
                <a16:creationId xmlns:a16="http://schemas.microsoft.com/office/drawing/2014/main" id="{C35757ED-FC70-B0AE-E65B-7057D3F51EAB}"/>
              </a:ext>
            </a:extLst>
          </p:cNvPr>
          <p:cNvSpPr/>
          <p:nvPr/>
        </p:nvSpPr>
        <p:spPr>
          <a:xfrm>
            <a:off x="4329542" y="3395522"/>
            <a:ext cx="3550556" cy="331266"/>
          </a:xfrm>
          <a:prstGeom prst="rect">
            <a:avLst/>
          </a:prstGeom>
          <a:solidFill>
            <a:srgbClr val="D18D85"/>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solidFill>
                  <a:schemeClr val="tx1"/>
                </a:solidFill>
              </a:rPr>
              <a:t>Civilās aizsardzības Operacionālais </a:t>
            </a:r>
            <a:endParaRPr lang="en-US" sz="1200">
              <a:solidFill>
                <a:schemeClr val="tx1"/>
              </a:solidFill>
            </a:endParaRPr>
          </a:p>
          <a:p>
            <a:pPr algn="ctr">
              <a:lnSpc>
                <a:spcPct val="100000"/>
              </a:lnSpc>
            </a:pPr>
            <a:r>
              <a:rPr lang="lv-LV" sz="1200">
                <a:solidFill>
                  <a:schemeClr val="tx1"/>
                </a:solidFill>
              </a:rPr>
              <a:t>vadības centrs</a:t>
            </a:r>
          </a:p>
        </p:txBody>
      </p:sp>
      <p:sp>
        <p:nvSpPr>
          <p:cNvPr id="11" name="Rectangle 10">
            <a:extLst>
              <a:ext uri="{FF2B5EF4-FFF2-40B4-BE49-F238E27FC236}">
                <a16:creationId xmlns:a16="http://schemas.microsoft.com/office/drawing/2014/main" id="{C23D0FB4-0A9B-8536-FE99-45D2D8414208}"/>
              </a:ext>
            </a:extLst>
          </p:cNvPr>
          <p:cNvSpPr/>
          <p:nvPr/>
        </p:nvSpPr>
        <p:spPr>
          <a:xfrm>
            <a:off x="4330067" y="2403126"/>
            <a:ext cx="3550031" cy="331266"/>
          </a:xfrm>
          <a:prstGeom prst="rect">
            <a:avLst/>
          </a:prstGeom>
          <a:solidFill>
            <a:srgbClr val="CFD6E8"/>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solidFill>
                  <a:schemeClr val="tx1"/>
                </a:solidFill>
              </a:rPr>
              <a:t>Krīzes vadības padome</a:t>
            </a:r>
          </a:p>
        </p:txBody>
      </p:sp>
      <p:sp>
        <p:nvSpPr>
          <p:cNvPr id="12" name="Rectangle 11">
            <a:extLst>
              <a:ext uri="{FF2B5EF4-FFF2-40B4-BE49-F238E27FC236}">
                <a16:creationId xmlns:a16="http://schemas.microsoft.com/office/drawing/2014/main" id="{91118138-80A1-0226-B9C9-1BDA45732D72}"/>
              </a:ext>
            </a:extLst>
          </p:cNvPr>
          <p:cNvSpPr/>
          <p:nvPr/>
        </p:nvSpPr>
        <p:spPr>
          <a:xfrm>
            <a:off x="585305" y="2403192"/>
            <a:ext cx="3550556" cy="331200"/>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t>Ministrijas un valsts iestādes</a:t>
            </a:r>
          </a:p>
        </p:txBody>
      </p:sp>
      <p:sp>
        <p:nvSpPr>
          <p:cNvPr id="13" name="Rectangle 12">
            <a:extLst>
              <a:ext uri="{FF2B5EF4-FFF2-40B4-BE49-F238E27FC236}">
                <a16:creationId xmlns:a16="http://schemas.microsoft.com/office/drawing/2014/main" id="{4E1EBA1D-E1B7-539C-3AEC-6EBD9FA85F05}"/>
              </a:ext>
            </a:extLst>
          </p:cNvPr>
          <p:cNvSpPr/>
          <p:nvPr/>
        </p:nvSpPr>
        <p:spPr>
          <a:xfrm>
            <a:off x="4330067" y="3887924"/>
            <a:ext cx="3550031" cy="331266"/>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t>Pašvaldības</a:t>
            </a:r>
          </a:p>
        </p:txBody>
      </p:sp>
      <p:sp>
        <p:nvSpPr>
          <p:cNvPr id="14" name="Rectangle 13">
            <a:extLst>
              <a:ext uri="{FF2B5EF4-FFF2-40B4-BE49-F238E27FC236}">
                <a16:creationId xmlns:a16="http://schemas.microsoft.com/office/drawing/2014/main" id="{37473509-3FAA-6EB2-EAC7-404A2B8E2869}"/>
              </a:ext>
            </a:extLst>
          </p:cNvPr>
          <p:cNvSpPr/>
          <p:nvPr/>
        </p:nvSpPr>
        <p:spPr>
          <a:xfrm>
            <a:off x="4330067" y="4217343"/>
            <a:ext cx="3550031" cy="331200"/>
          </a:xfrm>
          <a:prstGeom prst="rect">
            <a:avLst/>
          </a:prstGeom>
          <a:solidFill>
            <a:srgbClr val="CFD6E8"/>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dirty="0">
                <a:solidFill>
                  <a:schemeClr val="tx1"/>
                </a:solidFill>
              </a:rPr>
              <a:t>Pašvaldības civilās aizsardzības komisija</a:t>
            </a:r>
          </a:p>
        </p:txBody>
      </p:sp>
      <p:sp>
        <p:nvSpPr>
          <p:cNvPr id="15" name="Rectangle 14">
            <a:extLst>
              <a:ext uri="{FF2B5EF4-FFF2-40B4-BE49-F238E27FC236}">
                <a16:creationId xmlns:a16="http://schemas.microsoft.com/office/drawing/2014/main" id="{B5831CD9-1AB6-C2DF-123E-965F797EAF25}"/>
              </a:ext>
            </a:extLst>
          </p:cNvPr>
          <p:cNvSpPr/>
          <p:nvPr/>
        </p:nvSpPr>
        <p:spPr>
          <a:xfrm>
            <a:off x="8046177" y="3887924"/>
            <a:ext cx="3550031" cy="331200"/>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t>VUGD teritoriālās struktūrvienības</a:t>
            </a:r>
          </a:p>
        </p:txBody>
      </p:sp>
      <p:sp>
        <p:nvSpPr>
          <p:cNvPr id="16" name="Rectangle 15">
            <a:extLst>
              <a:ext uri="{FF2B5EF4-FFF2-40B4-BE49-F238E27FC236}">
                <a16:creationId xmlns:a16="http://schemas.microsoft.com/office/drawing/2014/main" id="{BAE42A61-4490-16D9-2261-7B66F2E914F3}"/>
              </a:ext>
            </a:extLst>
          </p:cNvPr>
          <p:cNvSpPr/>
          <p:nvPr/>
        </p:nvSpPr>
        <p:spPr>
          <a:xfrm>
            <a:off x="4330067" y="4695049"/>
            <a:ext cx="3550031" cy="331266"/>
          </a:xfrm>
          <a:prstGeom prst="rect">
            <a:avLst/>
          </a:prstGeom>
          <a:solidFill>
            <a:srgbClr val="525A72"/>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solidFill>
                  <a:schemeClr val="bg1"/>
                </a:solidFill>
              </a:rPr>
              <a:t>Komersanti</a:t>
            </a:r>
          </a:p>
        </p:txBody>
      </p:sp>
      <p:sp>
        <p:nvSpPr>
          <p:cNvPr id="17" name="Rectangle 16">
            <a:extLst>
              <a:ext uri="{FF2B5EF4-FFF2-40B4-BE49-F238E27FC236}">
                <a16:creationId xmlns:a16="http://schemas.microsoft.com/office/drawing/2014/main" id="{FE4D2D33-355E-A49E-3A75-E8568050001E}"/>
              </a:ext>
            </a:extLst>
          </p:cNvPr>
          <p:cNvSpPr/>
          <p:nvPr/>
        </p:nvSpPr>
        <p:spPr>
          <a:xfrm>
            <a:off x="585305" y="4695049"/>
            <a:ext cx="3550556" cy="331266"/>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t>Valsts iestādes</a:t>
            </a:r>
          </a:p>
        </p:txBody>
      </p:sp>
      <p:sp>
        <p:nvSpPr>
          <p:cNvPr id="18" name="Rectangle 17">
            <a:extLst>
              <a:ext uri="{FF2B5EF4-FFF2-40B4-BE49-F238E27FC236}">
                <a16:creationId xmlns:a16="http://schemas.microsoft.com/office/drawing/2014/main" id="{D3EFDB23-AE5E-08A5-FC14-A924D55C2821}"/>
              </a:ext>
            </a:extLst>
          </p:cNvPr>
          <p:cNvSpPr/>
          <p:nvPr/>
        </p:nvSpPr>
        <p:spPr>
          <a:xfrm>
            <a:off x="8046177" y="4695049"/>
            <a:ext cx="3550031" cy="331266"/>
          </a:xfrm>
          <a:prstGeom prst="rect">
            <a:avLst/>
          </a:prstGeom>
          <a:solidFill>
            <a:srgbClr val="525A72"/>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solidFill>
                  <a:schemeClr val="bg1"/>
                </a:solidFill>
              </a:rPr>
              <a:t>Nevalstiskās organizācijas</a:t>
            </a:r>
          </a:p>
        </p:txBody>
      </p:sp>
      <p:sp>
        <p:nvSpPr>
          <p:cNvPr id="19" name="Rectangle 18">
            <a:extLst>
              <a:ext uri="{FF2B5EF4-FFF2-40B4-BE49-F238E27FC236}">
                <a16:creationId xmlns:a16="http://schemas.microsoft.com/office/drawing/2014/main" id="{E9D445AD-AE1B-D6F6-9899-DC499636CB80}"/>
              </a:ext>
            </a:extLst>
          </p:cNvPr>
          <p:cNvSpPr/>
          <p:nvPr/>
        </p:nvSpPr>
        <p:spPr>
          <a:xfrm>
            <a:off x="4330067" y="5142646"/>
            <a:ext cx="3550031" cy="331266"/>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t>Glābšanas darbu vadītājs</a:t>
            </a:r>
          </a:p>
        </p:txBody>
      </p:sp>
      <p:sp>
        <p:nvSpPr>
          <p:cNvPr id="20" name="Rectangle 19">
            <a:extLst>
              <a:ext uri="{FF2B5EF4-FFF2-40B4-BE49-F238E27FC236}">
                <a16:creationId xmlns:a16="http://schemas.microsoft.com/office/drawing/2014/main" id="{2C6B7245-5BF9-D26D-0558-DF21878D9152}"/>
              </a:ext>
            </a:extLst>
          </p:cNvPr>
          <p:cNvSpPr/>
          <p:nvPr/>
        </p:nvSpPr>
        <p:spPr>
          <a:xfrm>
            <a:off x="593048" y="5666774"/>
            <a:ext cx="2631390" cy="331200"/>
          </a:xfrm>
          <a:prstGeom prst="rect">
            <a:avLst/>
          </a:prstGeom>
          <a:solidFill>
            <a:srgbClr val="525A72"/>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solidFill>
                  <a:schemeClr val="bg1"/>
                </a:solidFill>
              </a:rPr>
              <a:t>Operatīvie dienesti un organizācijas</a:t>
            </a:r>
          </a:p>
        </p:txBody>
      </p:sp>
      <p:sp>
        <p:nvSpPr>
          <p:cNvPr id="21" name="Rectangle 20">
            <a:extLst>
              <a:ext uri="{FF2B5EF4-FFF2-40B4-BE49-F238E27FC236}">
                <a16:creationId xmlns:a16="http://schemas.microsoft.com/office/drawing/2014/main" id="{2449F95B-E58F-BE24-C5FB-A5994EF02B3B}"/>
              </a:ext>
            </a:extLst>
          </p:cNvPr>
          <p:cNvSpPr/>
          <p:nvPr/>
        </p:nvSpPr>
        <p:spPr>
          <a:xfrm>
            <a:off x="3438559" y="5666774"/>
            <a:ext cx="2631390" cy="331200"/>
          </a:xfrm>
          <a:prstGeom prst="rect">
            <a:avLst/>
          </a:prstGeom>
          <a:solidFill>
            <a:srgbClr val="525A72"/>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solidFill>
                  <a:schemeClr val="bg1"/>
                </a:solidFill>
              </a:rPr>
              <a:t>Nacionālie bruņotie spēki</a:t>
            </a:r>
          </a:p>
        </p:txBody>
      </p:sp>
      <p:sp>
        <p:nvSpPr>
          <p:cNvPr id="22" name="Rectangle 21">
            <a:extLst>
              <a:ext uri="{FF2B5EF4-FFF2-40B4-BE49-F238E27FC236}">
                <a16:creationId xmlns:a16="http://schemas.microsoft.com/office/drawing/2014/main" id="{4DACEE84-D791-5E9F-9E45-472B71321CC1}"/>
              </a:ext>
            </a:extLst>
          </p:cNvPr>
          <p:cNvSpPr/>
          <p:nvPr/>
        </p:nvSpPr>
        <p:spPr>
          <a:xfrm>
            <a:off x="6214077" y="5666774"/>
            <a:ext cx="2631390" cy="331200"/>
          </a:xfrm>
          <a:prstGeom prst="rect">
            <a:avLst/>
          </a:prstGeom>
          <a:solidFill>
            <a:srgbClr val="525A72"/>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solidFill>
                  <a:schemeClr val="bg1"/>
                </a:solidFill>
              </a:rPr>
              <a:t>Nevalstiskās organizācijas</a:t>
            </a:r>
          </a:p>
        </p:txBody>
      </p:sp>
      <p:sp>
        <p:nvSpPr>
          <p:cNvPr id="23" name="Rectangle 22">
            <a:extLst>
              <a:ext uri="{FF2B5EF4-FFF2-40B4-BE49-F238E27FC236}">
                <a16:creationId xmlns:a16="http://schemas.microsoft.com/office/drawing/2014/main" id="{6393C36F-332A-BF3F-85C5-C38DCF0F2F21}"/>
              </a:ext>
            </a:extLst>
          </p:cNvPr>
          <p:cNvSpPr/>
          <p:nvPr/>
        </p:nvSpPr>
        <p:spPr>
          <a:xfrm>
            <a:off x="4330067" y="3063667"/>
            <a:ext cx="3550031" cy="330200"/>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t>Valsts ugunsdzēsības un glābšanas dienests</a:t>
            </a:r>
          </a:p>
        </p:txBody>
      </p:sp>
      <p:cxnSp>
        <p:nvCxnSpPr>
          <p:cNvPr id="24" name="Straight Connector 23">
            <a:extLst>
              <a:ext uri="{FF2B5EF4-FFF2-40B4-BE49-F238E27FC236}">
                <a16:creationId xmlns:a16="http://schemas.microsoft.com/office/drawing/2014/main" id="{F208B961-7A1E-064A-1BC0-D6EED2C3B25E}"/>
              </a:ext>
            </a:extLst>
          </p:cNvPr>
          <p:cNvCxnSpPr>
            <a:cxnSpLocks/>
            <a:stCxn id="10" idx="2"/>
            <a:endCxn id="10" idx="2"/>
          </p:cNvCxnSpPr>
          <p:nvPr/>
        </p:nvCxnSpPr>
        <p:spPr>
          <a:xfrm>
            <a:off x="6104820" y="3726788"/>
            <a:ext cx="0" cy="0"/>
          </a:xfrm>
          <a:prstGeom prst="line">
            <a:avLst/>
          </a:prstGeom>
          <a:noFill/>
          <a:ln w="3175" cap="sq" cmpd="sng" algn="ctr">
            <a:solidFill>
              <a:schemeClr val="bg1">
                <a:lumMod val="65000"/>
              </a:schemeClr>
            </a:solidFill>
            <a:prstDash val="solid"/>
          </a:ln>
          <a:effectLst/>
        </p:spPr>
        <p:style>
          <a:lnRef idx="1">
            <a:schemeClr val="accent6"/>
          </a:lnRef>
          <a:fillRef idx="0">
            <a:schemeClr val="accent6"/>
          </a:fillRef>
          <a:effectRef idx="0">
            <a:schemeClr val="accent6"/>
          </a:effectRef>
          <a:fontRef idx="minor">
            <a:schemeClr val="tx1"/>
          </a:fontRef>
        </p:style>
      </p:cxnSp>
      <p:sp>
        <p:nvSpPr>
          <p:cNvPr id="41" name="TextBox 40">
            <a:extLst>
              <a:ext uri="{FF2B5EF4-FFF2-40B4-BE49-F238E27FC236}">
                <a16:creationId xmlns:a16="http://schemas.microsoft.com/office/drawing/2014/main" id="{FA468B0A-49A3-213A-44F6-02A43A9817BC}"/>
              </a:ext>
            </a:extLst>
          </p:cNvPr>
          <p:cNvSpPr txBox="1"/>
          <p:nvPr/>
        </p:nvSpPr>
        <p:spPr>
          <a:xfrm>
            <a:off x="884151" y="1997570"/>
            <a:ext cx="2229887" cy="246221"/>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600" b="1"/>
              <a:t>Valsts nozīmes līmenis</a:t>
            </a:r>
          </a:p>
        </p:txBody>
      </p:sp>
      <p:sp>
        <p:nvSpPr>
          <p:cNvPr id="46" name="TextBox 51">
            <a:extLst>
              <a:ext uri="{FF2B5EF4-FFF2-40B4-BE49-F238E27FC236}">
                <a16:creationId xmlns:a16="http://schemas.microsoft.com/office/drawing/2014/main" id="{1F318F65-2866-F9CC-10F6-F650205AE1B3}"/>
              </a:ext>
            </a:extLst>
          </p:cNvPr>
          <p:cNvSpPr txBox="1"/>
          <p:nvPr/>
        </p:nvSpPr>
        <p:spPr>
          <a:xfrm>
            <a:off x="884152" y="5161010"/>
            <a:ext cx="1516491" cy="492443"/>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600" b="1"/>
              <a:t>Vietējais līmenis</a:t>
            </a:r>
          </a:p>
        </p:txBody>
      </p:sp>
      <p:sp>
        <p:nvSpPr>
          <p:cNvPr id="45" name="TextBox 50">
            <a:extLst>
              <a:ext uri="{FF2B5EF4-FFF2-40B4-BE49-F238E27FC236}">
                <a16:creationId xmlns:a16="http://schemas.microsoft.com/office/drawing/2014/main" id="{1E3DF3EF-F70A-12C1-709C-CFBA41C855E6}"/>
              </a:ext>
            </a:extLst>
          </p:cNvPr>
          <p:cNvSpPr txBox="1"/>
          <p:nvPr/>
        </p:nvSpPr>
        <p:spPr>
          <a:xfrm>
            <a:off x="884152" y="3976569"/>
            <a:ext cx="1516491" cy="492443"/>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600" b="1"/>
              <a:t>Reģionāls līmenis</a:t>
            </a:r>
          </a:p>
        </p:txBody>
      </p:sp>
      <p:sp>
        <p:nvSpPr>
          <p:cNvPr id="57" name="Rectangle 56">
            <a:extLst>
              <a:ext uri="{FF2B5EF4-FFF2-40B4-BE49-F238E27FC236}">
                <a16:creationId xmlns:a16="http://schemas.microsoft.com/office/drawing/2014/main" id="{3F444E0C-49D4-6C03-F7D5-15B668CEEA3F}"/>
              </a:ext>
            </a:extLst>
          </p:cNvPr>
          <p:cNvSpPr/>
          <p:nvPr/>
        </p:nvSpPr>
        <p:spPr>
          <a:xfrm>
            <a:off x="8989593" y="5666774"/>
            <a:ext cx="2631390" cy="331200"/>
          </a:xfrm>
          <a:prstGeom prst="rect">
            <a:avLst/>
          </a:prstGeom>
          <a:solidFill>
            <a:srgbClr val="D0CFD7"/>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solidFill>
                  <a:srgbClr val="000000"/>
                </a:solidFill>
              </a:rPr>
              <a:t>Juridiskas un fiziskas personas</a:t>
            </a:r>
          </a:p>
        </p:txBody>
      </p:sp>
      <p:cxnSp>
        <p:nvCxnSpPr>
          <p:cNvPr id="52" name="Straight Connector 51">
            <a:extLst>
              <a:ext uri="{FF2B5EF4-FFF2-40B4-BE49-F238E27FC236}">
                <a16:creationId xmlns:a16="http://schemas.microsoft.com/office/drawing/2014/main" id="{9FB50D2E-3E58-A75B-D304-8E03EE562D7B}"/>
              </a:ext>
            </a:extLst>
          </p:cNvPr>
          <p:cNvCxnSpPr>
            <a:stCxn id="12" idx="2"/>
            <a:endCxn id="17" idx="0"/>
          </p:cNvCxnSpPr>
          <p:nvPr/>
        </p:nvCxnSpPr>
        <p:spPr>
          <a:xfrm>
            <a:off x="2360583" y="2734392"/>
            <a:ext cx="0" cy="1960657"/>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4" name="Straight Connector 53">
            <a:extLst>
              <a:ext uri="{FF2B5EF4-FFF2-40B4-BE49-F238E27FC236}">
                <a16:creationId xmlns:a16="http://schemas.microsoft.com/office/drawing/2014/main" id="{E46A761E-0740-F55A-A32B-3A246C0AD30A}"/>
              </a:ext>
            </a:extLst>
          </p:cNvPr>
          <p:cNvCxnSpPr>
            <a:stCxn id="12" idx="3"/>
            <a:endCxn id="11" idx="1"/>
          </p:cNvCxnSpPr>
          <p:nvPr/>
        </p:nvCxnSpPr>
        <p:spPr>
          <a:xfrm flipV="1">
            <a:off x="4135861" y="2568759"/>
            <a:ext cx="194206" cy="33"/>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6" name="Connector: Elbow 55">
            <a:extLst>
              <a:ext uri="{FF2B5EF4-FFF2-40B4-BE49-F238E27FC236}">
                <a16:creationId xmlns:a16="http://schemas.microsoft.com/office/drawing/2014/main" id="{BA3B6F97-15C8-8C3B-3269-2639F1BCFF84}"/>
              </a:ext>
            </a:extLst>
          </p:cNvPr>
          <p:cNvCxnSpPr>
            <a:cxnSpLocks/>
            <a:endCxn id="23" idx="1"/>
          </p:cNvCxnSpPr>
          <p:nvPr/>
        </p:nvCxnSpPr>
        <p:spPr>
          <a:xfrm rot="16200000" flipH="1">
            <a:off x="3955266" y="2853966"/>
            <a:ext cx="643140" cy="106462"/>
          </a:xfrm>
          <a:prstGeom prst="bentConnector2">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136" name="Straight Connector 90135">
            <a:extLst>
              <a:ext uri="{FF2B5EF4-FFF2-40B4-BE49-F238E27FC236}">
                <a16:creationId xmlns:a16="http://schemas.microsoft.com/office/drawing/2014/main" id="{BAAD9D89-306F-E56E-47F3-847C2AFF8A22}"/>
              </a:ext>
            </a:extLst>
          </p:cNvPr>
          <p:cNvCxnSpPr>
            <a:stCxn id="10" idx="2"/>
            <a:endCxn id="13" idx="0"/>
          </p:cNvCxnSpPr>
          <p:nvPr/>
        </p:nvCxnSpPr>
        <p:spPr>
          <a:xfrm>
            <a:off x="6104820" y="3726788"/>
            <a:ext cx="263" cy="161136"/>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139" name="Straight Connector 90138">
            <a:extLst>
              <a:ext uri="{FF2B5EF4-FFF2-40B4-BE49-F238E27FC236}">
                <a16:creationId xmlns:a16="http://schemas.microsoft.com/office/drawing/2014/main" id="{FED8EA30-32BA-5678-6DC3-C0FD69342993}"/>
              </a:ext>
            </a:extLst>
          </p:cNvPr>
          <p:cNvCxnSpPr>
            <a:stCxn id="14" idx="2"/>
            <a:endCxn id="16" idx="0"/>
          </p:cNvCxnSpPr>
          <p:nvPr/>
        </p:nvCxnSpPr>
        <p:spPr>
          <a:xfrm>
            <a:off x="6105083" y="4548543"/>
            <a:ext cx="0" cy="146506"/>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141" name="Connector: Elbow 90140">
            <a:extLst>
              <a:ext uri="{FF2B5EF4-FFF2-40B4-BE49-F238E27FC236}">
                <a16:creationId xmlns:a16="http://schemas.microsoft.com/office/drawing/2014/main" id="{1FA045BF-7644-BD2B-F3AA-688B3B718503}"/>
              </a:ext>
            </a:extLst>
          </p:cNvPr>
          <p:cNvCxnSpPr>
            <a:stCxn id="17" idx="0"/>
            <a:endCxn id="18" idx="0"/>
          </p:cNvCxnSpPr>
          <p:nvPr/>
        </p:nvCxnSpPr>
        <p:spPr>
          <a:xfrm rot="5400000" flipH="1" flipV="1">
            <a:off x="6090731" y="964744"/>
            <a:ext cx="12700" cy="7460610"/>
          </a:xfrm>
          <a:prstGeom prst="bentConnector3">
            <a:avLst>
              <a:gd name="adj1" fmla="val 733331"/>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144" name="Straight Connector 90143">
            <a:extLst>
              <a:ext uri="{FF2B5EF4-FFF2-40B4-BE49-F238E27FC236}">
                <a16:creationId xmlns:a16="http://schemas.microsoft.com/office/drawing/2014/main" id="{5A8089C6-4E37-4F90-E04B-5625DE0F8E9D}"/>
              </a:ext>
            </a:extLst>
          </p:cNvPr>
          <p:cNvCxnSpPr>
            <a:stCxn id="16" idx="2"/>
            <a:endCxn id="19" idx="0"/>
          </p:cNvCxnSpPr>
          <p:nvPr/>
        </p:nvCxnSpPr>
        <p:spPr>
          <a:xfrm>
            <a:off x="6105083" y="5026315"/>
            <a:ext cx="0" cy="116331"/>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146" name="Connector: Elbow 90145">
            <a:extLst>
              <a:ext uri="{FF2B5EF4-FFF2-40B4-BE49-F238E27FC236}">
                <a16:creationId xmlns:a16="http://schemas.microsoft.com/office/drawing/2014/main" id="{2CE96940-372B-E57C-B716-C513A5139C10}"/>
              </a:ext>
            </a:extLst>
          </p:cNvPr>
          <p:cNvCxnSpPr>
            <a:stCxn id="17" idx="2"/>
            <a:endCxn id="19" idx="1"/>
          </p:cNvCxnSpPr>
          <p:nvPr/>
        </p:nvCxnSpPr>
        <p:spPr>
          <a:xfrm rot="16200000" flipH="1">
            <a:off x="3204342" y="4182554"/>
            <a:ext cx="281964" cy="1969484"/>
          </a:xfrm>
          <a:prstGeom prst="bentConnector2">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148" name="Straight Connector 90147">
            <a:extLst>
              <a:ext uri="{FF2B5EF4-FFF2-40B4-BE49-F238E27FC236}">
                <a16:creationId xmlns:a16="http://schemas.microsoft.com/office/drawing/2014/main" id="{EC1C777B-24BD-24F7-C278-03569C1959B8}"/>
              </a:ext>
            </a:extLst>
          </p:cNvPr>
          <p:cNvCxnSpPr>
            <a:stCxn id="19" idx="2"/>
          </p:cNvCxnSpPr>
          <p:nvPr/>
        </p:nvCxnSpPr>
        <p:spPr>
          <a:xfrm flipH="1">
            <a:off x="6104862" y="5473912"/>
            <a:ext cx="221" cy="97155"/>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150" name="Connector: Elbow 90149">
            <a:extLst>
              <a:ext uri="{FF2B5EF4-FFF2-40B4-BE49-F238E27FC236}">
                <a16:creationId xmlns:a16="http://schemas.microsoft.com/office/drawing/2014/main" id="{CC496674-3B27-A50C-459B-AAB5432B9F66}"/>
              </a:ext>
            </a:extLst>
          </p:cNvPr>
          <p:cNvCxnSpPr>
            <a:stCxn id="20" idx="0"/>
            <a:endCxn id="57" idx="0"/>
          </p:cNvCxnSpPr>
          <p:nvPr/>
        </p:nvCxnSpPr>
        <p:spPr>
          <a:xfrm rot="5400000" flipH="1" flipV="1">
            <a:off x="6106860" y="1468501"/>
            <a:ext cx="12700" cy="8396545"/>
          </a:xfrm>
          <a:prstGeom prst="bentConnector3">
            <a:avLst>
              <a:gd name="adj1" fmla="val 804165"/>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155" name="Straight Connector 90154">
            <a:extLst>
              <a:ext uri="{FF2B5EF4-FFF2-40B4-BE49-F238E27FC236}">
                <a16:creationId xmlns:a16="http://schemas.microsoft.com/office/drawing/2014/main" id="{63975A85-C7A2-4CCF-AB22-1A648E7256DC}"/>
              </a:ext>
            </a:extLst>
          </p:cNvPr>
          <p:cNvCxnSpPr>
            <a:cxnSpLocks/>
            <a:stCxn id="21" idx="0"/>
          </p:cNvCxnSpPr>
          <p:nvPr/>
        </p:nvCxnSpPr>
        <p:spPr>
          <a:xfrm flipV="1">
            <a:off x="4754255" y="5571067"/>
            <a:ext cx="0" cy="95707"/>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161" name="Straight Connector 90160">
            <a:extLst>
              <a:ext uri="{FF2B5EF4-FFF2-40B4-BE49-F238E27FC236}">
                <a16:creationId xmlns:a16="http://schemas.microsoft.com/office/drawing/2014/main" id="{62E2EFFF-DF56-436E-C8BE-E370A4D4FB51}"/>
              </a:ext>
            </a:extLst>
          </p:cNvPr>
          <p:cNvCxnSpPr>
            <a:cxnSpLocks/>
            <a:stCxn id="22" idx="0"/>
          </p:cNvCxnSpPr>
          <p:nvPr/>
        </p:nvCxnSpPr>
        <p:spPr>
          <a:xfrm flipV="1">
            <a:off x="7529772" y="5571067"/>
            <a:ext cx="0" cy="95707"/>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165" name="Straight Connector 90164">
            <a:extLst>
              <a:ext uri="{FF2B5EF4-FFF2-40B4-BE49-F238E27FC236}">
                <a16:creationId xmlns:a16="http://schemas.microsoft.com/office/drawing/2014/main" id="{C29B1A8F-A060-1FEC-26D3-ABE7C93017C4}"/>
              </a:ext>
            </a:extLst>
          </p:cNvPr>
          <p:cNvCxnSpPr>
            <a:cxnSpLocks/>
            <a:endCxn id="57" idx="1"/>
          </p:cNvCxnSpPr>
          <p:nvPr/>
        </p:nvCxnSpPr>
        <p:spPr>
          <a:xfrm>
            <a:off x="8845466" y="5832374"/>
            <a:ext cx="144127" cy="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90167" name="Title 1">
            <a:extLst>
              <a:ext uri="{FF2B5EF4-FFF2-40B4-BE49-F238E27FC236}">
                <a16:creationId xmlns:a16="http://schemas.microsoft.com/office/drawing/2014/main" id="{653B647E-E9C2-ADAB-D617-118E54CE7745}"/>
              </a:ext>
            </a:extLst>
          </p:cNvPr>
          <p:cNvSpPr>
            <a:spLocks noGrp="1"/>
          </p:cNvSpPr>
          <p:nvPr>
            <p:ph type="title"/>
          </p:nvPr>
        </p:nvSpPr>
        <p:spPr>
          <a:xfrm>
            <a:off x="442913" y="431800"/>
            <a:ext cx="11306175" cy="1387475"/>
          </a:xfrm>
        </p:spPr>
        <p:txBody>
          <a:bodyPr vert="horz"/>
          <a:lstStyle/>
          <a:p>
            <a:r>
              <a:rPr lang="lv-LV" altLang="lv-LV"/>
              <a:t>Vadības struktūra civilās aizsardzības sistēmā</a:t>
            </a:r>
            <a:endParaRPr lang="lv-LV"/>
          </a:p>
        </p:txBody>
      </p:sp>
      <p:sp>
        <p:nvSpPr>
          <p:cNvPr id="3" name="object 24">
            <a:extLst>
              <a:ext uri="{FF2B5EF4-FFF2-40B4-BE49-F238E27FC236}">
                <a16:creationId xmlns:a16="http://schemas.microsoft.com/office/drawing/2014/main" id="{FF916618-1CCB-BE8E-FD90-CBE4C073D013}"/>
              </a:ext>
            </a:extLst>
          </p:cNvPr>
          <p:cNvSpPr txBox="1">
            <a:spLocks noGrp="1"/>
          </p:cNvSpPr>
          <p:nvPr>
            <p:ph type="sldNum" sz="quarter" idx="11"/>
          </p:nvPr>
        </p:nvSpPr>
        <p:spPr>
          <a:xfrm>
            <a:off x="9984296" y="6492240"/>
            <a:ext cx="1764792" cy="137160"/>
          </a:xfrm>
        </p:spPr>
        <p:txBody>
          <a:bodyPr vert="horz" wrap="square" lIns="0" tIns="0" rIns="0" bIns="0" rtlCol="0">
            <a:spAutoFit/>
          </a:bodyPr>
          <a:lstStyle>
            <a:defPPr>
              <a:defRPr kern="0"/>
            </a:defPPr>
            <a:lvl1pPr>
              <a:defRPr sz="900" b="0" i="0">
                <a:solidFill>
                  <a:srgbClr val="888888"/>
                </a:solidFill>
                <a:latin typeface="Calibri"/>
                <a:cs typeface="Calibri"/>
              </a:defRPr>
            </a:lvl1pPr>
          </a:lstStyle>
          <a:p>
            <a:fld id="{81D60167-4931-47E6-BA6A-407CBD079E47}" type="slidenum">
              <a:rPr lang="en-GB" smtClean="0"/>
              <a:pPr/>
              <a:t>14</a:t>
            </a:fld>
            <a:endParaRPr lang="en-GB"/>
          </a:p>
        </p:txBody>
      </p:sp>
      <p:sp>
        <p:nvSpPr>
          <p:cNvPr id="4" name="Rectangle 3">
            <a:extLst>
              <a:ext uri="{FF2B5EF4-FFF2-40B4-BE49-F238E27FC236}">
                <a16:creationId xmlns:a16="http://schemas.microsoft.com/office/drawing/2014/main" id="{EBA7BF60-0AE3-D651-C97F-6030A71AE8DD}"/>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rgbClr val="A4A3B2"/>
                </a:solidFill>
                <a:effectLst/>
                <a:uLnTx/>
                <a:uFillTx/>
                <a:ea typeface="Georgia"/>
                <a:cs typeface="Georgia"/>
                <a:sym typeface="Georgia"/>
              </a:rPr>
              <a:t>2. CIVILĀS AIZSARDZĪBAS SISTĒMA UN NORMATĪVAIS UN POLITIKAS PLĀNOŠANAS IETVARS</a:t>
            </a:r>
          </a:p>
        </p:txBody>
      </p:sp>
      <p:grpSp>
        <p:nvGrpSpPr>
          <p:cNvPr id="6" name="Group 5">
            <a:extLst>
              <a:ext uri="{FF2B5EF4-FFF2-40B4-BE49-F238E27FC236}">
                <a16:creationId xmlns:a16="http://schemas.microsoft.com/office/drawing/2014/main" id="{B534E434-CB1C-7C6D-A614-6975C26EB5C5}"/>
              </a:ext>
            </a:extLst>
          </p:cNvPr>
          <p:cNvGrpSpPr/>
          <p:nvPr/>
        </p:nvGrpSpPr>
        <p:grpSpPr>
          <a:xfrm>
            <a:off x="6597001" y="124926"/>
            <a:ext cx="5150498" cy="230498"/>
            <a:chOff x="6351171" y="122774"/>
            <a:chExt cx="5150498" cy="230498"/>
          </a:xfrm>
        </p:grpSpPr>
        <p:sp>
          <p:nvSpPr>
            <p:cNvPr id="25" name="Rectangle 24">
              <a:extLst>
                <a:ext uri="{FF2B5EF4-FFF2-40B4-BE49-F238E27FC236}">
                  <a16:creationId xmlns:a16="http://schemas.microsoft.com/office/drawing/2014/main" id="{FB4A4804-9B88-0479-4DF9-1616BF1E97D0}"/>
                </a:ext>
              </a:extLst>
            </p:cNvPr>
            <p:cNvSpPr/>
            <p:nvPr/>
          </p:nvSpPr>
          <p:spPr>
            <a:xfrm>
              <a:off x="6607666"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a:lnSpc>
                  <a:spcPct val="100000"/>
                </a:lnSpc>
                <a:spcBef>
                  <a:spcPts val="0"/>
                </a:spcBef>
                <a:spcAft>
                  <a:spcPts val="0"/>
                </a:spcAft>
                <a:buNone/>
                <a:tabLst/>
                <a:defRPr/>
              </a:pPr>
              <a:r>
                <a:rPr lang="lv-LV" sz="800" b="1" kern="0">
                  <a:solidFill>
                    <a:srgbClr val="A4A3B2"/>
                  </a:solidFill>
                  <a:sym typeface="Georgia"/>
                </a:rPr>
                <a:t>2.2</a:t>
              </a:r>
            </a:p>
          </p:txBody>
        </p:sp>
        <p:sp>
          <p:nvSpPr>
            <p:cNvPr id="33" name="Rectangle 32">
              <a:extLst>
                <a:ext uri="{FF2B5EF4-FFF2-40B4-BE49-F238E27FC236}">
                  <a16:creationId xmlns:a16="http://schemas.microsoft.com/office/drawing/2014/main" id="{49838E34-4B5B-F8B8-32D3-545C2EC00534}"/>
                </a:ext>
              </a:extLst>
            </p:cNvPr>
            <p:cNvSpPr/>
            <p:nvPr/>
          </p:nvSpPr>
          <p:spPr>
            <a:xfrm>
              <a:off x="6854868" y="12277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a:lnSpc>
                  <a:spcPct val="100000"/>
                </a:lnSpc>
                <a:spcBef>
                  <a:spcPts val="0"/>
                </a:spcBef>
                <a:spcAft>
                  <a:spcPts val="0"/>
                </a:spcAft>
                <a:buNone/>
                <a:tabLst/>
                <a:defRPr/>
              </a:pPr>
              <a:r>
                <a:rPr lang="lv-LV" sz="800" b="1" kern="0">
                  <a:sym typeface="Georgia"/>
                </a:rPr>
                <a:t>2.3</a:t>
              </a:r>
              <a:endParaRPr lang="en-US"/>
            </a:p>
          </p:txBody>
        </p:sp>
        <p:sp>
          <p:nvSpPr>
            <p:cNvPr id="34" name="Rectangle 33">
              <a:extLst>
                <a:ext uri="{FF2B5EF4-FFF2-40B4-BE49-F238E27FC236}">
                  <a16:creationId xmlns:a16="http://schemas.microsoft.com/office/drawing/2014/main" id="{77203906-2C9E-E8F2-82D8-5FC8105A54B3}"/>
                </a:ext>
              </a:extLst>
            </p:cNvPr>
            <p:cNvSpPr/>
            <p:nvPr/>
          </p:nvSpPr>
          <p:spPr>
            <a:xfrm>
              <a:off x="7102070" y="122774"/>
              <a:ext cx="390420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lv-LV" sz="800" b="1">
                  <a:latin typeface="Arial"/>
                  <a:cs typeface="Arial"/>
                </a:rPr>
                <a:t>Civilās aizsardzības sistēmas organizācija un vadība</a:t>
              </a:r>
              <a:endParaRPr lang="en-US"/>
            </a:p>
          </p:txBody>
        </p:sp>
        <p:sp>
          <p:nvSpPr>
            <p:cNvPr id="35" name="Rectangle 34">
              <a:extLst>
                <a:ext uri="{FF2B5EF4-FFF2-40B4-BE49-F238E27FC236}">
                  <a16:creationId xmlns:a16="http://schemas.microsoft.com/office/drawing/2014/main" id="{F3E1CAC2-0F83-6275-48B7-090FC2735489}"/>
                </a:ext>
              </a:extLst>
            </p:cNvPr>
            <p:cNvSpPr/>
            <p:nvPr/>
          </p:nvSpPr>
          <p:spPr>
            <a:xfrm>
              <a:off x="11038467" y="12277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a:lnSpc>
                  <a:spcPct val="100000"/>
                </a:lnSpc>
                <a:spcBef>
                  <a:spcPts val="0"/>
                </a:spcBef>
                <a:spcAft>
                  <a:spcPts val="0"/>
                </a:spcAft>
                <a:buNone/>
                <a:tabLst/>
                <a:defRPr/>
              </a:pPr>
              <a:r>
                <a:rPr lang="lv-LV" sz="800" b="1" kern="0">
                  <a:solidFill>
                    <a:srgbClr val="A4A3B2"/>
                  </a:solidFill>
                  <a:sym typeface="Georgia"/>
                </a:rPr>
                <a:t>2.4</a:t>
              </a:r>
              <a:endParaRPr lang="en-US"/>
            </a:p>
          </p:txBody>
        </p:sp>
        <p:sp>
          <p:nvSpPr>
            <p:cNvPr id="36" name="Rectangle 35">
              <a:extLst>
                <a:ext uri="{FF2B5EF4-FFF2-40B4-BE49-F238E27FC236}">
                  <a16:creationId xmlns:a16="http://schemas.microsoft.com/office/drawing/2014/main" id="{E77FC776-0F52-C932-0C68-ACFCD1689EE3}"/>
                </a:ext>
              </a:extLst>
            </p:cNvPr>
            <p:cNvSpPr/>
            <p:nvPr/>
          </p:nvSpPr>
          <p:spPr>
            <a:xfrm>
              <a:off x="11285669" y="12277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a:lnSpc>
                  <a:spcPct val="100000"/>
                </a:lnSpc>
                <a:spcBef>
                  <a:spcPts val="0"/>
                </a:spcBef>
                <a:spcAft>
                  <a:spcPts val="0"/>
                </a:spcAft>
                <a:buNone/>
                <a:tabLst/>
                <a:defRPr/>
              </a:pPr>
              <a:r>
                <a:rPr lang="lv-LV" sz="800" b="1" kern="0">
                  <a:solidFill>
                    <a:srgbClr val="A4A3B2"/>
                  </a:solidFill>
                  <a:sym typeface="Georgia"/>
                </a:rPr>
                <a:t>2.5</a:t>
              </a:r>
              <a:endParaRPr lang="en-US"/>
            </a:p>
          </p:txBody>
        </p:sp>
        <p:sp>
          <p:nvSpPr>
            <p:cNvPr id="37" name="Rectangle 36">
              <a:extLst>
                <a:ext uri="{FF2B5EF4-FFF2-40B4-BE49-F238E27FC236}">
                  <a16:creationId xmlns:a16="http://schemas.microsoft.com/office/drawing/2014/main" id="{C719C210-0AA4-2FD2-B79F-090D97A80562}"/>
                </a:ext>
              </a:extLst>
            </p:cNvPr>
            <p:cNvSpPr/>
            <p:nvPr/>
          </p:nvSpPr>
          <p:spPr>
            <a:xfrm>
              <a:off x="6351171" y="13578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a:lnSpc>
                  <a:spcPct val="100000"/>
                </a:lnSpc>
                <a:spcBef>
                  <a:spcPts val="0"/>
                </a:spcBef>
                <a:spcAft>
                  <a:spcPts val="0"/>
                </a:spcAft>
                <a:buNone/>
                <a:tabLst/>
                <a:defRPr/>
              </a:pPr>
              <a:r>
                <a:rPr lang="lv-LV" sz="800" b="1" kern="0">
                  <a:solidFill>
                    <a:srgbClr val="A4A3B2"/>
                  </a:solidFill>
                  <a:sym typeface="Georgia"/>
                </a:rPr>
                <a:t>2.1</a:t>
              </a:r>
              <a:endParaRPr lang="en-US"/>
            </a:p>
          </p:txBody>
        </p:sp>
      </p:grpSp>
    </p:spTree>
    <p:extLst>
      <p:ext uri="{BB962C8B-B14F-4D97-AF65-F5344CB8AC3E}">
        <p14:creationId xmlns:p14="http://schemas.microsoft.com/office/powerpoint/2010/main" val="38170972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EE38E3C5-17C6-995C-2B10-DA6E76B744CF}"/>
              </a:ext>
            </a:extLst>
          </p:cNvPr>
          <p:cNvSpPr/>
          <p:nvPr/>
        </p:nvSpPr>
        <p:spPr>
          <a:xfrm>
            <a:off x="442913" y="2115729"/>
            <a:ext cx="3670300" cy="535396"/>
          </a:xfrm>
          <a:prstGeom prst="rect">
            <a:avLst/>
          </a:prstGeom>
          <a:solidFill>
            <a:schemeClr val="bg1">
              <a:lumMod val="95000"/>
            </a:schemeClr>
          </a:solidFill>
          <a:ln w="25400" cap="flat" cmpd="sng" algn="ctr">
            <a:noFill/>
            <a:prstDash val="solid"/>
          </a:ln>
          <a:effectLst/>
        </p:spPr>
        <p:txBody>
          <a:bodyPr wrap="square" lIns="72000" tIns="36000" rIns="72000" bIns="3600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a:t>uzrauga civilās aizsardzības sistēmas darbību un tas uzdevumu izpildi </a:t>
            </a:r>
            <a:endParaRPr kumimoji="0" lang="lv-LV" sz="1400" b="1" i="0" u="none" strike="noStrike" kern="0" cap="none" spc="0" normalizeH="0" baseline="0">
              <a:ln>
                <a:noFill/>
              </a:ln>
              <a:solidFill>
                <a:srgbClr val="000000"/>
              </a:solidFill>
              <a:effectLst/>
              <a:uLnTx/>
              <a:uFillTx/>
              <a:latin typeface="Arial"/>
              <a:ea typeface="+mn-ea"/>
              <a:cs typeface="+mn-cs"/>
            </a:endParaRPr>
          </a:p>
        </p:txBody>
      </p:sp>
      <p:sp>
        <p:nvSpPr>
          <p:cNvPr id="2" name="Title 1"/>
          <p:cNvSpPr>
            <a:spLocks noGrp="1"/>
          </p:cNvSpPr>
          <p:nvPr>
            <p:ph type="title"/>
          </p:nvPr>
        </p:nvSpPr>
        <p:spPr>
          <a:xfrm>
            <a:off x="442913" y="432001"/>
            <a:ext cx="11306175" cy="1387274"/>
          </a:xfrm>
        </p:spPr>
        <p:txBody>
          <a:bodyPr vert="horz"/>
          <a:lstStyle/>
          <a:p>
            <a:r>
              <a:rPr lang="lv-LV"/>
              <a:t>Civilās aizsardzības un katastrofas pārvaldīšanas sistēmas atbildīgās institūcijas</a:t>
            </a:r>
          </a:p>
        </p:txBody>
      </p:sp>
      <p:sp>
        <p:nvSpPr>
          <p:cNvPr id="4" name="Slide Number Placeholder 3"/>
          <p:cNvSpPr>
            <a:spLocks noGrp="1"/>
          </p:cNvSpPr>
          <p:nvPr>
            <p:ph type="sldNum" sz="quarter" idx="11"/>
          </p:nvPr>
        </p:nvSpPr>
        <p:spPr>
          <a:xfrm>
            <a:off x="9984296" y="6492240"/>
            <a:ext cx="1764792" cy="137160"/>
          </a:xfrm>
        </p:spPr>
        <p:txBody>
          <a:bodyPr/>
          <a:lstStyle/>
          <a:p>
            <a:fld id="{F3B79C7E-2A42-4703-9B32-3E662761BF60}" type="slidenum">
              <a:rPr lang="lv-LV" smtClean="0"/>
              <a:pPr/>
              <a:t>15</a:t>
            </a:fld>
            <a:endParaRPr lang="lv-LV"/>
          </a:p>
        </p:txBody>
      </p:sp>
      <p:sp>
        <p:nvSpPr>
          <p:cNvPr id="23" name="Rectangle 22">
            <a:extLst>
              <a:ext uri="{FF2B5EF4-FFF2-40B4-BE49-F238E27FC236}">
                <a16:creationId xmlns:a16="http://schemas.microsoft.com/office/drawing/2014/main" id="{E45F1F02-C964-720E-8F08-A32EE693FF61}"/>
              </a:ext>
            </a:extLst>
          </p:cNvPr>
          <p:cNvSpPr/>
          <p:nvPr/>
        </p:nvSpPr>
        <p:spPr>
          <a:xfrm>
            <a:off x="442913" y="3099335"/>
            <a:ext cx="3670300" cy="1209145"/>
          </a:xfrm>
          <a:prstGeom prst="rect">
            <a:avLst/>
          </a:prstGeom>
          <a:solidFill>
            <a:schemeClr val="bg1">
              <a:lumMod val="95000"/>
            </a:schemeClr>
          </a:solidFill>
          <a:ln w="25400" cap="flat" cmpd="sng" algn="ctr">
            <a:noFill/>
            <a:prstDash val="solid"/>
          </a:ln>
          <a:effectLst/>
        </p:spPr>
        <p:txBody>
          <a:bodyPr wrap="square" lIns="72000" tIns="36000" rIns="72000" bIns="3600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a:t>nodrošina civilās aizsardzības uzdevumu izpildi un katastrofas pārvaldīšanas koordinēšanu valsts, reģionālā un vietējā mērogā atbilstoši likumā noteiktajam kompetenču sadalījumam</a:t>
            </a:r>
          </a:p>
        </p:txBody>
      </p:sp>
      <p:sp>
        <p:nvSpPr>
          <p:cNvPr id="24" name="Rectangle 23">
            <a:extLst>
              <a:ext uri="{FF2B5EF4-FFF2-40B4-BE49-F238E27FC236}">
                <a16:creationId xmlns:a16="http://schemas.microsoft.com/office/drawing/2014/main" id="{DEEC34F6-0FCC-D2C8-A276-257FA960AE79}"/>
              </a:ext>
            </a:extLst>
          </p:cNvPr>
          <p:cNvSpPr/>
          <p:nvPr/>
        </p:nvSpPr>
        <p:spPr>
          <a:xfrm>
            <a:off x="442913" y="1827213"/>
            <a:ext cx="3670300" cy="288000"/>
          </a:xfrm>
          <a:prstGeom prst="rect">
            <a:avLst/>
          </a:prstGeom>
          <a:solidFill>
            <a:srgbClr val="A8192D"/>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b="1">
                <a:solidFill>
                  <a:schemeClr val="bg1"/>
                </a:solidFill>
              </a:rPr>
              <a:t>Ministru prezidents</a:t>
            </a: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57480EF7-E26C-79B3-6FE4-6D6369B602B9}"/>
              </a:ext>
            </a:extLst>
          </p:cNvPr>
          <p:cNvSpPr/>
          <p:nvPr/>
        </p:nvSpPr>
        <p:spPr>
          <a:xfrm>
            <a:off x="442913" y="2809525"/>
            <a:ext cx="3670300" cy="288000"/>
          </a:xfrm>
          <a:prstGeom prst="rect">
            <a:avLst/>
          </a:prstGeom>
          <a:solidFill>
            <a:srgbClr val="525A72"/>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b="1">
                <a:solidFill>
                  <a:schemeClr val="bg1"/>
                </a:solidFill>
              </a:rPr>
              <a:t>Nozaru ministrijas</a:t>
            </a: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91BF21BD-8D7C-A307-97CC-E3851ADAD998}"/>
              </a:ext>
            </a:extLst>
          </p:cNvPr>
          <p:cNvSpPr/>
          <p:nvPr/>
        </p:nvSpPr>
        <p:spPr>
          <a:xfrm>
            <a:off x="442913" y="4466880"/>
            <a:ext cx="3670300" cy="288000"/>
          </a:xfrm>
          <a:prstGeom prst="rect">
            <a:avLst/>
          </a:prstGeom>
          <a:solidFill>
            <a:srgbClr val="A8192D"/>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b="1">
                <a:solidFill>
                  <a:schemeClr val="bg1"/>
                </a:solidFill>
              </a:rPr>
              <a:t>Valsts un pašvaldību institūciju vadītāji</a:t>
            </a: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10FDC9F1-0062-43E8-295B-15266D46CB81}"/>
              </a:ext>
            </a:extLst>
          </p:cNvPr>
          <p:cNvSpPr/>
          <p:nvPr/>
        </p:nvSpPr>
        <p:spPr>
          <a:xfrm>
            <a:off x="442913" y="4754880"/>
            <a:ext cx="3670300" cy="1417320"/>
          </a:xfrm>
          <a:prstGeom prst="rect">
            <a:avLst/>
          </a:prstGeom>
          <a:solidFill>
            <a:schemeClr val="bg1">
              <a:lumMod val="95000"/>
            </a:schemeClr>
          </a:solidFill>
          <a:ln w="25400" cap="flat" cmpd="sng" algn="ctr">
            <a:noFill/>
            <a:prstDash val="solid"/>
          </a:ln>
          <a:effectLst/>
        </p:spPr>
        <p:txBody>
          <a:bodyPr wrap="square" lIns="72000" tIns="36000" rIns="72000" bIns="3600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a:t>plāno un īsteno institūciju nepārtrauktas darbības nodrošināšanai katastrofas vai tās draudu gadījumā nepieciešamo rīcību, nodrošina civilās aizsardzības plānos paredzēto pasākumu precīzu un savlaicīgu izpildi</a:t>
            </a:r>
          </a:p>
        </p:txBody>
      </p:sp>
      <p:sp>
        <p:nvSpPr>
          <p:cNvPr id="51" name="Rectangle 50">
            <a:extLst>
              <a:ext uri="{FF2B5EF4-FFF2-40B4-BE49-F238E27FC236}">
                <a16:creationId xmlns:a16="http://schemas.microsoft.com/office/drawing/2014/main" id="{B4FD485E-F167-8AA9-CB6E-FE1259AA9522}"/>
              </a:ext>
            </a:extLst>
          </p:cNvPr>
          <p:cNvSpPr/>
          <p:nvPr/>
        </p:nvSpPr>
        <p:spPr>
          <a:xfrm>
            <a:off x="4260850" y="4754562"/>
            <a:ext cx="3670300" cy="1417638"/>
          </a:xfrm>
          <a:prstGeom prst="rect">
            <a:avLst/>
          </a:prstGeom>
          <a:solidFill>
            <a:schemeClr val="bg1">
              <a:lumMod val="95000"/>
            </a:schemeClr>
          </a:solidFill>
          <a:ln w="25400" cap="flat" cmpd="sng" algn="ctr">
            <a:noFill/>
            <a:prstDash val="solid"/>
          </a:ln>
          <a:effectLst/>
        </p:spPr>
        <p:txBody>
          <a:bodyPr wrap="square" lIns="72000" tIns="36000" rIns="72000" bIns="3600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a:t>savā administratīvajā teritorijā koordinē katastrofu pārvaldīšanu vietēja mēroga katastrofām – ēku un būvju sabrukuma, siltumapgādes, ūdensapgādes, notekūdeņu un kanalizācijas sistēmas avāriju gadījumos</a:t>
            </a:r>
          </a:p>
        </p:txBody>
      </p:sp>
      <p:sp>
        <p:nvSpPr>
          <p:cNvPr id="52" name="Rectangle 51">
            <a:extLst>
              <a:ext uri="{FF2B5EF4-FFF2-40B4-BE49-F238E27FC236}">
                <a16:creationId xmlns:a16="http://schemas.microsoft.com/office/drawing/2014/main" id="{561CDB54-0B11-4B9A-A599-38447B5D47A6}"/>
              </a:ext>
            </a:extLst>
          </p:cNvPr>
          <p:cNvSpPr/>
          <p:nvPr/>
        </p:nvSpPr>
        <p:spPr>
          <a:xfrm>
            <a:off x="4260850" y="1827213"/>
            <a:ext cx="3670300" cy="287338"/>
          </a:xfrm>
          <a:prstGeom prst="rect">
            <a:avLst/>
          </a:prstGeom>
          <a:solidFill>
            <a:srgbClr val="525A72"/>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b="1">
                <a:solidFill>
                  <a:schemeClr val="bg1"/>
                </a:solidFill>
              </a:rPr>
              <a:t>Iekšlietu ministrija</a:t>
            </a: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75992168-C230-8132-71E4-1A278C128433}"/>
              </a:ext>
            </a:extLst>
          </p:cNvPr>
          <p:cNvSpPr/>
          <p:nvPr/>
        </p:nvSpPr>
        <p:spPr>
          <a:xfrm>
            <a:off x="4260850" y="2116138"/>
            <a:ext cx="3670300" cy="534988"/>
          </a:xfrm>
          <a:prstGeom prst="rect">
            <a:avLst/>
          </a:prstGeom>
          <a:solidFill>
            <a:schemeClr val="bg1">
              <a:lumMod val="95000"/>
            </a:schemeClr>
          </a:solidFill>
          <a:ln w="25400" cap="flat" cmpd="sng" algn="ctr">
            <a:noFill/>
            <a:prstDash val="solid"/>
          </a:ln>
          <a:effectLst/>
        </p:spPr>
        <p:txBody>
          <a:bodyPr lIns="72000" tIns="36000" rIns="72000" bIns="3600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a:t>uzrauga civilās aizsardzības sistēmas darbību un tās uzdevumu izpildi </a:t>
            </a:r>
            <a:endParaRPr kumimoji="0" lang="lv-LV" sz="1400" b="1" i="0" u="none" strike="noStrike" kern="0" cap="none" spc="0" normalizeH="0" baseline="0">
              <a:ln>
                <a:noFill/>
              </a:ln>
              <a:solidFill>
                <a:srgbClr val="000000"/>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8E63A1AA-701B-5F45-B838-1BDFB0811BF3}"/>
              </a:ext>
            </a:extLst>
          </p:cNvPr>
          <p:cNvSpPr/>
          <p:nvPr/>
        </p:nvSpPr>
        <p:spPr>
          <a:xfrm>
            <a:off x="4260850" y="2809525"/>
            <a:ext cx="3670300" cy="287338"/>
          </a:xfrm>
          <a:prstGeom prst="rect">
            <a:avLst/>
          </a:prstGeom>
          <a:solidFill>
            <a:srgbClr val="A8192D"/>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b="1">
                <a:solidFill>
                  <a:schemeClr val="bg1"/>
                </a:solidFill>
              </a:rPr>
              <a:t>Pašvaldības domes priekšsēdētājs</a:t>
            </a: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55" name="Rectangle 54">
            <a:extLst>
              <a:ext uri="{FF2B5EF4-FFF2-40B4-BE49-F238E27FC236}">
                <a16:creationId xmlns:a16="http://schemas.microsoft.com/office/drawing/2014/main" id="{5829EF3D-2765-04A5-F92B-707E4ECA376A}"/>
              </a:ext>
            </a:extLst>
          </p:cNvPr>
          <p:cNvSpPr/>
          <p:nvPr/>
        </p:nvSpPr>
        <p:spPr>
          <a:xfrm>
            <a:off x="4260850" y="3098800"/>
            <a:ext cx="3670300" cy="1209675"/>
          </a:xfrm>
          <a:prstGeom prst="rect">
            <a:avLst/>
          </a:prstGeom>
          <a:solidFill>
            <a:schemeClr val="bg1">
              <a:lumMod val="95000"/>
            </a:schemeClr>
          </a:solidFill>
          <a:ln w="25400" cap="flat" cmpd="sng" algn="ctr">
            <a:noFill/>
            <a:prstDash val="solid"/>
          </a:ln>
          <a:effectLst/>
        </p:spPr>
        <p:txBody>
          <a:bodyPr wrap="square" lIns="72000" tIns="36000" rIns="72000" bIns="3600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a:t>vada civilās aizsardzības uzdevumu izpildi pašvaldībā</a:t>
            </a:r>
            <a:endParaRPr kumimoji="0" lang="lv-LV" sz="1400" b="1" i="0" u="none" strike="noStrike" kern="0" cap="none" spc="0" normalizeH="0" baseline="0">
              <a:ln>
                <a:noFill/>
              </a:ln>
              <a:solidFill>
                <a:srgbClr val="000000"/>
              </a:solidFill>
              <a:effectLst/>
              <a:uLnTx/>
              <a:uFillTx/>
              <a:latin typeface="Arial"/>
              <a:ea typeface="+mn-ea"/>
              <a:cs typeface="+mn-cs"/>
            </a:endParaRPr>
          </a:p>
        </p:txBody>
      </p:sp>
      <p:sp>
        <p:nvSpPr>
          <p:cNvPr id="56" name="Rectangle 55">
            <a:extLst>
              <a:ext uri="{FF2B5EF4-FFF2-40B4-BE49-F238E27FC236}">
                <a16:creationId xmlns:a16="http://schemas.microsoft.com/office/drawing/2014/main" id="{A9C4FCB5-6C8F-A789-CBA3-6C64ACB2C6A7}"/>
              </a:ext>
            </a:extLst>
          </p:cNvPr>
          <p:cNvSpPr/>
          <p:nvPr/>
        </p:nvSpPr>
        <p:spPr>
          <a:xfrm>
            <a:off x="4260850" y="4467542"/>
            <a:ext cx="3670300" cy="287338"/>
          </a:xfrm>
          <a:prstGeom prst="rect">
            <a:avLst/>
          </a:prstGeom>
          <a:solidFill>
            <a:srgbClr val="525A72"/>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b="1">
                <a:solidFill>
                  <a:schemeClr val="bg1"/>
                </a:solidFill>
              </a:rPr>
              <a:t>Pašvaldība</a:t>
            </a: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C5E31F34-FCB1-0D67-2136-2084D697E02B}"/>
              </a:ext>
            </a:extLst>
          </p:cNvPr>
          <p:cNvSpPr/>
          <p:nvPr/>
        </p:nvSpPr>
        <p:spPr>
          <a:xfrm>
            <a:off x="8078788" y="3004048"/>
            <a:ext cx="3670300" cy="482085"/>
          </a:xfrm>
          <a:prstGeom prst="rect">
            <a:avLst/>
          </a:prstGeom>
          <a:solidFill>
            <a:srgbClr val="525A72"/>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b="1">
                <a:solidFill>
                  <a:schemeClr val="bg1"/>
                </a:solidFill>
              </a:rPr>
              <a:t>Valsts ugunsdzēsības</a:t>
            </a:r>
            <a:r>
              <a:rPr lang="en-US" sz="1400" b="1">
                <a:solidFill>
                  <a:schemeClr val="bg1"/>
                </a:solidFill>
              </a:rPr>
              <a:t> </a:t>
            </a:r>
            <a:r>
              <a:rPr lang="lv-LV" sz="1400" b="1">
                <a:solidFill>
                  <a:schemeClr val="bg1"/>
                </a:solidFill>
              </a:rPr>
              <a:t>un glābšanas dienests</a:t>
            </a: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58" name="Rectangle 57">
            <a:extLst>
              <a:ext uri="{FF2B5EF4-FFF2-40B4-BE49-F238E27FC236}">
                <a16:creationId xmlns:a16="http://schemas.microsoft.com/office/drawing/2014/main" id="{B44BA6E0-43A3-4DFC-7D97-393B65228ECB}"/>
              </a:ext>
            </a:extLst>
          </p:cNvPr>
          <p:cNvSpPr/>
          <p:nvPr/>
        </p:nvSpPr>
        <p:spPr>
          <a:xfrm>
            <a:off x="8078788" y="2309298"/>
            <a:ext cx="3670300" cy="534988"/>
          </a:xfrm>
          <a:prstGeom prst="rect">
            <a:avLst/>
          </a:prstGeom>
          <a:solidFill>
            <a:schemeClr val="bg1">
              <a:lumMod val="95000"/>
            </a:schemeClr>
          </a:solidFill>
          <a:ln w="25400" cap="flat" cmpd="sng" algn="ctr">
            <a:noFill/>
            <a:prstDash val="solid"/>
          </a:ln>
          <a:effectLst/>
        </p:spPr>
        <p:txBody>
          <a:bodyPr wrap="square" lIns="72000" tIns="36000" rIns="72000" bIns="3600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a:t>vada, koordinē un kontrolē civilās aizsardzības sistēmas darbību</a:t>
            </a:r>
          </a:p>
        </p:txBody>
      </p:sp>
      <p:sp>
        <p:nvSpPr>
          <p:cNvPr id="59" name="Rectangle 58">
            <a:extLst>
              <a:ext uri="{FF2B5EF4-FFF2-40B4-BE49-F238E27FC236}">
                <a16:creationId xmlns:a16="http://schemas.microsoft.com/office/drawing/2014/main" id="{6B444EF6-5BE0-7B70-8CD4-262B2EFDD437}"/>
              </a:ext>
            </a:extLst>
          </p:cNvPr>
          <p:cNvSpPr/>
          <p:nvPr/>
        </p:nvSpPr>
        <p:spPr>
          <a:xfrm>
            <a:off x="8078788" y="1827213"/>
            <a:ext cx="3670300" cy="482085"/>
          </a:xfrm>
          <a:prstGeom prst="rect">
            <a:avLst/>
          </a:prstGeom>
          <a:solidFill>
            <a:srgbClr val="A8192D"/>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b="1" dirty="0">
                <a:solidFill>
                  <a:schemeClr val="bg1"/>
                </a:solidFill>
              </a:rPr>
              <a:t>Pašvaldību sadarbības teritorijas</a:t>
            </a:r>
            <a:r>
              <a:rPr lang="en-US" sz="1400" b="1" dirty="0">
                <a:solidFill>
                  <a:schemeClr val="bg1"/>
                </a:solidFill>
              </a:rPr>
              <a:t> </a:t>
            </a:r>
            <a:r>
              <a:rPr lang="lv-LV" sz="1400" b="1" dirty="0">
                <a:solidFill>
                  <a:schemeClr val="bg1"/>
                </a:solidFill>
              </a:rPr>
              <a:t>civilās aizsardzības komisija</a:t>
            </a:r>
            <a:endParaRPr kumimoji="0" lang="lv-LV" sz="1400" b="1" i="0" u="none" strike="noStrike" kern="0" cap="none" spc="0" normalizeH="0" baseline="0" dirty="0">
              <a:ln>
                <a:noFill/>
              </a:ln>
              <a:solidFill>
                <a:schemeClr val="bg1"/>
              </a:solidFill>
              <a:effectLst/>
              <a:uLnTx/>
              <a:uFillTx/>
              <a:latin typeface="Arial"/>
              <a:ea typeface="+mn-ea"/>
              <a:cs typeface="+mn-cs"/>
            </a:endParaRPr>
          </a:p>
        </p:txBody>
      </p:sp>
      <p:sp>
        <p:nvSpPr>
          <p:cNvPr id="60" name="Rectangle 59">
            <a:extLst>
              <a:ext uri="{FF2B5EF4-FFF2-40B4-BE49-F238E27FC236}">
                <a16:creationId xmlns:a16="http://schemas.microsoft.com/office/drawing/2014/main" id="{EEFC052F-1E24-EE1F-2A55-AFB2ACA441EF}"/>
              </a:ext>
            </a:extLst>
          </p:cNvPr>
          <p:cNvSpPr/>
          <p:nvPr/>
        </p:nvSpPr>
        <p:spPr>
          <a:xfrm>
            <a:off x="8078788" y="3482381"/>
            <a:ext cx="3670300" cy="826094"/>
          </a:xfrm>
          <a:prstGeom prst="rect">
            <a:avLst/>
          </a:prstGeom>
          <a:solidFill>
            <a:schemeClr val="bg1">
              <a:lumMod val="95000"/>
            </a:schemeClr>
          </a:solidFill>
          <a:ln w="25400" cap="flat" cmpd="sng" algn="ctr">
            <a:noFill/>
            <a:prstDash val="solid"/>
          </a:ln>
          <a:effectLst/>
        </p:spPr>
        <p:txBody>
          <a:bodyPr wrap="square" lIns="72000" tIns="36000" rIns="72000" bIns="3600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lv-LV" sz="1400"/>
              <a:t>koordinē pasākumus katastrofas vai tās draudu gadījumā</a:t>
            </a:r>
            <a:endParaRPr kumimoji="0" lang="lv-LV" sz="1400" b="1" i="0" u="none" strike="noStrike" kern="0" cap="none" spc="0" normalizeH="0" baseline="0">
              <a:ln>
                <a:noFill/>
              </a:ln>
              <a:solidFill>
                <a:srgbClr val="000000"/>
              </a:solidFill>
              <a:effectLst/>
              <a:uLnTx/>
              <a:uFillTx/>
              <a:latin typeface="Arial"/>
              <a:ea typeface="+mn-ea"/>
              <a:cs typeface="+mn-cs"/>
            </a:endParaRPr>
          </a:p>
        </p:txBody>
      </p:sp>
      <p:pic>
        <p:nvPicPr>
          <p:cNvPr id="62" name="Picture 61">
            <a:extLst>
              <a:ext uri="{FF2B5EF4-FFF2-40B4-BE49-F238E27FC236}">
                <a16:creationId xmlns:a16="http://schemas.microsoft.com/office/drawing/2014/main" id="{A1306CF3-0256-36AB-C2B9-F0C10FE89F58}"/>
              </a:ext>
            </a:extLst>
          </p:cNvPr>
          <p:cNvPicPr>
            <a:picLocks noChangeAspect="1"/>
          </p:cNvPicPr>
          <p:nvPr/>
        </p:nvPicPr>
        <p:blipFill rotWithShape="1">
          <a:blip r:embed="rId2"/>
          <a:srcRect t="17402"/>
          <a:stretch/>
        </p:blipFill>
        <p:spPr>
          <a:xfrm>
            <a:off x="8078786" y="4466880"/>
            <a:ext cx="3670301" cy="1705319"/>
          </a:xfrm>
          <a:prstGeom prst="rect">
            <a:avLst/>
          </a:prstGeom>
        </p:spPr>
      </p:pic>
      <p:sp>
        <p:nvSpPr>
          <p:cNvPr id="71" name="Rectangle 70">
            <a:extLst>
              <a:ext uri="{FF2B5EF4-FFF2-40B4-BE49-F238E27FC236}">
                <a16:creationId xmlns:a16="http://schemas.microsoft.com/office/drawing/2014/main" id="{A18E4CFB-C614-EEB8-9F22-5BCFB0E4794F}"/>
              </a:ext>
            </a:extLst>
          </p:cNvPr>
          <p:cNvSpPr/>
          <p:nvPr/>
        </p:nvSpPr>
        <p:spPr>
          <a:xfrm>
            <a:off x="442913" y="1827213"/>
            <a:ext cx="72000" cy="288000"/>
          </a:xfrm>
          <a:prstGeom prst="rect">
            <a:avLst/>
          </a:prstGeom>
          <a:solidFill>
            <a:srgbClr val="CFD6E8"/>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72" name="Rectangle 71">
            <a:extLst>
              <a:ext uri="{FF2B5EF4-FFF2-40B4-BE49-F238E27FC236}">
                <a16:creationId xmlns:a16="http://schemas.microsoft.com/office/drawing/2014/main" id="{881DEF99-D4C6-55BA-956F-1D8578FF812B}"/>
              </a:ext>
            </a:extLst>
          </p:cNvPr>
          <p:cNvSpPr/>
          <p:nvPr/>
        </p:nvSpPr>
        <p:spPr>
          <a:xfrm>
            <a:off x="442913" y="2809525"/>
            <a:ext cx="72000" cy="288000"/>
          </a:xfrm>
          <a:prstGeom prst="rect">
            <a:avLst/>
          </a:prstGeom>
          <a:solidFill>
            <a:srgbClr val="D18D85"/>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73" name="Rectangle 72">
            <a:extLst>
              <a:ext uri="{FF2B5EF4-FFF2-40B4-BE49-F238E27FC236}">
                <a16:creationId xmlns:a16="http://schemas.microsoft.com/office/drawing/2014/main" id="{78B07236-4649-F429-1521-1E756BB479F4}"/>
              </a:ext>
            </a:extLst>
          </p:cNvPr>
          <p:cNvSpPr/>
          <p:nvPr/>
        </p:nvSpPr>
        <p:spPr>
          <a:xfrm>
            <a:off x="442913" y="4466880"/>
            <a:ext cx="72000" cy="288000"/>
          </a:xfrm>
          <a:prstGeom prst="rect">
            <a:avLst/>
          </a:prstGeom>
          <a:solidFill>
            <a:srgbClr val="CFD6E8"/>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74" name="Rectangle 73">
            <a:extLst>
              <a:ext uri="{FF2B5EF4-FFF2-40B4-BE49-F238E27FC236}">
                <a16:creationId xmlns:a16="http://schemas.microsoft.com/office/drawing/2014/main" id="{E7205BC0-CD6F-37FB-E7A8-11E2B6D030B6}"/>
              </a:ext>
            </a:extLst>
          </p:cNvPr>
          <p:cNvSpPr/>
          <p:nvPr/>
        </p:nvSpPr>
        <p:spPr>
          <a:xfrm>
            <a:off x="4260850" y="1827213"/>
            <a:ext cx="72000" cy="287338"/>
          </a:xfrm>
          <a:prstGeom prst="rect">
            <a:avLst/>
          </a:prstGeom>
          <a:solidFill>
            <a:srgbClr val="D18D85"/>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75" name="Rectangle 74">
            <a:extLst>
              <a:ext uri="{FF2B5EF4-FFF2-40B4-BE49-F238E27FC236}">
                <a16:creationId xmlns:a16="http://schemas.microsoft.com/office/drawing/2014/main" id="{409F003D-2BCA-88C0-5842-A181453CF1F7}"/>
              </a:ext>
            </a:extLst>
          </p:cNvPr>
          <p:cNvSpPr/>
          <p:nvPr/>
        </p:nvSpPr>
        <p:spPr>
          <a:xfrm>
            <a:off x="4260850" y="2809525"/>
            <a:ext cx="72000" cy="287338"/>
          </a:xfrm>
          <a:prstGeom prst="rect">
            <a:avLst/>
          </a:prstGeom>
          <a:solidFill>
            <a:srgbClr val="CFD6E8"/>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76" name="Rectangle 75">
            <a:extLst>
              <a:ext uri="{FF2B5EF4-FFF2-40B4-BE49-F238E27FC236}">
                <a16:creationId xmlns:a16="http://schemas.microsoft.com/office/drawing/2014/main" id="{95A84400-7ED0-6145-9F45-252060FA706B}"/>
              </a:ext>
            </a:extLst>
          </p:cNvPr>
          <p:cNvSpPr/>
          <p:nvPr/>
        </p:nvSpPr>
        <p:spPr>
          <a:xfrm>
            <a:off x="4260850" y="4467542"/>
            <a:ext cx="72000" cy="287338"/>
          </a:xfrm>
          <a:prstGeom prst="rect">
            <a:avLst/>
          </a:prstGeom>
          <a:solidFill>
            <a:srgbClr val="D18D85"/>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77" name="Rectangle 76">
            <a:extLst>
              <a:ext uri="{FF2B5EF4-FFF2-40B4-BE49-F238E27FC236}">
                <a16:creationId xmlns:a16="http://schemas.microsoft.com/office/drawing/2014/main" id="{E2B14FFD-89ED-0A4E-6408-0C0AEFFB101A}"/>
              </a:ext>
            </a:extLst>
          </p:cNvPr>
          <p:cNvSpPr/>
          <p:nvPr/>
        </p:nvSpPr>
        <p:spPr>
          <a:xfrm>
            <a:off x="8078788" y="3004048"/>
            <a:ext cx="72000" cy="482085"/>
          </a:xfrm>
          <a:prstGeom prst="rect">
            <a:avLst/>
          </a:prstGeom>
          <a:solidFill>
            <a:srgbClr val="D18D85"/>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78" name="Rectangle 77">
            <a:extLst>
              <a:ext uri="{FF2B5EF4-FFF2-40B4-BE49-F238E27FC236}">
                <a16:creationId xmlns:a16="http://schemas.microsoft.com/office/drawing/2014/main" id="{4C152AB0-056B-8D1F-7150-01AE827488E0}"/>
              </a:ext>
            </a:extLst>
          </p:cNvPr>
          <p:cNvSpPr/>
          <p:nvPr/>
        </p:nvSpPr>
        <p:spPr>
          <a:xfrm>
            <a:off x="8078788" y="1827213"/>
            <a:ext cx="72000" cy="482085"/>
          </a:xfrm>
          <a:prstGeom prst="rect">
            <a:avLst/>
          </a:prstGeom>
          <a:solidFill>
            <a:srgbClr val="CFD6E8"/>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3" name="Rectangle 2">
            <a:extLst>
              <a:ext uri="{FF2B5EF4-FFF2-40B4-BE49-F238E27FC236}">
                <a16:creationId xmlns:a16="http://schemas.microsoft.com/office/drawing/2014/main" id="{F1A5A26E-574D-2AC5-4F80-E48A4066AE2F}"/>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rgbClr val="A4A3B2"/>
                </a:solidFill>
                <a:effectLst/>
                <a:uLnTx/>
                <a:uFillTx/>
                <a:ea typeface="Georgia"/>
                <a:cs typeface="Georgia"/>
                <a:sym typeface="Georgia"/>
              </a:rPr>
              <a:t>2. CIVILĀS AIZSARDZĪBAS SISTĒMA UN NORMATĪVAIS UN POLITIKAS PLĀNOŠANAS IETVARS</a:t>
            </a:r>
          </a:p>
        </p:txBody>
      </p:sp>
      <p:grpSp>
        <p:nvGrpSpPr>
          <p:cNvPr id="5" name="Group 4">
            <a:extLst>
              <a:ext uri="{FF2B5EF4-FFF2-40B4-BE49-F238E27FC236}">
                <a16:creationId xmlns:a16="http://schemas.microsoft.com/office/drawing/2014/main" id="{2E5C4B12-A1C3-EEA5-4D70-B9A7A6A9EC17}"/>
              </a:ext>
            </a:extLst>
          </p:cNvPr>
          <p:cNvGrpSpPr/>
          <p:nvPr/>
        </p:nvGrpSpPr>
        <p:grpSpPr>
          <a:xfrm>
            <a:off x="6597001" y="124926"/>
            <a:ext cx="5150498" cy="230498"/>
            <a:chOff x="6351171" y="122774"/>
            <a:chExt cx="5150498" cy="230498"/>
          </a:xfrm>
        </p:grpSpPr>
        <p:sp>
          <p:nvSpPr>
            <p:cNvPr id="6" name="Rectangle 5">
              <a:extLst>
                <a:ext uri="{FF2B5EF4-FFF2-40B4-BE49-F238E27FC236}">
                  <a16:creationId xmlns:a16="http://schemas.microsoft.com/office/drawing/2014/main" id="{7A28CDDA-E3FE-D587-6157-67C6532B1B78}"/>
                </a:ext>
              </a:extLst>
            </p:cNvPr>
            <p:cNvSpPr/>
            <p:nvPr/>
          </p:nvSpPr>
          <p:spPr>
            <a:xfrm>
              <a:off x="6607666"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a:lnSpc>
                  <a:spcPct val="100000"/>
                </a:lnSpc>
                <a:spcBef>
                  <a:spcPts val="0"/>
                </a:spcBef>
                <a:spcAft>
                  <a:spcPts val="0"/>
                </a:spcAft>
                <a:buNone/>
                <a:tabLst/>
                <a:defRPr/>
              </a:pPr>
              <a:r>
                <a:rPr lang="lv-LV" sz="800" b="1" kern="0">
                  <a:solidFill>
                    <a:srgbClr val="A4A3B2"/>
                  </a:solidFill>
                  <a:sym typeface="Georgia"/>
                </a:rPr>
                <a:t>2.2</a:t>
              </a:r>
            </a:p>
          </p:txBody>
        </p:sp>
        <p:sp>
          <p:nvSpPr>
            <p:cNvPr id="7" name="Rectangle 6">
              <a:extLst>
                <a:ext uri="{FF2B5EF4-FFF2-40B4-BE49-F238E27FC236}">
                  <a16:creationId xmlns:a16="http://schemas.microsoft.com/office/drawing/2014/main" id="{CE3CFA3C-9E2D-272A-F0B5-80B1CE3BDE6E}"/>
                </a:ext>
              </a:extLst>
            </p:cNvPr>
            <p:cNvSpPr/>
            <p:nvPr/>
          </p:nvSpPr>
          <p:spPr>
            <a:xfrm>
              <a:off x="6854868" y="12277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a:lnSpc>
                  <a:spcPct val="100000"/>
                </a:lnSpc>
                <a:spcBef>
                  <a:spcPts val="0"/>
                </a:spcBef>
                <a:spcAft>
                  <a:spcPts val="0"/>
                </a:spcAft>
                <a:buNone/>
                <a:tabLst/>
                <a:defRPr/>
              </a:pPr>
              <a:r>
                <a:rPr lang="lv-LV" sz="800" b="1" kern="0">
                  <a:sym typeface="Georgia"/>
                </a:rPr>
                <a:t>2.3</a:t>
              </a:r>
              <a:endParaRPr lang="en-US"/>
            </a:p>
          </p:txBody>
        </p:sp>
        <p:sp>
          <p:nvSpPr>
            <p:cNvPr id="8" name="Rectangle 7">
              <a:extLst>
                <a:ext uri="{FF2B5EF4-FFF2-40B4-BE49-F238E27FC236}">
                  <a16:creationId xmlns:a16="http://schemas.microsoft.com/office/drawing/2014/main" id="{F5AC6665-DADA-D2AC-894D-F929D4AE1580}"/>
                </a:ext>
              </a:extLst>
            </p:cNvPr>
            <p:cNvSpPr/>
            <p:nvPr/>
          </p:nvSpPr>
          <p:spPr>
            <a:xfrm>
              <a:off x="7102070" y="122774"/>
              <a:ext cx="390420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lv-LV" sz="800" b="1">
                  <a:latin typeface="Arial"/>
                  <a:cs typeface="Arial"/>
                </a:rPr>
                <a:t>Civilās aizsardzības sistēmas organizācija un vadība</a:t>
              </a:r>
              <a:endParaRPr lang="en-US"/>
            </a:p>
          </p:txBody>
        </p:sp>
        <p:sp>
          <p:nvSpPr>
            <p:cNvPr id="9" name="Rectangle 8">
              <a:extLst>
                <a:ext uri="{FF2B5EF4-FFF2-40B4-BE49-F238E27FC236}">
                  <a16:creationId xmlns:a16="http://schemas.microsoft.com/office/drawing/2014/main" id="{A4C8CF8A-B227-E183-9262-A2A5F9CE6F2F}"/>
                </a:ext>
              </a:extLst>
            </p:cNvPr>
            <p:cNvSpPr/>
            <p:nvPr/>
          </p:nvSpPr>
          <p:spPr>
            <a:xfrm>
              <a:off x="11038467" y="12277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a:lnSpc>
                  <a:spcPct val="100000"/>
                </a:lnSpc>
                <a:spcBef>
                  <a:spcPts val="0"/>
                </a:spcBef>
                <a:spcAft>
                  <a:spcPts val="0"/>
                </a:spcAft>
                <a:buNone/>
                <a:tabLst/>
                <a:defRPr/>
              </a:pPr>
              <a:r>
                <a:rPr lang="lv-LV" sz="800" b="1" kern="0">
                  <a:solidFill>
                    <a:srgbClr val="A4A3B2"/>
                  </a:solidFill>
                  <a:sym typeface="Georgia"/>
                </a:rPr>
                <a:t>2.4</a:t>
              </a:r>
              <a:endParaRPr lang="en-US"/>
            </a:p>
          </p:txBody>
        </p:sp>
        <p:sp>
          <p:nvSpPr>
            <p:cNvPr id="10" name="Rectangle 9">
              <a:extLst>
                <a:ext uri="{FF2B5EF4-FFF2-40B4-BE49-F238E27FC236}">
                  <a16:creationId xmlns:a16="http://schemas.microsoft.com/office/drawing/2014/main" id="{9FDE5462-F67E-701E-B10C-C66E31757016}"/>
                </a:ext>
              </a:extLst>
            </p:cNvPr>
            <p:cNvSpPr/>
            <p:nvPr/>
          </p:nvSpPr>
          <p:spPr>
            <a:xfrm>
              <a:off x="11285669" y="12277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a:lnSpc>
                  <a:spcPct val="100000"/>
                </a:lnSpc>
                <a:spcBef>
                  <a:spcPts val="0"/>
                </a:spcBef>
                <a:spcAft>
                  <a:spcPts val="0"/>
                </a:spcAft>
                <a:buNone/>
                <a:tabLst/>
                <a:defRPr/>
              </a:pPr>
              <a:r>
                <a:rPr lang="lv-LV" sz="800" b="1" kern="0">
                  <a:solidFill>
                    <a:srgbClr val="A4A3B2"/>
                  </a:solidFill>
                  <a:sym typeface="Georgia"/>
                </a:rPr>
                <a:t>2.5</a:t>
              </a:r>
              <a:endParaRPr lang="en-US"/>
            </a:p>
          </p:txBody>
        </p:sp>
        <p:sp>
          <p:nvSpPr>
            <p:cNvPr id="11" name="Rectangle 10">
              <a:extLst>
                <a:ext uri="{FF2B5EF4-FFF2-40B4-BE49-F238E27FC236}">
                  <a16:creationId xmlns:a16="http://schemas.microsoft.com/office/drawing/2014/main" id="{9C46FF3F-CD77-A4CA-423E-4098F83F24BF}"/>
                </a:ext>
              </a:extLst>
            </p:cNvPr>
            <p:cNvSpPr/>
            <p:nvPr/>
          </p:nvSpPr>
          <p:spPr>
            <a:xfrm>
              <a:off x="6351171" y="13578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a:lnSpc>
                  <a:spcPct val="100000"/>
                </a:lnSpc>
                <a:spcBef>
                  <a:spcPts val="0"/>
                </a:spcBef>
                <a:spcAft>
                  <a:spcPts val="0"/>
                </a:spcAft>
                <a:buNone/>
                <a:tabLst/>
                <a:defRPr/>
              </a:pPr>
              <a:r>
                <a:rPr lang="lv-LV" sz="800" b="1" kern="0">
                  <a:solidFill>
                    <a:srgbClr val="A4A3B2"/>
                  </a:solidFill>
                  <a:sym typeface="Georgia"/>
                </a:rPr>
                <a:t>2.1</a:t>
              </a:r>
              <a:endParaRPr lang="en-US"/>
            </a:p>
          </p:txBody>
        </p:sp>
      </p:grpSp>
    </p:spTree>
    <p:extLst>
      <p:ext uri="{BB962C8B-B14F-4D97-AF65-F5344CB8AC3E}">
        <p14:creationId xmlns:p14="http://schemas.microsoft.com/office/powerpoint/2010/main" val="31288474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Picture 48">
            <a:extLst>
              <a:ext uri="{FF2B5EF4-FFF2-40B4-BE49-F238E27FC236}">
                <a16:creationId xmlns:a16="http://schemas.microsoft.com/office/drawing/2014/main" id="{F71505FF-FF98-D3FF-BE92-489894397393}"/>
              </a:ext>
            </a:extLst>
          </p:cNvPr>
          <p:cNvPicPr>
            <a:picLocks noChangeAspect="1"/>
          </p:cNvPicPr>
          <p:nvPr/>
        </p:nvPicPr>
        <p:blipFill rotWithShape="1">
          <a:blip r:embed="rId3"/>
          <a:srcRect t="65717" b="2122"/>
          <a:stretch/>
        </p:blipFill>
        <p:spPr>
          <a:xfrm>
            <a:off x="442913" y="3748880"/>
            <a:ext cx="11306174" cy="2424115"/>
          </a:xfrm>
          <a:prstGeom prst="rect">
            <a:avLst/>
          </a:prstGeom>
        </p:spPr>
      </p:pic>
      <p:sp>
        <p:nvSpPr>
          <p:cNvPr id="31" name="Title 30">
            <a:extLst>
              <a:ext uri="{FF2B5EF4-FFF2-40B4-BE49-F238E27FC236}">
                <a16:creationId xmlns:a16="http://schemas.microsoft.com/office/drawing/2014/main" id="{FAB8C7BF-E397-506D-FF45-BC8578AECA02}"/>
              </a:ext>
            </a:extLst>
          </p:cNvPr>
          <p:cNvSpPr>
            <a:spLocks noGrp="1"/>
          </p:cNvSpPr>
          <p:nvPr>
            <p:ph type="title"/>
          </p:nvPr>
        </p:nvSpPr>
        <p:spPr>
          <a:xfrm>
            <a:off x="442913" y="431800"/>
            <a:ext cx="11306175" cy="1387475"/>
          </a:xfrm>
        </p:spPr>
        <p:txBody>
          <a:bodyPr vert="horz"/>
          <a:lstStyle/>
          <a:p>
            <a:r>
              <a:rPr lang="lv-LV" altLang="lv-LV"/>
              <a:t>Civilās aizsardzības sistēmas organizācijas pamatā – </a:t>
            </a:r>
            <a:br>
              <a:rPr lang="en-US" altLang="lv-LV"/>
            </a:br>
            <a:r>
              <a:rPr lang="lv-LV" altLang="lv-LV"/>
              <a:t>teritoriju sadarbības princips</a:t>
            </a:r>
            <a:endParaRPr lang="cs-CZ"/>
          </a:p>
        </p:txBody>
      </p:sp>
      <p:sp>
        <p:nvSpPr>
          <p:cNvPr id="4" name="Slide Number Placeholder 3">
            <a:extLst>
              <a:ext uri="{FF2B5EF4-FFF2-40B4-BE49-F238E27FC236}">
                <a16:creationId xmlns:a16="http://schemas.microsoft.com/office/drawing/2014/main" id="{02F42781-1C97-9A4F-FEDB-EA9F3D3C05E2}"/>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a:fld id="{A9DEB5B7-0CCF-447A-91D6-F7DB098D19F7}" type="slidenum">
              <a:rPr lang="lv-LV" altLang="en-US" noProof="0" dirty="0"/>
              <a:pPr lvl="0"/>
              <a:t>16</a:t>
            </a:fld>
            <a:endParaRPr lang="lv-LV" altLang="en-US" noProof="0"/>
          </a:p>
        </p:txBody>
      </p:sp>
      <p:sp>
        <p:nvSpPr>
          <p:cNvPr id="37" name="Rectangle 36">
            <a:extLst>
              <a:ext uri="{FF2B5EF4-FFF2-40B4-BE49-F238E27FC236}">
                <a16:creationId xmlns:a16="http://schemas.microsoft.com/office/drawing/2014/main" id="{F346EEDC-1F89-80EA-F033-BD2D87C3FA56}"/>
              </a:ext>
            </a:extLst>
          </p:cNvPr>
          <p:cNvSpPr/>
          <p:nvPr/>
        </p:nvSpPr>
        <p:spPr>
          <a:xfrm>
            <a:off x="442912" y="1830122"/>
            <a:ext cx="576000" cy="1598878"/>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2800" b="1"/>
          </a:p>
        </p:txBody>
      </p:sp>
      <p:sp>
        <p:nvSpPr>
          <p:cNvPr id="38" name="Rectangle 37">
            <a:extLst>
              <a:ext uri="{FF2B5EF4-FFF2-40B4-BE49-F238E27FC236}">
                <a16:creationId xmlns:a16="http://schemas.microsoft.com/office/drawing/2014/main" id="{352DEB54-7FDE-EE3B-5721-A2A76790BF32}"/>
              </a:ext>
            </a:extLst>
          </p:cNvPr>
          <p:cNvSpPr/>
          <p:nvPr/>
        </p:nvSpPr>
        <p:spPr>
          <a:xfrm>
            <a:off x="1120998" y="1830850"/>
            <a:ext cx="2050185" cy="159815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indent="0">
              <a:buNone/>
              <a:defRPr/>
            </a:pPr>
            <a:r>
              <a:rPr lang="lv-LV" sz="1400">
                <a:solidFill>
                  <a:schemeClr val="tx1"/>
                </a:solidFill>
                <a:ea typeface="+mn-lt"/>
                <a:cs typeface="+mn-lt"/>
              </a:rPr>
              <a:t>Civilās aizsardzības sistēmas struktūras teritoriālās </a:t>
            </a:r>
            <a:r>
              <a:rPr lang="lv-LV" sz="1400" b="1">
                <a:solidFill>
                  <a:schemeClr val="tx1"/>
                </a:solidFill>
                <a:ea typeface="+mn-lt"/>
                <a:cs typeface="+mn-lt"/>
              </a:rPr>
              <a:t>pamatvienības ir novadi un republikas pilsētas.</a:t>
            </a:r>
            <a:endParaRPr lang="en-US" sz="1400" b="1">
              <a:solidFill>
                <a:schemeClr val="tx1"/>
              </a:solidFill>
            </a:endParaRPr>
          </a:p>
        </p:txBody>
      </p:sp>
      <p:sp>
        <p:nvSpPr>
          <p:cNvPr id="39" name="Rectangle 38">
            <a:extLst>
              <a:ext uri="{FF2B5EF4-FFF2-40B4-BE49-F238E27FC236}">
                <a16:creationId xmlns:a16="http://schemas.microsoft.com/office/drawing/2014/main" id="{B1261975-ACAF-B7CD-0411-D85934FDED0F}"/>
              </a:ext>
            </a:extLst>
          </p:cNvPr>
          <p:cNvSpPr/>
          <p:nvPr/>
        </p:nvSpPr>
        <p:spPr>
          <a:xfrm>
            <a:off x="3548977" y="1830122"/>
            <a:ext cx="576000" cy="1598878"/>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2800" b="1"/>
          </a:p>
        </p:txBody>
      </p:sp>
      <p:sp>
        <p:nvSpPr>
          <p:cNvPr id="40" name="Rectangle 39">
            <a:extLst>
              <a:ext uri="{FF2B5EF4-FFF2-40B4-BE49-F238E27FC236}">
                <a16:creationId xmlns:a16="http://schemas.microsoft.com/office/drawing/2014/main" id="{36D6E8CF-BFDF-5A95-3F0B-E732A2ABC0C9}"/>
              </a:ext>
            </a:extLst>
          </p:cNvPr>
          <p:cNvSpPr/>
          <p:nvPr/>
        </p:nvSpPr>
        <p:spPr>
          <a:xfrm>
            <a:off x="4227063" y="1830850"/>
            <a:ext cx="2050185" cy="159815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indent="0">
              <a:buNone/>
              <a:defRPr/>
            </a:pPr>
            <a:r>
              <a:rPr lang="lv-LV" sz="1400" dirty="0">
                <a:solidFill>
                  <a:schemeClr val="tx1"/>
                </a:solidFill>
                <a:ea typeface="+mn-lt"/>
                <a:cs typeface="+mn-lt"/>
              </a:rPr>
              <a:t>Latvijā ir </a:t>
            </a:r>
            <a:r>
              <a:rPr lang="lv-LV" sz="1400" b="1" dirty="0">
                <a:solidFill>
                  <a:schemeClr val="tx1"/>
                </a:solidFill>
                <a:ea typeface="+mn-lt"/>
                <a:cs typeface="+mn-lt"/>
              </a:rPr>
              <a:t>38 pašvaldību sadarbības teritorijas civilās aizsardzības komisijas.</a:t>
            </a:r>
            <a:endParaRPr lang="lv-LV" sz="1400" dirty="0">
              <a:solidFill>
                <a:schemeClr val="tx1"/>
              </a:solidFill>
              <a:ea typeface="+mn-lt"/>
              <a:cs typeface="+mn-lt"/>
            </a:endParaRPr>
          </a:p>
        </p:txBody>
      </p:sp>
      <p:sp>
        <p:nvSpPr>
          <p:cNvPr id="41" name="Rectangle 40">
            <a:extLst>
              <a:ext uri="{FF2B5EF4-FFF2-40B4-BE49-F238E27FC236}">
                <a16:creationId xmlns:a16="http://schemas.microsoft.com/office/drawing/2014/main" id="{DFF635C4-5891-C4F2-1E91-37A0224329A3}"/>
              </a:ext>
            </a:extLst>
          </p:cNvPr>
          <p:cNvSpPr/>
          <p:nvPr/>
        </p:nvSpPr>
        <p:spPr>
          <a:xfrm>
            <a:off x="6655041" y="1830122"/>
            <a:ext cx="576000" cy="1598878"/>
          </a:xfrm>
          <a:prstGeom prst="rect">
            <a:avLst/>
          </a:prstGeom>
          <a:solidFill>
            <a:srgbClr val="A4A3B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2800" b="1"/>
          </a:p>
        </p:txBody>
      </p:sp>
      <p:sp>
        <p:nvSpPr>
          <p:cNvPr id="42" name="Rectangle 41">
            <a:extLst>
              <a:ext uri="{FF2B5EF4-FFF2-40B4-BE49-F238E27FC236}">
                <a16:creationId xmlns:a16="http://schemas.microsoft.com/office/drawing/2014/main" id="{5F494258-283A-E20E-984C-57F69A3BAA29}"/>
              </a:ext>
            </a:extLst>
          </p:cNvPr>
          <p:cNvSpPr/>
          <p:nvPr/>
        </p:nvSpPr>
        <p:spPr>
          <a:xfrm>
            <a:off x="7333126" y="1830850"/>
            <a:ext cx="4422311" cy="159815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indent="0">
              <a:buNone/>
              <a:defRPr/>
            </a:pPr>
            <a:r>
              <a:rPr lang="lv-LV" sz="1400" b="1" dirty="0">
                <a:solidFill>
                  <a:schemeClr val="tx1"/>
                </a:solidFill>
                <a:ea typeface="+mn-lt"/>
                <a:cs typeface="+mn-lt"/>
              </a:rPr>
              <a:t>Komisijas darbības mērķis ir koordinēt pasākumus </a:t>
            </a:r>
            <a:r>
              <a:rPr lang="lv-LV" sz="1400" dirty="0">
                <a:solidFill>
                  <a:schemeClr val="tx1"/>
                </a:solidFill>
                <a:ea typeface="+mn-lt"/>
                <a:cs typeface="+mn-lt"/>
              </a:rPr>
              <a:t>katastrofas un katastrofas draudu gadījumā, kā arī </a:t>
            </a:r>
            <a:r>
              <a:rPr lang="lv-LV" sz="1400" b="1" dirty="0">
                <a:solidFill>
                  <a:schemeClr val="tx1"/>
                </a:solidFill>
                <a:ea typeface="+mn-lt"/>
                <a:cs typeface="+mn-lt"/>
              </a:rPr>
              <a:t>veicināt civilās aizsardzības, katastrofas pārvaldīšanas vai katastrofas pārvaldīšanas koordinēšanas jautājumu risināšanu</a:t>
            </a:r>
            <a:r>
              <a:rPr lang="lv-LV" sz="1400" dirty="0">
                <a:solidFill>
                  <a:schemeClr val="tx1"/>
                </a:solidFill>
                <a:ea typeface="+mn-lt"/>
                <a:cs typeface="+mn-lt"/>
              </a:rPr>
              <a:t>.</a:t>
            </a:r>
          </a:p>
        </p:txBody>
      </p:sp>
      <p:sp>
        <p:nvSpPr>
          <p:cNvPr id="44" name="Rectangle 43">
            <a:extLst>
              <a:ext uri="{FF2B5EF4-FFF2-40B4-BE49-F238E27FC236}">
                <a16:creationId xmlns:a16="http://schemas.microsoft.com/office/drawing/2014/main" id="{BB951536-D0CC-F2BE-A7D7-CE45FE6D4C9C}"/>
              </a:ext>
            </a:extLst>
          </p:cNvPr>
          <p:cNvSpPr/>
          <p:nvPr/>
        </p:nvSpPr>
        <p:spPr>
          <a:xfrm rot="5400000">
            <a:off x="6060282" y="484188"/>
            <a:ext cx="71438" cy="11306175"/>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0" name="Google Shape;1397;p89">
            <a:extLst>
              <a:ext uri="{FF2B5EF4-FFF2-40B4-BE49-F238E27FC236}">
                <a16:creationId xmlns:a16="http://schemas.microsoft.com/office/drawing/2014/main" id="{EFB27379-D2EF-64D4-4C11-E01C33AE8E7C}"/>
              </a:ext>
            </a:extLst>
          </p:cNvPr>
          <p:cNvSpPr/>
          <p:nvPr/>
        </p:nvSpPr>
        <p:spPr>
          <a:xfrm>
            <a:off x="550912" y="2449561"/>
            <a:ext cx="360000" cy="360000"/>
          </a:xfrm>
          <a:custGeom>
            <a:avLst/>
            <a:gdLst/>
            <a:ahLst/>
            <a:cxnLst/>
            <a:rect l="l" t="t" r="r" b="b"/>
            <a:pathLst>
              <a:path w="453744" h="453590" extrusionOk="0">
                <a:moveTo>
                  <a:pt x="0" y="0"/>
                </a:moveTo>
                <a:lnTo>
                  <a:pt x="0" y="453590"/>
                </a:lnTo>
                <a:lnTo>
                  <a:pt x="453744" y="453590"/>
                </a:lnTo>
                <a:lnTo>
                  <a:pt x="453744" y="0"/>
                </a:lnTo>
                <a:close/>
                <a:moveTo>
                  <a:pt x="434397" y="434250"/>
                </a:moveTo>
                <a:lnTo>
                  <a:pt x="19284" y="434250"/>
                </a:lnTo>
                <a:lnTo>
                  <a:pt x="19284" y="19183"/>
                </a:lnTo>
                <a:lnTo>
                  <a:pt x="434334" y="19183"/>
                </a:lnTo>
                <a:close/>
                <a:moveTo>
                  <a:pt x="293831" y="122406"/>
                </a:moveTo>
                <a:cubicBezTo>
                  <a:pt x="290459" y="111872"/>
                  <a:pt x="284662" y="102279"/>
                  <a:pt x="276879" y="94403"/>
                </a:cubicBezTo>
                <a:lnTo>
                  <a:pt x="276626" y="94151"/>
                </a:lnTo>
                <a:cubicBezTo>
                  <a:pt x="249055" y="66427"/>
                  <a:pt x="204217" y="66291"/>
                  <a:pt x="176488" y="93848"/>
                </a:cubicBezTo>
                <a:cubicBezTo>
                  <a:pt x="164451" y="105806"/>
                  <a:pt x="157109" y="121686"/>
                  <a:pt x="155817" y="138597"/>
                </a:cubicBezTo>
                <a:lnTo>
                  <a:pt x="79122" y="117965"/>
                </a:lnTo>
                <a:cubicBezTo>
                  <a:pt x="73765" y="116556"/>
                  <a:pt x="68250" y="119765"/>
                  <a:pt x="66833" y="125132"/>
                </a:cubicBezTo>
                <a:cubicBezTo>
                  <a:pt x="66612" y="125970"/>
                  <a:pt x="66518" y="126832"/>
                  <a:pt x="66518" y="127698"/>
                </a:cubicBezTo>
                <a:lnTo>
                  <a:pt x="66518" y="339563"/>
                </a:lnTo>
                <a:cubicBezTo>
                  <a:pt x="66518" y="344117"/>
                  <a:pt x="69543" y="348112"/>
                  <a:pt x="73954" y="349296"/>
                </a:cubicBezTo>
                <a:lnTo>
                  <a:pt x="177937" y="377299"/>
                </a:lnTo>
                <a:lnTo>
                  <a:pt x="177937" y="377299"/>
                </a:lnTo>
                <a:lnTo>
                  <a:pt x="178252" y="377299"/>
                </a:lnTo>
                <a:cubicBezTo>
                  <a:pt x="179103" y="377526"/>
                  <a:pt x="179986" y="377642"/>
                  <a:pt x="180867" y="377645"/>
                </a:cubicBezTo>
                <a:cubicBezTo>
                  <a:pt x="181876" y="377639"/>
                  <a:pt x="182853" y="377488"/>
                  <a:pt x="183830" y="377204"/>
                </a:cubicBezTo>
                <a:lnTo>
                  <a:pt x="273034" y="349737"/>
                </a:lnTo>
                <a:cubicBezTo>
                  <a:pt x="273570" y="349734"/>
                  <a:pt x="274106" y="349680"/>
                  <a:pt x="274609" y="349579"/>
                </a:cubicBezTo>
                <a:lnTo>
                  <a:pt x="387226" y="379913"/>
                </a:lnTo>
                <a:lnTo>
                  <a:pt x="387226" y="147354"/>
                </a:lnTo>
                <a:close/>
                <a:moveTo>
                  <a:pt x="169902" y="354430"/>
                </a:moveTo>
                <a:lnTo>
                  <a:pt x="86653" y="332003"/>
                </a:lnTo>
                <a:lnTo>
                  <a:pt x="86653" y="140991"/>
                </a:lnTo>
                <a:lnTo>
                  <a:pt x="157519" y="160080"/>
                </a:lnTo>
                <a:cubicBezTo>
                  <a:pt x="159724" y="169721"/>
                  <a:pt x="163947" y="178790"/>
                  <a:pt x="169902" y="186696"/>
                </a:cubicBezTo>
                <a:close/>
                <a:moveTo>
                  <a:pt x="262951" y="332003"/>
                </a:moveTo>
                <a:lnTo>
                  <a:pt x="190037" y="354430"/>
                </a:lnTo>
                <a:lnTo>
                  <a:pt x="190037" y="207896"/>
                </a:lnTo>
                <a:lnTo>
                  <a:pt x="226494" y="244309"/>
                </a:lnTo>
                <a:lnTo>
                  <a:pt x="262888" y="207896"/>
                </a:lnTo>
                <a:close/>
                <a:moveTo>
                  <a:pt x="263266" y="181027"/>
                </a:moveTo>
                <a:lnTo>
                  <a:pt x="262951" y="181342"/>
                </a:lnTo>
                <a:lnTo>
                  <a:pt x="226494" y="217786"/>
                </a:lnTo>
                <a:lnTo>
                  <a:pt x="190037" y="181342"/>
                </a:lnTo>
                <a:lnTo>
                  <a:pt x="189722" y="181027"/>
                </a:lnTo>
                <a:cubicBezTo>
                  <a:pt x="169870" y="160287"/>
                  <a:pt x="170595" y="127386"/>
                  <a:pt x="191360" y="107542"/>
                </a:cubicBezTo>
                <a:cubicBezTo>
                  <a:pt x="211526" y="88244"/>
                  <a:pt x="243352" y="88326"/>
                  <a:pt x="263424" y="107728"/>
                </a:cubicBezTo>
                <a:cubicBezTo>
                  <a:pt x="266480" y="110825"/>
                  <a:pt x="269095" y="114297"/>
                  <a:pt x="271270" y="118059"/>
                </a:cubicBezTo>
                <a:cubicBezTo>
                  <a:pt x="283086" y="138403"/>
                  <a:pt x="279777" y="164140"/>
                  <a:pt x="263203" y="180838"/>
                </a:cubicBezTo>
                <a:close/>
                <a:moveTo>
                  <a:pt x="367092" y="353863"/>
                </a:moveTo>
                <a:lnTo>
                  <a:pt x="283086" y="331247"/>
                </a:lnTo>
                <a:lnTo>
                  <a:pt x="283086" y="186665"/>
                </a:lnTo>
                <a:cubicBezTo>
                  <a:pt x="292318" y="174393"/>
                  <a:pt x="297329" y="159443"/>
                  <a:pt x="297329" y="144078"/>
                </a:cubicBezTo>
                <a:lnTo>
                  <a:pt x="367092" y="162977"/>
                </a:lnTo>
                <a:close/>
                <a:moveTo>
                  <a:pt x="226494" y="175168"/>
                </a:moveTo>
                <a:cubicBezTo>
                  <a:pt x="208628" y="175098"/>
                  <a:pt x="194165" y="160640"/>
                  <a:pt x="194102" y="142786"/>
                </a:cubicBezTo>
                <a:cubicBezTo>
                  <a:pt x="194102" y="141715"/>
                  <a:pt x="194102" y="140644"/>
                  <a:pt x="194259" y="139636"/>
                </a:cubicBezTo>
                <a:cubicBezTo>
                  <a:pt x="196024" y="121840"/>
                  <a:pt x="211873" y="108841"/>
                  <a:pt x="229676" y="110602"/>
                </a:cubicBezTo>
                <a:cubicBezTo>
                  <a:pt x="246250" y="112241"/>
                  <a:pt x="258854" y="126153"/>
                  <a:pt x="258886" y="142786"/>
                </a:cubicBezTo>
                <a:cubicBezTo>
                  <a:pt x="258886" y="143196"/>
                  <a:pt x="258886" y="143605"/>
                  <a:pt x="258886" y="144046"/>
                </a:cubicBezTo>
                <a:cubicBezTo>
                  <a:pt x="258130" y="161393"/>
                  <a:pt x="243793" y="175045"/>
                  <a:pt x="226431" y="174979"/>
                </a:cubicBezTo>
                <a:close/>
                <a:moveTo>
                  <a:pt x="226494" y="126092"/>
                </a:moveTo>
                <a:cubicBezTo>
                  <a:pt x="217891" y="126053"/>
                  <a:pt x="210676" y="132583"/>
                  <a:pt x="209857" y="141148"/>
                </a:cubicBezTo>
                <a:cubicBezTo>
                  <a:pt x="209857" y="141684"/>
                  <a:pt x="209857" y="142219"/>
                  <a:pt x="209857" y="142786"/>
                </a:cubicBezTo>
                <a:cubicBezTo>
                  <a:pt x="209982" y="152006"/>
                  <a:pt x="217577" y="159371"/>
                  <a:pt x="226809" y="159239"/>
                </a:cubicBezTo>
                <a:cubicBezTo>
                  <a:pt x="235537" y="159113"/>
                  <a:pt x="242690" y="152268"/>
                  <a:pt x="243226" y="143542"/>
                </a:cubicBezTo>
                <a:lnTo>
                  <a:pt x="243226" y="142944"/>
                </a:lnTo>
                <a:cubicBezTo>
                  <a:pt x="243257" y="138980"/>
                  <a:pt x="241871" y="135136"/>
                  <a:pt x="239350" y="132077"/>
                </a:cubicBezTo>
                <a:lnTo>
                  <a:pt x="239350" y="132077"/>
                </a:lnTo>
                <a:cubicBezTo>
                  <a:pt x="236167" y="128223"/>
                  <a:pt x="231441" y="125993"/>
                  <a:pt x="226431" y="125997"/>
                </a:cubicBezTo>
                <a:close/>
              </a:path>
            </a:pathLst>
          </a:custGeom>
          <a:solidFill>
            <a:schemeClr val="bg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nvGrpSpPr>
          <p:cNvPr id="51" name="Google Shape;1359;p89">
            <a:extLst>
              <a:ext uri="{FF2B5EF4-FFF2-40B4-BE49-F238E27FC236}">
                <a16:creationId xmlns:a16="http://schemas.microsoft.com/office/drawing/2014/main" id="{320B8206-74AD-60AD-86B0-9DB02ECC0273}"/>
              </a:ext>
            </a:extLst>
          </p:cNvPr>
          <p:cNvGrpSpPr/>
          <p:nvPr/>
        </p:nvGrpSpPr>
        <p:grpSpPr>
          <a:xfrm>
            <a:off x="3656977" y="2449561"/>
            <a:ext cx="360000" cy="360000"/>
            <a:chOff x="3530517" y="5322517"/>
            <a:chExt cx="457200" cy="457200"/>
          </a:xfrm>
          <a:solidFill>
            <a:schemeClr val="bg1"/>
          </a:solidFill>
        </p:grpSpPr>
        <p:sp>
          <p:nvSpPr>
            <p:cNvPr id="52" name="Google Shape;1360;p89">
              <a:extLst>
                <a:ext uri="{FF2B5EF4-FFF2-40B4-BE49-F238E27FC236}">
                  <a16:creationId xmlns:a16="http://schemas.microsoft.com/office/drawing/2014/main" id="{18342718-6E96-D64C-9613-54BC7DD603F1}"/>
                </a:ext>
              </a:extLst>
            </p:cNvPr>
            <p:cNvSpPr/>
            <p:nvPr/>
          </p:nvSpPr>
          <p:spPr>
            <a:xfrm>
              <a:off x="3530517" y="5322517"/>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53" name="Google Shape;1361;p89">
              <a:extLst>
                <a:ext uri="{FF2B5EF4-FFF2-40B4-BE49-F238E27FC236}">
                  <a16:creationId xmlns:a16="http://schemas.microsoft.com/office/drawing/2014/main" id="{CA048ADD-E1F4-2311-E420-E08E93C612E1}"/>
                </a:ext>
              </a:extLst>
            </p:cNvPr>
            <p:cNvSpPr/>
            <p:nvPr/>
          </p:nvSpPr>
          <p:spPr>
            <a:xfrm>
              <a:off x="3618337" y="5360165"/>
              <a:ext cx="142811" cy="181204"/>
            </a:xfrm>
            <a:custGeom>
              <a:avLst/>
              <a:gdLst/>
              <a:ahLst/>
              <a:cxnLst/>
              <a:rect l="l" t="t" r="r" b="b"/>
              <a:pathLst>
                <a:path w="142811" h="181204" extrusionOk="0">
                  <a:moveTo>
                    <a:pt x="5366" y="62714"/>
                  </a:moveTo>
                  <a:cubicBezTo>
                    <a:pt x="35985" y="22756"/>
                    <a:pt x="83616" y="-471"/>
                    <a:pt x="133953" y="7"/>
                  </a:cubicBezTo>
                  <a:lnTo>
                    <a:pt x="142812" y="7"/>
                  </a:lnTo>
                  <a:lnTo>
                    <a:pt x="142812" y="181205"/>
                  </a:lnTo>
                  <a:lnTo>
                    <a:pt x="121730" y="164822"/>
                  </a:lnTo>
                  <a:lnTo>
                    <a:pt x="0" y="69953"/>
                  </a:lnTo>
                  <a:close/>
                  <a:moveTo>
                    <a:pt x="25019" y="66809"/>
                  </a:moveTo>
                  <a:lnTo>
                    <a:pt x="125063" y="144978"/>
                  </a:lnTo>
                  <a:lnTo>
                    <a:pt x="125063" y="17978"/>
                  </a:lnTo>
                  <a:cubicBezTo>
                    <a:pt x="86472" y="20012"/>
                    <a:pt x="50364" y="37637"/>
                    <a:pt x="25019" y="66809"/>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54" name="Google Shape;1362;p89">
              <a:extLst>
                <a:ext uri="{FF2B5EF4-FFF2-40B4-BE49-F238E27FC236}">
                  <a16:creationId xmlns:a16="http://schemas.microsoft.com/office/drawing/2014/main" id="{E99C720C-E10C-8B5F-7C2D-F901F20787B9}"/>
                </a:ext>
              </a:extLst>
            </p:cNvPr>
            <p:cNvSpPr/>
            <p:nvPr/>
          </p:nvSpPr>
          <p:spPr>
            <a:xfrm>
              <a:off x="3707809" y="5412274"/>
              <a:ext cx="240284" cy="326379"/>
            </a:xfrm>
            <a:custGeom>
              <a:avLst/>
              <a:gdLst/>
              <a:ahLst/>
              <a:cxnLst/>
              <a:rect l="l" t="t" r="r" b="b"/>
              <a:pathLst>
                <a:path w="240284" h="326379" extrusionOk="0">
                  <a:moveTo>
                    <a:pt x="0" y="307562"/>
                  </a:moveTo>
                  <a:lnTo>
                    <a:pt x="68231" y="161068"/>
                  </a:lnTo>
                  <a:lnTo>
                    <a:pt x="68231" y="0"/>
                  </a:lnTo>
                  <a:lnTo>
                    <a:pt x="77089" y="0"/>
                  </a:lnTo>
                  <a:cubicBezTo>
                    <a:pt x="151384" y="93"/>
                    <a:pt x="216281" y="50263"/>
                    <a:pt x="235077" y="122142"/>
                  </a:cubicBezTo>
                  <a:cubicBezTo>
                    <a:pt x="238516" y="135470"/>
                    <a:pt x="240265" y="149177"/>
                    <a:pt x="240284" y="162941"/>
                  </a:cubicBezTo>
                  <a:cubicBezTo>
                    <a:pt x="240271" y="175519"/>
                    <a:pt x="238833" y="188056"/>
                    <a:pt x="235998" y="200311"/>
                  </a:cubicBezTo>
                  <a:cubicBezTo>
                    <a:pt x="218732" y="274069"/>
                    <a:pt x="153000" y="326260"/>
                    <a:pt x="77248" y="326358"/>
                  </a:cubicBezTo>
                  <a:cubicBezTo>
                    <a:pt x="53377" y="326755"/>
                    <a:pt x="29749" y="321510"/>
                    <a:pt x="8287" y="311055"/>
                  </a:cubicBezTo>
                  <a:close/>
                  <a:moveTo>
                    <a:pt x="23781" y="298545"/>
                  </a:moveTo>
                  <a:cubicBezTo>
                    <a:pt x="40667" y="305537"/>
                    <a:pt x="58816" y="308962"/>
                    <a:pt x="77089" y="308610"/>
                  </a:cubicBezTo>
                  <a:cubicBezTo>
                    <a:pt x="157394" y="308556"/>
                    <a:pt x="222482" y="243469"/>
                    <a:pt x="222536" y="163163"/>
                  </a:cubicBezTo>
                  <a:cubicBezTo>
                    <a:pt x="222523" y="150836"/>
                    <a:pt x="220967" y="138559"/>
                    <a:pt x="217900" y="126619"/>
                  </a:cubicBezTo>
                  <a:cubicBezTo>
                    <a:pt x="201933" y="65795"/>
                    <a:pt x="148742" y="22079"/>
                    <a:pt x="85979" y="18193"/>
                  </a:cubicBezTo>
                  <a:lnTo>
                    <a:pt x="85979" y="163163"/>
                  </a:lnTo>
                  <a:cubicBezTo>
                    <a:pt x="85978" y="164457"/>
                    <a:pt x="85696" y="165735"/>
                    <a:pt x="85154" y="166910"/>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55" name="Google Shape;1363;p89">
              <a:extLst>
                <a:ext uri="{FF2B5EF4-FFF2-40B4-BE49-F238E27FC236}">
                  <a16:creationId xmlns:a16="http://schemas.microsoft.com/office/drawing/2014/main" id="{8EFE971E-AA1E-B6FF-9245-AC33440614C6}"/>
                </a:ext>
              </a:extLst>
            </p:cNvPr>
            <p:cNvSpPr/>
            <p:nvPr/>
          </p:nvSpPr>
          <p:spPr>
            <a:xfrm>
              <a:off x="3571280" y="5447326"/>
              <a:ext cx="195837" cy="284003"/>
            </a:xfrm>
            <a:custGeom>
              <a:avLst/>
              <a:gdLst/>
              <a:ahLst/>
              <a:cxnLst/>
              <a:rect l="l" t="t" r="r" b="b"/>
              <a:pathLst>
                <a:path w="195837" h="284003" extrusionOk="0">
                  <a:moveTo>
                    <a:pt x="48137" y="0"/>
                  </a:moveTo>
                  <a:lnTo>
                    <a:pt x="36516" y="14033"/>
                  </a:lnTo>
                  <a:cubicBezTo>
                    <a:pt x="28402" y="24295"/>
                    <a:pt x="21538" y="35487"/>
                    <a:pt x="16069" y="47371"/>
                  </a:cubicBezTo>
                  <a:cubicBezTo>
                    <a:pt x="14672" y="50546"/>
                    <a:pt x="13307" y="53721"/>
                    <a:pt x="11815" y="57404"/>
                  </a:cubicBezTo>
                  <a:cubicBezTo>
                    <a:pt x="10926" y="59690"/>
                    <a:pt x="10037" y="62071"/>
                    <a:pt x="9084" y="64897"/>
                  </a:cubicBezTo>
                  <a:lnTo>
                    <a:pt x="8036" y="67024"/>
                  </a:lnTo>
                  <a:lnTo>
                    <a:pt x="8036" y="68104"/>
                  </a:lnTo>
                  <a:cubicBezTo>
                    <a:pt x="5329" y="76651"/>
                    <a:pt x="3301" y="85399"/>
                    <a:pt x="1972" y="94266"/>
                  </a:cubicBezTo>
                  <a:cubicBezTo>
                    <a:pt x="1432" y="97790"/>
                    <a:pt x="988" y="101537"/>
                    <a:pt x="607" y="106077"/>
                  </a:cubicBezTo>
                  <a:cubicBezTo>
                    <a:pt x="-26" y="113765"/>
                    <a:pt x="-164" y="121485"/>
                    <a:pt x="194" y="129191"/>
                  </a:cubicBezTo>
                  <a:cubicBezTo>
                    <a:pt x="448" y="133953"/>
                    <a:pt x="956" y="138970"/>
                    <a:pt x="1655" y="144113"/>
                  </a:cubicBezTo>
                  <a:cubicBezTo>
                    <a:pt x="3324" y="156274"/>
                    <a:pt x="6305" y="168218"/>
                    <a:pt x="10545" y="179737"/>
                  </a:cubicBezTo>
                  <a:cubicBezTo>
                    <a:pt x="12323" y="184594"/>
                    <a:pt x="14132" y="189008"/>
                    <a:pt x="16133" y="193262"/>
                  </a:cubicBezTo>
                  <a:cubicBezTo>
                    <a:pt x="19360" y="200181"/>
                    <a:pt x="23029" y="206883"/>
                    <a:pt x="27118" y="213328"/>
                  </a:cubicBezTo>
                  <a:cubicBezTo>
                    <a:pt x="29468" y="216980"/>
                    <a:pt x="31500" y="219964"/>
                    <a:pt x="33468" y="222853"/>
                  </a:cubicBezTo>
                  <a:cubicBezTo>
                    <a:pt x="39192" y="230597"/>
                    <a:pt x="45565" y="237842"/>
                    <a:pt x="52518" y="244507"/>
                  </a:cubicBezTo>
                  <a:lnTo>
                    <a:pt x="54391" y="246317"/>
                  </a:lnTo>
                  <a:lnTo>
                    <a:pt x="54391" y="246317"/>
                  </a:lnTo>
                  <a:cubicBezTo>
                    <a:pt x="56519" y="248348"/>
                    <a:pt x="58551" y="250158"/>
                    <a:pt x="60741" y="251905"/>
                  </a:cubicBezTo>
                  <a:cubicBezTo>
                    <a:pt x="72582" y="262020"/>
                    <a:pt x="85740" y="270478"/>
                    <a:pt x="99857" y="277051"/>
                  </a:cubicBezTo>
                  <a:lnTo>
                    <a:pt x="116463" y="284004"/>
                  </a:lnTo>
                  <a:lnTo>
                    <a:pt x="195838" y="114903"/>
                  </a:lnTo>
                  <a:close/>
                  <a:moveTo>
                    <a:pt x="29626" y="64389"/>
                  </a:moveTo>
                  <a:cubicBezTo>
                    <a:pt x="30992" y="60928"/>
                    <a:pt x="32198" y="58039"/>
                    <a:pt x="33436" y="55404"/>
                  </a:cubicBezTo>
                  <a:cubicBezTo>
                    <a:pt x="38182" y="45075"/>
                    <a:pt x="44117" y="35336"/>
                    <a:pt x="51121" y="26384"/>
                  </a:cubicBezTo>
                  <a:lnTo>
                    <a:pt x="72044" y="42704"/>
                  </a:lnTo>
                  <a:lnTo>
                    <a:pt x="27912" y="69024"/>
                  </a:lnTo>
                  <a:cubicBezTo>
                    <a:pt x="28515" y="67373"/>
                    <a:pt x="29087" y="65691"/>
                    <a:pt x="29626" y="64389"/>
                  </a:cubicBezTo>
                  <a:close/>
                  <a:moveTo>
                    <a:pt x="19244" y="128111"/>
                  </a:moveTo>
                  <a:cubicBezTo>
                    <a:pt x="18894" y="121328"/>
                    <a:pt x="19000" y="114529"/>
                    <a:pt x="19562" y="107759"/>
                  </a:cubicBezTo>
                  <a:cubicBezTo>
                    <a:pt x="19847" y="104584"/>
                    <a:pt x="20165" y="101409"/>
                    <a:pt x="20514" y="98965"/>
                  </a:cubicBezTo>
                  <a:lnTo>
                    <a:pt x="90618" y="57182"/>
                  </a:lnTo>
                  <a:lnTo>
                    <a:pt x="116399" y="77280"/>
                  </a:lnTo>
                  <a:lnTo>
                    <a:pt x="19752" y="134906"/>
                  </a:lnTo>
                  <a:cubicBezTo>
                    <a:pt x="19562" y="132588"/>
                    <a:pt x="19339" y="130302"/>
                    <a:pt x="19244" y="128111"/>
                  </a:cubicBezTo>
                  <a:close/>
                  <a:moveTo>
                    <a:pt x="33405" y="185261"/>
                  </a:moveTo>
                  <a:cubicBezTo>
                    <a:pt x="31658" y="181515"/>
                    <a:pt x="30039" y="177578"/>
                    <a:pt x="28452" y="173228"/>
                  </a:cubicBezTo>
                  <a:cubicBezTo>
                    <a:pt x="26630" y="168298"/>
                    <a:pt x="25072" y="163274"/>
                    <a:pt x="23784" y="158178"/>
                  </a:cubicBezTo>
                  <a:lnTo>
                    <a:pt x="134909" y="91884"/>
                  </a:lnTo>
                  <a:lnTo>
                    <a:pt x="160690" y="111982"/>
                  </a:lnTo>
                  <a:lnTo>
                    <a:pt x="34389" y="187198"/>
                  </a:lnTo>
                  <a:cubicBezTo>
                    <a:pt x="34071" y="186500"/>
                    <a:pt x="33722" y="185833"/>
                    <a:pt x="33405" y="185134"/>
                  </a:cubicBezTo>
                  <a:close/>
                  <a:moveTo>
                    <a:pt x="48899" y="211519"/>
                  </a:moveTo>
                  <a:cubicBezTo>
                    <a:pt x="47724" y="209931"/>
                    <a:pt x="46549" y="208344"/>
                    <a:pt x="45311" y="206375"/>
                  </a:cubicBezTo>
                  <a:lnTo>
                    <a:pt x="165358" y="134684"/>
                  </a:lnTo>
                  <a:lnTo>
                    <a:pt x="142180" y="183960"/>
                  </a:lnTo>
                  <a:lnTo>
                    <a:pt x="65059" y="229965"/>
                  </a:lnTo>
                  <a:cubicBezTo>
                    <a:pt x="59174" y="224225"/>
                    <a:pt x="53769" y="218015"/>
                    <a:pt x="48899" y="211392"/>
                  </a:cubicBezTo>
                  <a:close/>
                  <a:moveTo>
                    <a:pt x="106811" y="259144"/>
                  </a:moveTo>
                  <a:cubicBezTo>
                    <a:pt x="98404" y="255130"/>
                    <a:pt x="90380" y="250358"/>
                    <a:pt x="82839" y="244888"/>
                  </a:cubicBezTo>
                  <a:lnTo>
                    <a:pt x="125480" y="219488"/>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grpSp>
      <p:sp>
        <p:nvSpPr>
          <p:cNvPr id="56" name="Google Shape;695;p78">
            <a:extLst>
              <a:ext uri="{FF2B5EF4-FFF2-40B4-BE49-F238E27FC236}">
                <a16:creationId xmlns:a16="http://schemas.microsoft.com/office/drawing/2014/main" id="{835261E7-CC8C-161D-4947-8C8D479E22E3}"/>
              </a:ext>
            </a:extLst>
          </p:cNvPr>
          <p:cNvSpPr/>
          <p:nvPr/>
        </p:nvSpPr>
        <p:spPr>
          <a:xfrm>
            <a:off x="6763041" y="2449561"/>
            <a:ext cx="360000" cy="360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220" y="23"/>
                </a:moveTo>
                <a:cubicBezTo>
                  <a:pt x="441" y="23"/>
                  <a:pt x="441" y="23"/>
                  <a:pt x="441" y="23"/>
                </a:cubicBezTo>
                <a:cubicBezTo>
                  <a:pt x="441" y="67"/>
                  <a:pt x="441" y="67"/>
                  <a:pt x="441" y="67"/>
                </a:cubicBezTo>
                <a:cubicBezTo>
                  <a:pt x="220" y="67"/>
                  <a:pt x="220" y="67"/>
                  <a:pt x="220" y="67"/>
                </a:cubicBezTo>
                <a:lnTo>
                  <a:pt x="220" y="23"/>
                </a:lnTo>
                <a:close/>
                <a:moveTo>
                  <a:pt x="196" y="67"/>
                </a:moveTo>
                <a:cubicBezTo>
                  <a:pt x="134" y="67"/>
                  <a:pt x="134" y="67"/>
                  <a:pt x="134" y="67"/>
                </a:cubicBezTo>
                <a:cubicBezTo>
                  <a:pt x="134" y="23"/>
                  <a:pt x="134" y="23"/>
                  <a:pt x="134" y="23"/>
                </a:cubicBezTo>
                <a:cubicBezTo>
                  <a:pt x="196" y="23"/>
                  <a:pt x="196" y="23"/>
                  <a:pt x="196" y="23"/>
                </a:cubicBezTo>
                <a:lnTo>
                  <a:pt x="196" y="67"/>
                </a:lnTo>
                <a:close/>
                <a:moveTo>
                  <a:pt x="553" y="552"/>
                </a:moveTo>
                <a:cubicBezTo>
                  <a:pt x="23" y="552"/>
                  <a:pt x="23" y="552"/>
                  <a:pt x="23" y="552"/>
                </a:cubicBezTo>
                <a:cubicBezTo>
                  <a:pt x="23" y="23"/>
                  <a:pt x="23" y="23"/>
                  <a:pt x="23" y="23"/>
                </a:cubicBezTo>
                <a:cubicBezTo>
                  <a:pt x="110" y="23"/>
                  <a:pt x="110" y="23"/>
                  <a:pt x="110" y="23"/>
                </a:cubicBezTo>
                <a:cubicBezTo>
                  <a:pt x="110" y="67"/>
                  <a:pt x="110" y="67"/>
                  <a:pt x="110" y="67"/>
                </a:cubicBezTo>
                <a:cubicBezTo>
                  <a:pt x="70" y="67"/>
                  <a:pt x="70" y="67"/>
                  <a:pt x="70" y="67"/>
                </a:cubicBezTo>
                <a:cubicBezTo>
                  <a:pt x="70" y="250"/>
                  <a:pt x="70" y="250"/>
                  <a:pt x="70" y="250"/>
                </a:cubicBezTo>
                <a:cubicBezTo>
                  <a:pt x="110" y="250"/>
                  <a:pt x="110" y="250"/>
                  <a:pt x="110" y="250"/>
                </a:cubicBezTo>
                <a:cubicBezTo>
                  <a:pt x="110" y="297"/>
                  <a:pt x="110" y="297"/>
                  <a:pt x="110" y="297"/>
                </a:cubicBezTo>
                <a:cubicBezTo>
                  <a:pt x="78" y="303"/>
                  <a:pt x="54" y="330"/>
                  <a:pt x="54" y="362"/>
                </a:cubicBezTo>
                <a:cubicBezTo>
                  <a:pt x="54" y="441"/>
                  <a:pt x="122" y="519"/>
                  <a:pt x="122" y="519"/>
                </a:cubicBezTo>
                <a:cubicBezTo>
                  <a:pt x="122" y="519"/>
                  <a:pt x="189" y="441"/>
                  <a:pt x="189" y="362"/>
                </a:cubicBezTo>
                <a:cubicBezTo>
                  <a:pt x="189" y="330"/>
                  <a:pt x="165" y="303"/>
                  <a:pt x="134" y="297"/>
                </a:cubicBezTo>
                <a:cubicBezTo>
                  <a:pt x="134" y="250"/>
                  <a:pt x="134" y="250"/>
                  <a:pt x="134" y="250"/>
                </a:cubicBezTo>
                <a:cubicBezTo>
                  <a:pt x="275" y="250"/>
                  <a:pt x="275" y="250"/>
                  <a:pt x="275" y="250"/>
                </a:cubicBezTo>
                <a:cubicBezTo>
                  <a:pt x="275" y="296"/>
                  <a:pt x="275" y="296"/>
                  <a:pt x="275" y="296"/>
                </a:cubicBezTo>
                <a:cubicBezTo>
                  <a:pt x="243" y="302"/>
                  <a:pt x="218" y="330"/>
                  <a:pt x="218" y="364"/>
                </a:cubicBezTo>
                <a:cubicBezTo>
                  <a:pt x="218" y="433"/>
                  <a:pt x="276" y="507"/>
                  <a:pt x="279" y="510"/>
                </a:cubicBezTo>
                <a:cubicBezTo>
                  <a:pt x="288" y="522"/>
                  <a:pt x="288" y="522"/>
                  <a:pt x="288" y="522"/>
                </a:cubicBezTo>
                <a:cubicBezTo>
                  <a:pt x="297" y="510"/>
                  <a:pt x="297" y="510"/>
                  <a:pt x="297" y="510"/>
                </a:cubicBezTo>
                <a:cubicBezTo>
                  <a:pt x="300" y="507"/>
                  <a:pt x="358" y="433"/>
                  <a:pt x="358" y="364"/>
                </a:cubicBezTo>
                <a:cubicBezTo>
                  <a:pt x="358" y="330"/>
                  <a:pt x="332" y="301"/>
                  <a:pt x="299" y="295"/>
                </a:cubicBezTo>
                <a:cubicBezTo>
                  <a:pt x="299" y="226"/>
                  <a:pt x="299" y="226"/>
                  <a:pt x="299" y="226"/>
                </a:cubicBezTo>
                <a:cubicBezTo>
                  <a:pt x="134" y="226"/>
                  <a:pt x="134" y="226"/>
                  <a:pt x="134" y="226"/>
                </a:cubicBezTo>
                <a:cubicBezTo>
                  <a:pt x="134" y="91"/>
                  <a:pt x="134" y="91"/>
                  <a:pt x="134" y="91"/>
                </a:cubicBezTo>
                <a:cubicBezTo>
                  <a:pt x="196" y="91"/>
                  <a:pt x="196" y="91"/>
                  <a:pt x="196" y="91"/>
                </a:cubicBezTo>
                <a:cubicBezTo>
                  <a:pt x="196" y="151"/>
                  <a:pt x="196" y="151"/>
                  <a:pt x="196" y="151"/>
                </a:cubicBezTo>
                <a:cubicBezTo>
                  <a:pt x="490" y="151"/>
                  <a:pt x="490" y="151"/>
                  <a:pt x="490" y="151"/>
                </a:cubicBezTo>
                <a:cubicBezTo>
                  <a:pt x="490" y="196"/>
                  <a:pt x="490" y="196"/>
                  <a:pt x="490" y="196"/>
                </a:cubicBezTo>
                <a:cubicBezTo>
                  <a:pt x="442" y="196"/>
                  <a:pt x="442" y="196"/>
                  <a:pt x="442" y="196"/>
                </a:cubicBezTo>
                <a:cubicBezTo>
                  <a:pt x="442" y="295"/>
                  <a:pt x="442" y="295"/>
                  <a:pt x="442" y="295"/>
                </a:cubicBezTo>
                <a:cubicBezTo>
                  <a:pt x="409" y="301"/>
                  <a:pt x="384" y="330"/>
                  <a:pt x="384" y="364"/>
                </a:cubicBezTo>
                <a:cubicBezTo>
                  <a:pt x="384" y="433"/>
                  <a:pt x="442" y="507"/>
                  <a:pt x="444" y="510"/>
                </a:cubicBezTo>
                <a:cubicBezTo>
                  <a:pt x="454" y="522"/>
                  <a:pt x="454" y="522"/>
                  <a:pt x="454" y="522"/>
                </a:cubicBezTo>
                <a:cubicBezTo>
                  <a:pt x="463" y="510"/>
                  <a:pt x="463" y="510"/>
                  <a:pt x="463" y="510"/>
                </a:cubicBezTo>
                <a:cubicBezTo>
                  <a:pt x="465" y="507"/>
                  <a:pt x="523" y="433"/>
                  <a:pt x="523" y="364"/>
                </a:cubicBezTo>
                <a:cubicBezTo>
                  <a:pt x="523" y="330"/>
                  <a:pt x="498" y="301"/>
                  <a:pt x="466" y="295"/>
                </a:cubicBezTo>
                <a:cubicBezTo>
                  <a:pt x="466" y="220"/>
                  <a:pt x="466" y="220"/>
                  <a:pt x="466" y="220"/>
                </a:cubicBezTo>
                <a:cubicBezTo>
                  <a:pt x="514" y="220"/>
                  <a:pt x="514" y="220"/>
                  <a:pt x="514" y="220"/>
                </a:cubicBezTo>
                <a:cubicBezTo>
                  <a:pt x="514" y="127"/>
                  <a:pt x="514" y="127"/>
                  <a:pt x="514" y="127"/>
                </a:cubicBezTo>
                <a:cubicBezTo>
                  <a:pt x="220" y="127"/>
                  <a:pt x="220" y="127"/>
                  <a:pt x="220" y="127"/>
                </a:cubicBezTo>
                <a:cubicBezTo>
                  <a:pt x="220" y="91"/>
                  <a:pt x="220" y="91"/>
                  <a:pt x="220" y="91"/>
                </a:cubicBezTo>
                <a:cubicBezTo>
                  <a:pt x="465" y="91"/>
                  <a:pt x="465" y="91"/>
                  <a:pt x="465" y="91"/>
                </a:cubicBezTo>
                <a:cubicBezTo>
                  <a:pt x="465" y="23"/>
                  <a:pt x="465" y="23"/>
                  <a:pt x="465" y="23"/>
                </a:cubicBezTo>
                <a:cubicBezTo>
                  <a:pt x="553" y="23"/>
                  <a:pt x="553" y="23"/>
                  <a:pt x="553" y="23"/>
                </a:cubicBezTo>
                <a:lnTo>
                  <a:pt x="553" y="552"/>
                </a:lnTo>
                <a:close/>
                <a:moveTo>
                  <a:pt x="110" y="91"/>
                </a:moveTo>
                <a:cubicBezTo>
                  <a:pt x="110" y="226"/>
                  <a:pt x="110" y="226"/>
                  <a:pt x="110" y="226"/>
                </a:cubicBezTo>
                <a:cubicBezTo>
                  <a:pt x="94" y="226"/>
                  <a:pt x="94" y="226"/>
                  <a:pt x="94" y="226"/>
                </a:cubicBezTo>
                <a:cubicBezTo>
                  <a:pt x="94" y="91"/>
                  <a:pt x="94" y="91"/>
                  <a:pt x="94" y="91"/>
                </a:cubicBezTo>
                <a:lnTo>
                  <a:pt x="110" y="91"/>
                </a:lnTo>
                <a:close/>
                <a:moveTo>
                  <a:pt x="122" y="330"/>
                </a:moveTo>
                <a:cubicBezTo>
                  <a:pt x="141" y="330"/>
                  <a:pt x="156" y="345"/>
                  <a:pt x="156" y="364"/>
                </a:cubicBezTo>
                <a:cubicBezTo>
                  <a:pt x="156" y="384"/>
                  <a:pt x="141" y="399"/>
                  <a:pt x="122" y="399"/>
                </a:cubicBezTo>
                <a:cubicBezTo>
                  <a:pt x="102" y="399"/>
                  <a:pt x="87" y="384"/>
                  <a:pt x="87" y="364"/>
                </a:cubicBezTo>
                <a:cubicBezTo>
                  <a:pt x="87" y="345"/>
                  <a:pt x="102" y="330"/>
                  <a:pt x="122" y="330"/>
                </a:cubicBezTo>
                <a:close/>
                <a:moveTo>
                  <a:pt x="288" y="318"/>
                </a:moveTo>
                <a:cubicBezTo>
                  <a:pt x="313" y="318"/>
                  <a:pt x="334" y="339"/>
                  <a:pt x="334" y="364"/>
                </a:cubicBezTo>
                <a:cubicBezTo>
                  <a:pt x="334" y="409"/>
                  <a:pt x="304" y="459"/>
                  <a:pt x="288" y="482"/>
                </a:cubicBezTo>
                <a:cubicBezTo>
                  <a:pt x="272" y="459"/>
                  <a:pt x="242" y="409"/>
                  <a:pt x="242" y="364"/>
                </a:cubicBezTo>
                <a:cubicBezTo>
                  <a:pt x="242" y="339"/>
                  <a:pt x="263" y="318"/>
                  <a:pt x="288" y="318"/>
                </a:cubicBezTo>
                <a:close/>
                <a:moveTo>
                  <a:pt x="454" y="318"/>
                </a:moveTo>
                <a:cubicBezTo>
                  <a:pt x="479" y="318"/>
                  <a:pt x="499" y="339"/>
                  <a:pt x="499" y="364"/>
                </a:cubicBezTo>
                <a:cubicBezTo>
                  <a:pt x="499" y="409"/>
                  <a:pt x="469" y="459"/>
                  <a:pt x="454" y="482"/>
                </a:cubicBezTo>
                <a:cubicBezTo>
                  <a:pt x="438" y="459"/>
                  <a:pt x="408" y="409"/>
                  <a:pt x="408" y="364"/>
                </a:cubicBezTo>
                <a:cubicBezTo>
                  <a:pt x="408" y="339"/>
                  <a:pt x="428" y="318"/>
                  <a:pt x="454" y="318"/>
                </a:cubicBezTo>
                <a:close/>
                <a:moveTo>
                  <a:pt x="288" y="401"/>
                </a:moveTo>
                <a:cubicBezTo>
                  <a:pt x="308" y="401"/>
                  <a:pt x="325" y="385"/>
                  <a:pt x="325" y="364"/>
                </a:cubicBezTo>
                <a:cubicBezTo>
                  <a:pt x="325" y="344"/>
                  <a:pt x="308" y="327"/>
                  <a:pt x="288" y="327"/>
                </a:cubicBezTo>
                <a:cubicBezTo>
                  <a:pt x="268" y="327"/>
                  <a:pt x="251" y="344"/>
                  <a:pt x="251" y="364"/>
                </a:cubicBezTo>
                <a:cubicBezTo>
                  <a:pt x="251" y="385"/>
                  <a:pt x="268" y="401"/>
                  <a:pt x="288" y="401"/>
                </a:cubicBezTo>
                <a:close/>
                <a:moveTo>
                  <a:pt x="288" y="351"/>
                </a:moveTo>
                <a:cubicBezTo>
                  <a:pt x="295" y="351"/>
                  <a:pt x="301" y="357"/>
                  <a:pt x="301" y="364"/>
                </a:cubicBezTo>
                <a:cubicBezTo>
                  <a:pt x="301" y="371"/>
                  <a:pt x="295" y="377"/>
                  <a:pt x="288" y="377"/>
                </a:cubicBezTo>
                <a:cubicBezTo>
                  <a:pt x="281" y="377"/>
                  <a:pt x="275" y="371"/>
                  <a:pt x="275" y="364"/>
                </a:cubicBezTo>
                <a:cubicBezTo>
                  <a:pt x="275" y="357"/>
                  <a:pt x="281" y="351"/>
                  <a:pt x="288" y="351"/>
                </a:cubicBezTo>
                <a:close/>
                <a:moveTo>
                  <a:pt x="454" y="401"/>
                </a:moveTo>
                <a:cubicBezTo>
                  <a:pt x="474" y="401"/>
                  <a:pt x="490" y="385"/>
                  <a:pt x="490" y="364"/>
                </a:cubicBezTo>
                <a:cubicBezTo>
                  <a:pt x="490" y="344"/>
                  <a:pt x="474" y="327"/>
                  <a:pt x="454" y="327"/>
                </a:cubicBezTo>
                <a:cubicBezTo>
                  <a:pt x="433" y="327"/>
                  <a:pt x="417" y="344"/>
                  <a:pt x="417" y="364"/>
                </a:cubicBezTo>
                <a:cubicBezTo>
                  <a:pt x="417" y="385"/>
                  <a:pt x="433" y="401"/>
                  <a:pt x="454" y="401"/>
                </a:cubicBezTo>
                <a:close/>
                <a:moveTo>
                  <a:pt x="454" y="351"/>
                </a:moveTo>
                <a:cubicBezTo>
                  <a:pt x="461" y="351"/>
                  <a:pt x="466" y="357"/>
                  <a:pt x="466" y="364"/>
                </a:cubicBezTo>
                <a:cubicBezTo>
                  <a:pt x="466" y="371"/>
                  <a:pt x="461" y="377"/>
                  <a:pt x="454" y="377"/>
                </a:cubicBezTo>
                <a:cubicBezTo>
                  <a:pt x="446" y="377"/>
                  <a:pt x="441" y="371"/>
                  <a:pt x="441" y="364"/>
                </a:cubicBezTo>
                <a:cubicBezTo>
                  <a:pt x="441" y="357"/>
                  <a:pt x="446" y="351"/>
                  <a:pt x="454" y="351"/>
                </a:cubicBezTo>
                <a:close/>
                <a:moveTo>
                  <a:pt x="107" y="364"/>
                </a:moveTo>
                <a:cubicBezTo>
                  <a:pt x="107" y="356"/>
                  <a:pt x="113" y="349"/>
                  <a:pt x="122" y="349"/>
                </a:cubicBezTo>
                <a:cubicBezTo>
                  <a:pt x="130" y="349"/>
                  <a:pt x="137" y="356"/>
                  <a:pt x="137" y="364"/>
                </a:cubicBezTo>
                <a:cubicBezTo>
                  <a:pt x="137" y="373"/>
                  <a:pt x="130" y="379"/>
                  <a:pt x="122" y="379"/>
                </a:cubicBezTo>
                <a:cubicBezTo>
                  <a:pt x="113" y="379"/>
                  <a:pt x="107" y="373"/>
                  <a:pt x="107" y="364"/>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b="1">
              <a:solidFill>
                <a:schemeClr val="accent1"/>
              </a:solidFill>
              <a:latin typeface="Arial"/>
              <a:ea typeface="Arial"/>
              <a:cs typeface="Arial"/>
              <a:sym typeface="Arial"/>
            </a:endParaRPr>
          </a:p>
        </p:txBody>
      </p:sp>
      <p:sp>
        <p:nvSpPr>
          <p:cNvPr id="2" name="Rectangle 1">
            <a:extLst>
              <a:ext uri="{FF2B5EF4-FFF2-40B4-BE49-F238E27FC236}">
                <a16:creationId xmlns:a16="http://schemas.microsoft.com/office/drawing/2014/main" id="{69E106F8-1B3E-9362-637B-7C102288BB6A}"/>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rgbClr val="A4A3B2"/>
                </a:solidFill>
                <a:effectLst/>
                <a:uLnTx/>
                <a:uFillTx/>
                <a:ea typeface="Georgia"/>
                <a:cs typeface="Georgia"/>
                <a:sym typeface="Georgia"/>
              </a:rPr>
              <a:t>2. CIVILĀS AIZSARDZĪBAS SISTĒMA UN NORMATĪVAIS UN POLITIKAS PLĀNOŠANAS IETVARS</a:t>
            </a:r>
          </a:p>
        </p:txBody>
      </p:sp>
      <p:grpSp>
        <p:nvGrpSpPr>
          <p:cNvPr id="3" name="Group 2">
            <a:extLst>
              <a:ext uri="{FF2B5EF4-FFF2-40B4-BE49-F238E27FC236}">
                <a16:creationId xmlns:a16="http://schemas.microsoft.com/office/drawing/2014/main" id="{DD56632E-A0F9-BD06-9385-50A438009C26}"/>
              </a:ext>
            </a:extLst>
          </p:cNvPr>
          <p:cNvGrpSpPr/>
          <p:nvPr/>
        </p:nvGrpSpPr>
        <p:grpSpPr>
          <a:xfrm>
            <a:off x="6597001" y="124926"/>
            <a:ext cx="5150498" cy="230498"/>
            <a:chOff x="6351171" y="122774"/>
            <a:chExt cx="5150498" cy="230498"/>
          </a:xfrm>
        </p:grpSpPr>
        <p:sp>
          <p:nvSpPr>
            <p:cNvPr id="12" name="Rectangle 11">
              <a:extLst>
                <a:ext uri="{FF2B5EF4-FFF2-40B4-BE49-F238E27FC236}">
                  <a16:creationId xmlns:a16="http://schemas.microsoft.com/office/drawing/2014/main" id="{ADB7229B-1656-51E6-D2B7-B1FFAB6974A2}"/>
                </a:ext>
              </a:extLst>
            </p:cNvPr>
            <p:cNvSpPr/>
            <p:nvPr/>
          </p:nvSpPr>
          <p:spPr>
            <a:xfrm>
              <a:off x="6607666"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a:lnSpc>
                  <a:spcPct val="100000"/>
                </a:lnSpc>
                <a:spcBef>
                  <a:spcPts val="0"/>
                </a:spcBef>
                <a:spcAft>
                  <a:spcPts val="0"/>
                </a:spcAft>
                <a:buNone/>
                <a:tabLst/>
                <a:defRPr/>
              </a:pPr>
              <a:r>
                <a:rPr lang="lv-LV" sz="800" b="1" kern="0">
                  <a:solidFill>
                    <a:srgbClr val="A4A3B2"/>
                  </a:solidFill>
                  <a:sym typeface="Georgia"/>
                </a:rPr>
                <a:t>2.2</a:t>
              </a:r>
            </a:p>
          </p:txBody>
        </p:sp>
        <p:sp>
          <p:nvSpPr>
            <p:cNvPr id="13" name="Rectangle 12">
              <a:extLst>
                <a:ext uri="{FF2B5EF4-FFF2-40B4-BE49-F238E27FC236}">
                  <a16:creationId xmlns:a16="http://schemas.microsoft.com/office/drawing/2014/main" id="{2F7016FE-50C9-E682-2D3B-8C8026B0D1F8}"/>
                </a:ext>
              </a:extLst>
            </p:cNvPr>
            <p:cNvSpPr/>
            <p:nvPr/>
          </p:nvSpPr>
          <p:spPr>
            <a:xfrm>
              <a:off x="6854868" y="12277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a:lnSpc>
                  <a:spcPct val="100000"/>
                </a:lnSpc>
                <a:spcBef>
                  <a:spcPts val="0"/>
                </a:spcBef>
                <a:spcAft>
                  <a:spcPts val="0"/>
                </a:spcAft>
                <a:buNone/>
                <a:tabLst/>
                <a:defRPr/>
              </a:pPr>
              <a:r>
                <a:rPr lang="lv-LV" sz="800" b="1" kern="0">
                  <a:sym typeface="Georgia"/>
                </a:rPr>
                <a:t>2.3</a:t>
              </a:r>
              <a:endParaRPr lang="en-US"/>
            </a:p>
          </p:txBody>
        </p:sp>
        <p:sp>
          <p:nvSpPr>
            <p:cNvPr id="14" name="Rectangle 13">
              <a:extLst>
                <a:ext uri="{FF2B5EF4-FFF2-40B4-BE49-F238E27FC236}">
                  <a16:creationId xmlns:a16="http://schemas.microsoft.com/office/drawing/2014/main" id="{111AFAB0-E22C-A32F-7412-F3EDF0A7A303}"/>
                </a:ext>
              </a:extLst>
            </p:cNvPr>
            <p:cNvSpPr/>
            <p:nvPr/>
          </p:nvSpPr>
          <p:spPr>
            <a:xfrm>
              <a:off x="7102070" y="122774"/>
              <a:ext cx="390420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lv-LV" sz="800" b="1">
                  <a:latin typeface="Arial"/>
                  <a:cs typeface="Arial"/>
                </a:rPr>
                <a:t>Civilās aizsardzības sistēmas organizācija un vadība</a:t>
              </a:r>
              <a:endParaRPr lang="en-US"/>
            </a:p>
          </p:txBody>
        </p:sp>
        <p:sp>
          <p:nvSpPr>
            <p:cNvPr id="15" name="Rectangle 14">
              <a:extLst>
                <a:ext uri="{FF2B5EF4-FFF2-40B4-BE49-F238E27FC236}">
                  <a16:creationId xmlns:a16="http://schemas.microsoft.com/office/drawing/2014/main" id="{8A3A4186-4E44-EA32-8B5B-99756C689102}"/>
                </a:ext>
              </a:extLst>
            </p:cNvPr>
            <p:cNvSpPr/>
            <p:nvPr/>
          </p:nvSpPr>
          <p:spPr>
            <a:xfrm>
              <a:off x="11038467" y="12277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a:lnSpc>
                  <a:spcPct val="100000"/>
                </a:lnSpc>
                <a:spcBef>
                  <a:spcPts val="0"/>
                </a:spcBef>
                <a:spcAft>
                  <a:spcPts val="0"/>
                </a:spcAft>
                <a:buNone/>
                <a:tabLst/>
                <a:defRPr/>
              </a:pPr>
              <a:r>
                <a:rPr lang="lv-LV" sz="800" b="1" kern="0">
                  <a:solidFill>
                    <a:srgbClr val="A4A3B2"/>
                  </a:solidFill>
                  <a:sym typeface="Georgia"/>
                </a:rPr>
                <a:t>2.4</a:t>
              </a:r>
              <a:endParaRPr lang="en-US"/>
            </a:p>
          </p:txBody>
        </p:sp>
        <p:sp>
          <p:nvSpPr>
            <p:cNvPr id="16" name="Rectangle 15">
              <a:extLst>
                <a:ext uri="{FF2B5EF4-FFF2-40B4-BE49-F238E27FC236}">
                  <a16:creationId xmlns:a16="http://schemas.microsoft.com/office/drawing/2014/main" id="{027FE50E-4D68-2842-06A4-469AF0595303}"/>
                </a:ext>
              </a:extLst>
            </p:cNvPr>
            <p:cNvSpPr/>
            <p:nvPr/>
          </p:nvSpPr>
          <p:spPr>
            <a:xfrm>
              <a:off x="11285669" y="12277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a:lnSpc>
                  <a:spcPct val="100000"/>
                </a:lnSpc>
                <a:spcBef>
                  <a:spcPts val="0"/>
                </a:spcBef>
                <a:spcAft>
                  <a:spcPts val="0"/>
                </a:spcAft>
                <a:buNone/>
                <a:tabLst/>
                <a:defRPr/>
              </a:pPr>
              <a:r>
                <a:rPr lang="lv-LV" sz="800" b="1" kern="0">
                  <a:solidFill>
                    <a:srgbClr val="A4A3B2"/>
                  </a:solidFill>
                  <a:sym typeface="Georgia"/>
                </a:rPr>
                <a:t>2.5</a:t>
              </a:r>
              <a:endParaRPr lang="en-US"/>
            </a:p>
          </p:txBody>
        </p:sp>
        <p:sp>
          <p:nvSpPr>
            <p:cNvPr id="17" name="Rectangle 16">
              <a:extLst>
                <a:ext uri="{FF2B5EF4-FFF2-40B4-BE49-F238E27FC236}">
                  <a16:creationId xmlns:a16="http://schemas.microsoft.com/office/drawing/2014/main" id="{BD35D8A8-CA0D-69BF-B2B6-9B0440E09756}"/>
                </a:ext>
              </a:extLst>
            </p:cNvPr>
            <p:cNvSpPr/>
            <p:nvPr/>
          </p:nvSpPr>
          <p:spPr>
            <a:xfrm>
              <a:off x="6351171" y="13578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a:lnSpc>
                  <a:spcPct val="100000"/>
                </a:lnSpc>
                <a:spcBef>
                  <a:spcPts val="0"/>
                </a:spcBef>
                <a:spcAft>
                  <a:spcPts val="0"/>
                </a:spcAft>
                <a:buNone/>
                <a:tabLst/>
                <a:defRPr/>
              </a:pPr>
              <a:r>
                <a:rPr lang="lv-LV" sz="800" b="1" kern="0">
                  <a:solidFill>
                    <a:srgbClr val="A4A3B2"/>
                  </a:solidFill>
                  <a:sym typeface="Georgia"/>
                </a:rPr>
                <a:t>2.1</a:t>
              </a:r>
              <a:endParaRPr lang="en-US"/>
            </a:p>
          </p:txBody>
        </p:sp>
      </p:grpSp>
    </p:spTree>
    <p:extLst>
      <p:ext uri="{BB962C8B-B14F-4D97-AF65-F5344CB8AC3E}">
        <p14:creationId xmlns:p14="http://schemas.microsoft.com/office/powerpoint/2010/main" val="126127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1BC587B-0998-D3AF-1342-C8447F380D4A}"/>
              </a:ext>
            </a:extLst>
          </p:cNvPr>
          <p:cNvSpPr>
            <a:spLocks noGrp="1"/>
          </p:cNvSpPr>
          <p:nvPr>
            <p:ph type="title"/>
          </p:nvPr>
        </p:nvSpPr>
        <p:spPr>
          <a:xfrm>
            <a:off x="442913" y="432001"/>
            <a:ext cx="11306175" cy="1387274"/>
          </a:xfrm>
        </p:spPr>
        <p:txBody>
          <a:bodyPr vert="horz"/>
          <a:lstStyle/>
          <a:p>
            <a:r>
              <a:rPr lang="lv-LV"/>
              <a:t>Civilās aizsardzības k</a:t>
            </a:r>
            <a:r>
              <a:rPr lang="en-GB" err="1"/>
              <a:t>oordinācijas</a:t>
            </a:r>
            <a:r>
              <a:rPr lang="en-GB"/>
              <a:t> </a:t>
            </a:r>
            <a:r>
              <a:rPr lang="en-GB" err="1"/>
              <a:t>platformas</a:t>
            </a:r>
            <a:endParaRPr lang="cs-CZ"/>
          </a:p>
        </p:txBody>
      </p:sp>
      <p:sp>
        <p:nvSpPr>
          <p:cNvPr id="10" name="Rectangle 9">
            <a:extLst>
              <a:ext uri="{FF2B5EF4-FFF2-40B4-BE49-F238E27FC236}">
                <a16:creationId xmlns:a16="http://schemas.microsoft.com/office/drawing/2014/main" id="{EEBF5786-2E6A-AE20-299C-B5EEE07894D2}"/>
              </a:ext>
            </a:extLst>
          </p:cNvPr>
          <p:cNvSpPr/>
          <p:nvPr/>
        </p:nvSpPr>
        <p:spPr>
          <a:xfrm>
            <a:off x="3292475" y="1819275"/>
            <a:ext cx="5602996" cy="593881"/>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r>
              <a:rPr lang="en-US" sz="1400" b="1" err="1">
                <a:solidFill>
                  <a:schemeClr val="tx1"/>
                </a:solidFill>
              </a:rPr>
              <a:t>Civilās</a:t>
            </a:r>
            <a:r>
              <a:rPr lang="en-US" sz="1400" b="1">
                <a:solidFill>
                  <a:schemeClr val="tx1"/>
                </a:solidFill>
              </a:rPr>
              <a:t> </a:t>
            </a:r>
            <a:r>
              <a:rPr lang="en-US" sz="1400" b="1" err="1">
                <a:solidFill>
                  <a:schemeClr val="tx1"/>
                </a:solidFill>
              </a:rPr>
              <a:t>aizsardzības</a:t>
            </a:r>
            <a:r>
              <a:rPr lang="en-US" sz="1400" b="1">
                <a:solidFill>
                  <a:schemeClr val="tx1"/>
                </a:solidFill>
              </a:rPr>
              <a:t> </a:t>
            </a:r>
            <a:r>
              <a:rPr lang="en-US" sz="1400" b="1" err="1">
                <a:solidFill>
                  <a:schemeClr val="tx1"/>
                </a:solidFill>
              </a:rPr>
              <a:t>operacionālās</a:t>
            </a:r>
            <a:r>
              <a:rPr lang="en-US" sz="1400" b="1">
                <a:solidFill>
                  <a:schemeClr val="tx1"/>
                </a:solidFill>
              </a:rPr>
              <a:t> </a:t>
            </a:r>
            <a:r>
              <a:rPr lang="en-US" sz="1400" b="1" err="1">
                <a:solidFill>
                  <a:schemeClr val="tx1"/>
                </a:solidFill>
              </a:rPr>
              <a:t>vadības</a:t>
            </a:r>
            <a:r>
              <a:rPr lang="en-US" sz="1400" b="1">
                <a:solidFill>
                  <a:schemeClr val="tx1"/>
                </a:solidFill>
              </a:rPr>
              <a:t> </a:t>
            </a:r>
            <a:r>
              <a:rPr lang="en-US" sz="1400" b="1" err="1">
                <a:solidFill>
                  <a:schemeClr val="tx1"/>
                </a:solidFill>
              </a:rPr>
              <a:t>centrs</a:t>
            </a:r>
            <a:r>
              <a:rPr lang="en-US" sz="1400" b="1">
                <a:solidFill>
                  <a:schemeClr val="tx1"/>
                </a:solidFill>
              </a:rPr>
              <a:t> </a:t>
            </a:r>
          </a:p>
          <a:p>
            <a:pPr algn="ctr">
              <a:lnSpc>
                <a:spcPct val="100000"/>
              </a:lnSpc>
            </a:pPr>
            <a:r>
              <a:rPr lang="en-US" sz="1400">
                <a:solidFill>
                  <a:schemeClr val="tx1"/>
                </a:solidFill>
              </a:rPr>
              <a:t>(vada </a:t>
            </a:r>
            <a:r>
              <a:rPr lang="en-US" sz="1400" err="1">
                <a:solidFill>
                  <a:schemeClr val="tx1"/>
                </a:solidFill>
              </a:rPr>
              <a:t>Ministru</a:t>
            </a:r>
            <a:r>
              <a:rPr lang="en-US" sz="1400">
                <a:solidFill>
                  <a:schemeClr val="tx1"/>
                </a:solidFill>
              </a:rPr>
              <a:t> </a:t>
            </a:r>
            <a:r>
              <a:rPr lang="en-US" sz="1400" err="1">
                <a:solidFill>
                  <a:schemeClr val="tx1"/>
                </a:solidFill>
              </a:rPr>
              <a:t>prez</a:t>
            </a:r>
            <a:r>
              <a:rPr lang="lv-LV" sz="1400">
                <a:solidFill>
                  <a:schemeClr val="tx1"/>
                </a:solidFill>
              </a:rPr>
              <a:t>i</a:t>
            </a:r>
            <a:r>
              <a:rPr lang="en-US" sz="1400" err="1">
                <a:solidFill>
                  <a:schemeClr val="tx1"/>
                </a:solidFill>
              </a:rPr>
              <a:t>denta</a:t>
            </a:r>
            <a:r>
              <a:rPr lang="en-US" sz="1400">
                <a:solidFill>
                  <a:schemeClr val="tx1"/>
                </a:solidFill>
              </a:rPr>
              <a:t> </a:t>
            </a:r>
            <a:r>
              <a:rPr lang="en-US" sz="1400" err="1">
                <a:solidFill>
                  <a:schemeClr val="tx1"/>
                </a:solidFill>
              </a:rPr>
              <a:t>nozīmēta</a:t>
            </a:r>
            <a:r>
              <a:rPr lang="en-US" sz="1400">
                <a:solidFill>
                  <a:schemeClr val="tx1"/>
                </a:solidFill>
              </a:rPr>
              <a:t> </a:t>
            </a:r>
            <a:r>
              <a:rPr lang="en-US" sz="1400" err="1">
                <a:solidFill>
                  <a:schemeClr val="tx1"/>
                </a:solidFill>
              </a:rPr>
              <a:t>amatpersona</a:t>
            </a:r>
            <a:r>
              <a:rPr lang="en-US" sz="1400">
                <a:solidFill>
                  <a:schemeClr val="tx1"/>
                </a:solidFill>
              </a:rPr>
              <a:t> no </a:t>
            </a:r>
            <a:r>
              <a:rPr lang="en-US" sz="1400" err="1">
                <a:solidFill>
                  <a:schemeClr val="tx1"/>
                </a:solidFill>
              </a:rPr>
              <a:t>IeM</a:t>
            </a:r>
            <a:r>
              <a:rPr lang="en-US" sz="1400">
                <a:solidFill>
                  <a:schemeClr val="tx1"/>
                </a:solidFill>
              </a:rPr>
              <a:t>)</a:t>
            </a:r>
            <a:endParaRPr lang="cs-CZ" sz="1400">
              <a:solidFill>
                <a:schemeClr val="tx1"/>
              </a:solidFill>
            </a:endParaRPr>
          </a:p>
        </p:txBody>
      </p:sp>
      <p:sp>
        <p:nvSpPr>
          <p:cNvPr id="11" name="Rectangle 10">
            <a:extLst>
              <a:ext uri="{FF2B5EF4-FFF2-40B4-BE49-F238E27FC236}">
                <a16:creationId xmlns:a16="http://schemas.microsoft.com/office/drawing/2014/main" id="{0F4C3BFD-4944-308A-CCCC-AD35FC363808}"/>
              </a:ext>
            </a:extLst>
          </p:cNvPr>
          <p:cNvSpPr/>
          <p:nvPr/>
        </p:nvSpPr>
        <p:spPr>
          <a:xfrm>
            <a:off x="442913" y="1819275"/>
            <a:ext cx="2503308" cy="3513121"/>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algn="ctr">
              <a:lnSpc>
                <a:spcPct val="100000"/>
              </a:lnSpc>
            </a:pPr>
            <a:endParaRPr lang="en-US" sz="1400" b="1"/>
          </a:p>
          <a:p>
            <a:pPr algn="ctr">
              <a:lnSpc>
                <a:spcPct val="100000"/>
              </a:lnSpc>
            </a:pPr>
            <a:endParaRPr lang="en-US" sz="1400" b="1"/>
          </a:p>
          <a:p>
            <a:pPr algn="ctr">
              <a:lnSpc>
                <a:spcPct val="100000"/>
              </a:lnSpc>
            </a:pPr>
            <a:endParaRPr lang="en-US" sz="1400" b="1"/>
          </a:p>
          <a:p>
            <a:pPr algn="ctr">
              <a:lnSpc>
                <a:spcPct val="100000"/>
              </a:lnSpc>
            </a:pPr>
            <a:endParaRPr lang="en-US" sz="1400" b="1"/>
          </a:p>
          <a:p>
            <a:pPr algn="ctr">
              <a:lnSpc>
                <a:spcPct val="100000"/>
              </a:lnSpc>
            </a:pPr>
            <a:r>
              <a:rPr lang="en-US" sz="1400" b="1" err="1"/>
              <a:t>Ministru</a:t>
            </a:r>
            <a:r>
              <a:rPr lang="en-US" sz="1400" b="1"/>
              <a:t> </a:t>
            </a:r>
            <a:r>
              <a:rPr lang="lv-LV" sz="1400" b="1"/>
              <a:t>k</a:t>
            </a:r>
            <a:r>
              <a:rPr lang="en-US" sz="1400" b="1" err="1"/>
              <a:t>abinets</a:t>
            </a:r>
            <a:endParaRPr lang="en-US" sz="1400" b="1"/>
          </a:p>
          <a:p>
            <a:pPr algn="ctr">
              <a:lnSpc>
                <a:spcPct val="100000"/>
              </a:lnSpc>
            </a:pPr>
            <a:r>
              <a:rPr lang="en-US" sz="1400"/>
              <a:t>(</a:t>
            </a:r>
            <a:r>
              <a:rPr lang="en-US" sz="1400" err="1"/>
              <a:t>atbi</a:t>
            </a:r>
            <a:r>
              <a:rPr lang="lv-LV" sz="1400"/>
              <a:t>l</a:t>
            </a:r>
            <a:r>
              <a:rPr lang="en-US" sz="1400" err="1"/>
              <a:t>stoši</a:t>
            </a:r>
            <a:r>
              <a:rPr lang="en-US" sz="1400"/>
              <a:t> </a:t>
            </a:r>
            <a:r>
              <a:rPr lang="en-US" sz="1400" err="1"/>
              <a:t>Ministru</a:t>
            </a:r>
            <a:r>
              <a:rPr lang="en-US" sz="1400"/>
              <a:t> </a:t>
            </a:r>
            <a:r>
              <a:rPr lang="en-US" sz="1400" err="1"/>
              <a:t>kabineta</a:t>
            </a:r>
            <a:r>
              <a:rPr lang="en-US" sz="1400"/>
              <a:t> </a:t>
            </a:r>
            <a:r>
              <a:rPr lang="en-US" sz="1400" err="1"/>
              <a:t>iekārtas</a:t>
            </a:r>
            <a:r>
              <a:rPr lang="en-US" sz="1400"/>
              <a:t> </a:t>
            </a:r>
            <a:r>
              <a:rPr lang="en-US" sz="1400" err="1"/>
              <a:t>likuma</a:t>
            </a:r>
            <a:r>
              <a:rPr lang="en-US" sz="1400"/>
              <a:t> 30.</a:t>
            </a:r>
            <a:r>
              <a:rPr lang="lv-LV" sz="1400"/>
              <a:t> </a:t>
            </a:r>
            <a:r>
              <a:rPr lang="en-US" sz="1400" err="1"/>
              <a:t>panta</a:t>
            </a:r>
            <a:r>
              <a:rPr lang="en-US" sz="1400"/>
              <a:t> </a:t>
            </a:r>
            <a:r>
              <a:rPr lang="en-US" sz="1400" err="1"/>
              <a:t>pirmajai</a:t>
            </a:r>
            <a:r>
              <a:rPr lang="en-US" sz="1400"/>
              <a:t> d</a:t>
            </a:r>
            <a:r>
              <a:rPr lang="lv-LV" sz="1400" err="1"/>
              <a:t>aļ</a:t>
            </a:r>
            <a:r>
              <a:rPr lang="en-US" sz="1400"/>
              <a:t>ai)</a:t>
            </a:r>
            <a:endParaRPr lang="cs-CZ" sz="1400"/>
          </a:p>
        </p:txBody>
      </p:sp>
      <p:sp>
        <p:nvSpPr>
          <p:cNvPr id="14" name="Rectangle 13">
            <a:extLst>
              <a:ext uri="{FF2B5EF4-FFF2-40B4-BE49-F238E27FC236}">
                <a16:creationId xmlns:a16="http://schemas.microsoft.com/office/drawing/2014/main" id="{2578A2FB-B994-82A1-5B0D-947804EA88ED}"/>
              </a:ext>
            </a:extLst>
          </p:cNvPr>
          <p:cNvSpPr/>
          <p:nvPr/>
        </p:nvSpPr>
        <p:spPr>
          <a:xfrm>
            <a:off x="9245779" y="1819275"/>
            <a:ext cx="2503308" cy="3513121"/>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algn="ctr">
              <a:lnSpc>
                <a:spcPct val="100000"/>
              </a:lnSpc>
            </a:pPr>
            <a:endParaRPr lang="en-US" sz="1400" b="1" dirty="0"/>
          </a:p>
          <a:p>
            <a:pPr algn="ctr">
              <a:lnSpc>
                <a:spcPct val="100000"/>
              </a:lnSpc>
            </a:pPr>
            <a:endParaRPr lang="en-US" sz="1400" b="1" dirty="0"/>
          </a:p>
          <a:p>
            <a:pPr algn="ctr">
              <a:lnSpc>
                <a:spcPct val="100000"/>
              </a:lnSpc>
            </a:pPr>
            <a:endParaRPr lang="en-US" sz="1400" b="1" dirty="0"/>
          </a:p>
          <a:p>
            <a:pPr algn="ctr">
              <a:lnSpc>
                <a:spcPct val="100000"/>
              </a:lnSpc>
            </a:pPr>
            <a:endParaRPr lang="en-US" sz="1400" b="1" dirty="0"/>
          </a:p>
          <a:p>
            <a:pPr algn="ctr">
              <a:lnSpc>
                <a:spcPct val="100000"/>
              </a:lnSpc>
            </a:pPr>
            <a:r>
              <a:rPr lang="en-US" sz="1400" b="1" dirty="0" err="1"/>
              <a:t>Sadarbības</a:t>
            </a:r>
            <a:r>
              <a:rPr lang="en-US" sz="1400" b="1" dirty="0"/>
              <a:t> </a:t>
            </a:r>
            <a:r>
              <a:rPr lang="en-US" sz="1400" b="1" dirty="0" err="1"/>
              <a:t>teritoriju</a:t>
            </a:r>
            <a:r>
              <a:rPr lang="en-US" sz="1400" b="1" dirty="0"/>
              <a:t> </a:t>
            </a:r>
            <a:r>
              <a:rPr lang="en-US" sz="1400" b="1" dirty="0" err="1"/>
              <a:t>civilās</a:t>
            </a:r>
            <a:r>
              <a:rPr lang="en-US" sz="1400" b="1" dirty="0"/>
              <a:t> </a:t>
            </a:r>
            <a:r>
              <a:rPr lang="lv-LV" sz="1400" b="1" dirty="0"/>
              <a:t>a</a:t>
            </a:r>
            <a:r>
              <a:rPr lang="en-US" sz="1400" b="1" dirty="0" err="1"/>
              <a:t>izsardzības</a:t>
            </a:r>
            <a:r>
              <a:rPr lang="en-US" sz="1400" b="1" dirty="0"/>
              <a:t> </a:t>
            </a:r>
            <a:r>
              <a:rPr lang="lv-LV" sz="1400" b="1" dirty="0"/>
              <a:t>k</a:t>
            </a:r>
            <a:r>
              <a:rPr lang="en-US" sz="1400" b="1" dirty="0" err="1"/>
              <a:t>omisijas</a:t>
            </a:r>
            <a:endParaRPr lang="en-US" sz="1400" b="1" dirty="0"/>
          </a:p>
          <a:p>
            <a:pPr algn="ctr">
              <a:lnSpc>
                <a:spcPct val="100000"/>
              </a:lnSpc>
            </a:pPr>
            <a:r>
              <a:rPr lang="en-US" sz="1400" dirty="0"/>
              <a:t>(vada </a:t>
            </a:r>
            <a:r>
              <a:rPr lang="en-US" sz="1400" dirty="0" err="1"/>
              <a:t>attiecīgie</a:t>
            </a:r>
            <a:r>
              <a:rPr lang="en-US" sz="1400" dirty="0"/>
              <a:t> </a:t>
            </a:r>
            <a:r>
              <a:rPr lang="en-US" sz="1400" dirty="0" err="1"/>
              <a:t>domju</a:t>
            </a:r>
            <a:r>
              <a:rPr lang="en-US" sz="1400" dirty="0"/>
              <a:t> </a:t>
            </a:r>
            <a:r>
              <a:rPr lang="en-US" sz="1400" dirty="0" err="1"/>
              <a:t>priekšsēdētāji</a:t>
            </a:r>
            <a:r>
              <a:rPr lang="en-US" sz="1400" dirty="0"/>
              <a:t>) </a:t>
            </a:r>
            <a:endParaRPr lang="cs-CZ" sz="1400" dirty="0"/>
          </a:p>
        </p:txBody>
      </p:sp>
      <p:sp>
        <p:nvSpPr>
          <p:cNvPr id="22" name="L-Shape 21">
            <a:extLst>
              <a:ext uri="{FF2B5EF4-FFF2-40B4-BE49-F238E27FC236}">
                <a16:creationId xmlns:a16="http://schemas.microsoft.com/office/drawing/2014/main" id="{A23DE491-DA32-07AE-2BC8-2650EB990F3D}"/>
              </a:ext>
            </a:extLst>
          </p:cNvPr>
          <p:cNvSpPr/>
          <p:nvPr/>
        </p:nvSpPr>
        <p:spPr>
          <a:xfrm rot="8100000" flipV="1">
            <a:off x="2952735" y="2855560"/>
            <a:ext cx="241090" cy="241090"/>
          </a:xfrm>
          <a:prstGeom prst="corner">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5" name="L-Shape 24">
            <a:extLst>
              <a:ext uri="{FF2B5EF4-FFF2-40B4-BE49-F238E27FC236}">
                <a16:creationId xmlns:a16="http://schemas.microsoft.com/office/drawing/2014/main" id="{52854D32-0A87-308D-FAD4-91E5E27C097B}"/>
              </a:ext>
            </a:extLst>
          </p:cNvPr>
          <p:cNvSpPr/>
          <p:nvPr/>
        </p:nvSpPr>
        <p:spPr>
          <a:xfrm rot="13500000" flipH="1" flipV="1">
            <a:off x="3029735" y="3986968"/>
            <a:ext cx="241090" cy="241090"/>
          </a:xfrm>
          <a:prstGeom prst="corner">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6" name="L-Shape 25">
            <a:extLst>
              <a:ext uri="{FF2B5EF4-FFF2-40B4-BE49-F238E27FC236}">
                <a16:creationId xmlns:a16="http://schemas.microsoft.com/office/drawing/2014/main" id="{33E9B9FA-E996-6643-5918-7D5967B6B363}"/>
              </a:ext>
            </a:extLst>
          </p:cNvPr>
          <p:cNvSpPr/>
          <p:nvPr/>
        </p:nvSpPr>
        <p:spPr>
          <a:xfrm rot="8100000" flipV="1">
            <a:off x="8908290" y="2849809"/>
            <a:ext cx="241090" cy="241090"/>
          </a:xfrm>
          <a:prstGeom prst="corner">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7" name="L-Shape 26">
            <a:extLst>
              <a:ext uri="{FF2B5EF4-FFF2-40B4-BE49-F238E27FC236}">
                <a16:creationId xmlns:a16="http://schemas.microsoft.com/office/drawing/2014/main" id="{C06CC62B-703D-DEBA-04B2-21F4A47C3601}"/>
              </a:ext>
            </a:extLst>
          </p:cNvPr>
          <p:cNvSpPr/>
          <p:nvPr/>
        </p:nvSpPr>
        <p:spPr>
          <a:xfrm rot="13500000" flipH="1" flipV="1">
            <a:off x="8985290" y="3981217"/>
            <a:ext cx="241090" cy="241090"/>
          </a:xfrm>
          <a:prstGeom prst="corner">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1" name="Rectangle 30">
            <a:extLst>
              <a:ext uri="{FF2B5EF4-FFF2-40B4-BE49-F238E27FC236}">
                <a16:creationId xmlns:a16="http://schemas.microsoft.com/office/drawing/2014/main" id="{4D6D6BFC-98F2-DD6C-6B62-05C9DD8E9BEC}"/>
              </a:ext>
            </a:extLst>
          </p:cNvPr>
          <p:cNvSpPr/>
          <p:nvPr/>
        </p:nvSpPr>
        <p:spPr>
          <a:xfrm>
            <a:off x="3292475" y="2522684"/>
            <a:ext cx="2758977" cy="36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lv-LV" sz="1200">
                <a:solidFill>
                  <a:schemeClr val="tx1"/>
                </a:solidFill>
              </a:rPr>
              <a:t>Veselības un medicīnas grupa</a:t>
            </a:r>
          </a:p>
        </p:txBody>
      </p:sp>
      <p:sp>
        <p:nvSpPr>
          <p:cNvPr id="35" name="Rectangle 34">
            <a:extLst>
              <a:ext uri="{FF2B5EF4-FFF2-40B4-BE49-F238E27FC236}">
                <a16:creationId xmlns:a16="http://schemas.microsoft.com/office/drawing/2014/main" id="{3C54A9F6-9F14-88B2-7D5D-86D235B85F90}"/>
              </a:ext>
            </a:extLst>
          </p:cNvPr>
          <p:cNvSpPr/>
          <p:nvPr/>
        </p:nvSpPr>
        <p:spPr>
          <a:xfrm>
            <a:off x="3292475" y="2991212"/>
            <a:ext cx="2758977" cy="3603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lv-LV" sz="1200">
                <a:solidFill>
                  <a:schemeClr val="tx1"/>
                </a:solidFill>
              </a:rPr>
              <a:t>Enerģētikas grupa</a:t>
            </a:r>
          </a:p>
        </p:txBody>
      </p:sp>
      <p:sp>
        <p:nvSpPr>
          <p:cNvPr id="37" name="Rectangle 36">
            <a:extLst>
              <a:ext uri="{FF2B5EF4-FFF2-40B4-BE49-F238E27FC236}">
                <a16:creationId xmlns:a16="http://schemas.microsoft.com/office/drawing/2014/main" id="{BACC94A7-FFB8-5FBB-D4AC-04AB5EB148E6}"/>
              </a:ext>
            </a:extLst>
          </p:cNvPr>
          <p:cNvSpPr/>
          <p:nvPr/>
        </p:nvSpPr>
        <p:spPr>
          <a:xfrm>
            <a:off x="3292475" y="3460103"/>
            <a:ext cx="2758977" cy="504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lv-LV" sz="1200">
                <a:solidFill>
                  <a:schemeClr val="tx1"/>
                </a:solidFill>
              </a:rPr>
              <a:t>Sabiedriskās kārtības un </a:t>
            </a:r>
            <a:endParaRPr lang="en-US" sz="1200">
              <a:solidFill>
                <a:schemeClr val="tx1"/>
              </a:solidFill>
            </a:endParaRPr>
          </a:p>
          <a:p>
            <a:pPr algn="ctr">
              <a:lnSpc>
                <a:spcPct val="100000"/>
              </a:lnSpc>
            </a:pPr>
            <a:r>
              <a:rPr lang="lv-LV" sz="1200">
                <a:solidFill>
                  <a:schemeClr val="tx1"/>
                </a:solidFill>
              </a:rPr>
              <a:t>drošības grupa</a:t>
            </a:r>
          </a:p>
        </p:txBody>
      </p:sp>
      <p:sp>
        <p:nvSpPr>
          <p:cNvPr id="39" name="Rectangle 38">
            <a:extLst>
              <a:ext uri="{FF2B5EF4-FFF2-40B4-BE49-F238E27FC236}">
                <a16:creationId xmlns:a16="http://schemas.microsoft.com/office/drawing/2014/main" id="{268E07CD-EFC2-C5A9-C76B-142425386EF4}"/>
              </a:ext>
            </a:extLst>
          </p:cNvPr>
          <p:cNvSpPr/>
          <p:nvPr/>
        </p:nvSpPr>
        <p:spPr>
          <a:xfrm>
            <a:off x="3292475" y="4072631"/>
            <a:ext cx="2758977" cy="5032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lv-LV" sz="1200">
                <a:solidFill>
                  <a:schemeClr val="tx1"/>
                </a:solidFill>
              </a:rPr>
              <a:t>Cilvēku pārvietošanas </a:t>
            </a:r>
            <a:endParaRPr lang="en-US" sz="1200">
              <a:solidFill>
                <a:schemeClr val="tx1"/>
              </a:solidFill>
            </a:endParaRPr>
          </a:p>
          <a:p>
            <a:pPr algn="ctr">
              <a:lnSpc>
                <a:spcPct val="100000"/>
              </a:lnSpc>
            </a:pPr>
            <a:r>
              <a:rPr lang="lv-LV" sz="1200">
                <a:solidFill>
                  <a:schemeClr val="tx1"/>
                </a:solidFill>
              </a:rPr>
              <a:t>(evakuācijas) grupa</a:t>
            </a:r>
          </a:p>
        </p:txBody>
      </p:sp>
      <p:sp>
        <p:nvSpPr>
          <p:cNvPr id="41" name="Rectangle 40">
            <a:extLst>
              <a:ext uri="{FF2B5EF4-FFF2-40B4-BE49-F238E27FC236}">
                <a16:creationId xmlns:a16="http://schemas.microsoft.com/office/drawing/2014/main" id="{E556FEFD-432C-C352-10B0-E68312D04B63}"/>
              </a:ext>
            </a:extLst>
          </p:cNvPr>
          <p:cNvSpPr/>
          <p:nvPr/>
        </p:nvSpPr>
        <p:spPr>
          <a:xfrm>
            <a:off x="6136494" y="4072540"/>
            <a:ext cx="2758977" cy="5032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lv-LV" sz="1200">
                <a:solidFill>
                  <a:schemeClr val="tx1"/>
                </a:solidFill>
              </a:rPr>
              <a:t>Pārtikas un ūdens </a:t>
            </a:r>
            <a:endParaRPr lang="en-US" sz="1200">
              <a:solidFill>
                <a:schemeClr val="tx1"/>
              </a:solidFill>
            </a:endParaRPr>
          </a:p>
          <a:p>
            <a:pPr algn="ctr">
              <a:lnSpc>
                <a:spcPct val="100000"/>
              </a:lnSpc>
            </a:pPr>
            <a:r>
              <a:rPr lang="lv-LV" sz="1200">
                <a:solidFill>
                  <a:schemeClr val="tx1"/>
                </a:solidFill>
              </a:rPr>
              <a:t>nodrošinājuma grupa</a:t>
            </a:r>
          </a:p>
        </p:txBody>
      </p:sp>
      <p:sp>
        <p:nvSpPr>
          <p:cNvPr id="42" name="Rectangle 41">
            <a:extLst>
              <a:ext uri="{FF2B5EF4-FFF2-40B4-BE49-F238E27FC236}">
                <a16:creationId xmlns:a16="http://schemas.microsoft.com/office/drawing/2014/main" id="{6E447855-DF68-F523-9708-EC53089269CB}"/>
              </a:ext>
            </a:extLst>
          </p:cNvPr>
          <p:cNvSpPr/>
          <p:nvPr/>
        </p:nvSpPr>
        <p:spPr>
          <a:xfrm>
            <a:off x="6136494" y="2522684"/>
            <a:ext cx="2758977" cy="36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lv-LV" sz="1200">
                <a:solidFill>
                  <a:schemeClr val="tx1"/>
                </a:solidFill>
              </a:rPr>
              <a:t>Transporta infrastruktūras grupa</a:t>
            </a:r>
          </a:p>
        </p:txBody>
      </p:sp>
      <p:sp>
        <p:nvSpPr>
          <p:cNvPr id="43" name="Rectangle 42">
            <a:extLst>
              <a:ext uri="{FF2B5EF4-FFF2-40B4-BE49-F238E27FC236}">
                <a16:creationId xmlns:a16="http://schemas.microsoft.com/office/drawing/2014/main" id="{D15AC798-52BB-F5C8-67BE-701A149EFE5F}"/>
              </a:ext>
            </a:extLst>
          </p:cNvPr>
          <p:cNvSpPr/>
          <p:nvPr/>
        </p:nvSpPr>
        <p:spPr>
          <a:xfrm>
            <a:off x="6136494" y="2991303"/>
            <a:ext cx="2758977" cy="36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lv-LV" sz="1200">
                <a:solidFill>
                  <a:schemeClr val="tx1"/>
                </a:solidFill>
              </a:rPr>
              <a:t>Sakaru nodrošinājuma grupa</a:t>
            </a:r>
          </a:p>
        </p:txBody>
      </p:sp>
      <p:sp>
        <p:nvSpPr>
          <p:cNvPr id="45" name="Rectangle 44">
            <a:extLst>
              <a:ext uri="{FF2B5EF4-FFF2-40B4-BE49-F238E27FC236}">
                <a16:creationId xmlns:a16="http://schemas.microsoft.com/office/drawing/2014/main" id="{3E3BC61C-9762-FA67-7C19-59F1B7239468}"/>
              </a:ext>
            </a:extLst>
          </p:cNvPr>
          <p:cNvSpPr/>
          <p:nvPr/>
        </p:nvSpPr>
        <p:spPr>
          <a:xfrm>
            <a:off x="6136494" y="3459922"/>
            <a:ext cx="2758977" cy="504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lv-LV" sz="1200">
                <a:solidFill>
                  <a:schemeClr val="tx1"/>
                </a:solidFill>
              </a:rPr>
              <a:t>Kultūras mantojuma un arhīvu saglabāšanas grupa</a:t>
            </a:r>
          </a:p>
        </p:txBody>
      </p:sp>
      <p:sp>
        <p:nvSpPr>
          <p:cNvPr id="46" name="Rectangle 45">
            <a:extLst>
              <a:ext uri="{FF2B5EF4-FFF2-40B4-BE49-F238E27FC236}">
                <a16:creationId xmlns:a16="http://schemas.microsoft.com/office/drawing/2014/main" id="{FB80FA6E-FF4A-74ED-205A-C0D33D200D98}"/>
              </a:ext>
            </a:extLst>
          </p:cNvPr>
          <p:cNvSpPr/>
          <p:nvPr/>
        </p:nvSpPr>
        <p:spPr>
          <a:xfrm>
            <a:off x="3292475" y="4684396"/>
            <a:ext cx="2758977" cy="648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lv-LV" sz="1200" dirty="0">
                <a:solidFill>
                  <a:schemeClr val="tx1"/>
                </a:solidFill>
              </a:rPr>
              <a:t>Sadarbības teritoriju civilās aizsardzības komisiju </a:t>
            </a:r>
            <a:endParaRPr lang="en-US" sz="1200" dirty="0">
              <a:solidFill>
                <a:schemeClr val="tx1"/>
              </a:solidFill>
            </a:endParaRPr>
          </a:p>
          <a:p>
            <a:pPr algn="ctr">
              <a:lnSpc>
                <a:spcPct val="100000"/>
              </a:lnSpc>
            </a:pPr>
            <a:r>
              <a:rPr lang="lv-LV" sz="1200" dirty="0">
                <a:solidFill>
                  <a:schemeClr val="tx1"/>
                </a:solidFill>
              </a:rPr>
              <a:t>koordinācijas grupa</a:t>
            </a:r>
          </a:p>
        </p:txBody>
      </p:sp>
      <p:sp>
        <p:nvSpPr>
          <p:cNvPr id="47" name="Rectangle 46">
            <a:extLst>
              <a:ext uri="{FF2B5EF4-FFF2-40B4-BE49-F238E27FC236}">
                <a16:creationId xmlns:a16="http://schemas.microsoft.com/office/drawing/2014/main" id="{14EC3B2E-40A5-362C-CFA6-7285A2699928}"/>
              </a:ext>
            </a:extLst>
          </p:cNvPr>
          <p:cNvSpPr/>
          <p:nvPr/>
        </p:nvSpPr>
        <p:spPr>
          <a:xfrm>
            <a:off x="6136494" y="4684396"/>
            <a:ext cx="2758977" cy="648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lv-LV" sz="1200">
                <a:solidFill>
                  <a:schemeClr val="tx1"/>
                </a:solidFill>
              </a:rPr>
              <a:t>Pirmās nepieciešamības preču nodrošinājuma grupa</a:t>
            </a:r>
          </a:p>
        </p:txBody>
      </p:sp>
      <p:sp>
        <p:nvSpPr>
          <p:cNvPr id="48" name="TextBox 47">
            <a:extLst>
              <a:ext uri="{FF2B5EF4-FFF2-40B4-BE49-F238E27FC236}">
                <a16:creationId xmlns:a16="http://schemas.microsoft.com/office/drawing/2014/main" id="{8E721789-0606-5A51-1AD7-AE2C3DD7BA5F}"/>
              </a:ext>
            </a:extLst>
          </p:cNvPr>
          <p:cNvSpPr txBox="1"/>
          <p:nvPr/>
        </p:nvSpPr>
        <p:spPr>
          <a:xfrm>
            <a:off x="442913" y="5509548"/>
            <a:ext cx="2490787" cy="662651"/>
          </a:xfrm>
          <a:prstGeom prst="rect">
            <a:avLst/>
          </a:prstGeom>
          <a:noFill/>
          <a:ln w="3175">
            <a:solidFill>
              <a:schemeClr val="bg1">
                <a:lumMod val="75000"/>
              </a:schemeClr>
            </a:solidFill>
          </a:ln>
        </p:spPr>
        <p:txBody>
          <a:bodyPr wrap="square" lIns="0" tIns="0" rIns="0" bIns="0" rtlCol="0" anchor="ctr">
            <a:noAutofit/>
          </a:bodyPr>
          <a:lstStyle/>
          <a:p>
            <a:pPr algn="ctr">
              <a:lnSpc>
                <a:spcPct val="100000"/>
              </a:lnSpc>
              <a:spcAft>
                <a:spcPts val="600"/>
              </a:spcAft>
              <a:buSzPct val="100000"/>
            </a:pPr>
            <a:r>
              <a:rPr lang="lv-LV" sz="1400" b="1"/>
              <a:t>Stratēģiskais līmenis</a:t>
            </a:r>
            <a:endParaRPr lang="cs-CZ" sz="1400" b="1"/>
          </a:p>
        </p:txBody>
      </p:sp>
      <p:sp>
        <p:nvSpPr>
          <p:cNvPr id="49" name="TextBox 48">
            <a:extLst>
              <a:ext uri="{FF2B5EF4-FFF2-40B4-BE49-F238E27FC236}">
                <a16:creationId xmlns:a16="http://schemas.microsoft.com/office/drawing/2014/main" id="{CE65DA6F-9D43-7C07-EE9F-FDA0F484CC19}"/>
              </a:ext>
            </a:extLst>
          </p:cNvPr>
          <p:cNvSpPr txBox="1"/>
          <p:nvPr/>
        </p:nvSpPr>
        <p:spPr>
          <a:xfrm>
            <a:off x="3292475" y="5509548"/>
            <a:ext cx="5564170" cy="662651"/>
          </a:xfrm>
          <a:prstGeom prst="rect">
            <a:avLst/>
          </a:prstGeom>
          <a:noFill/>
          <a:ln w="3175">
            <a:solidFill>
              <a:schemeClr val="bg1">
                <a:lumMod val="75000"/>
              </a:schemeClr>
            </a:solidFill>
          </a:ln>
        </p:spPr>
        <p:txBody>
          <a:bodyPr wrap="square" lIns="0" tIns="0" rIns="0" bIns="0" rtlCol="0" anchor="ctr">
            <a:noAutofit/>
          </a:bodyPr>
          <a:lstStyle/>
          <a:p>
            <a:pPr algn="ctr">
              <a:lnSpc>
                <a:spcPct val="100000"/>
              </a:lnSpc>
              <a:spcAft>
                <a:spcPts val="600"/>
              </a:spcAft>
              <a:buSzPct val="100000"/>
            </a:pPr>
            <a:r>
              <a:rPr lang="lv-LV" sz="1400" b="1"/>
              <a:t>Operacionālais līmenis</a:t>
            </a:r>
            <a:endParaRPr lang="cs-CZ" sz="1400" b="1"/>
          </a:p>
        </p:txBody>
      </p:sp>
      <p:sp>
        <p:nvSpPr>
          <p:cNvPr id="51" name="TextBox 50">
            <a:extLst>
              <a:ext uri="{FF2B5EF4-FFF2-40B4-BE49-F238E27FC236}">
                <a16:creationId xmlns:a16="http://schemas.microsoft.com/office/drawing/2014/main" id="{84CC2273-A4B4-153A-058F-5D86DE0AB628}"/>
              </a:ext>
            </a:extLst>
          </p:cNvPr>
          <p:cNvSpPr txBox="1"/>
          <p:nvPr/>
        </p:nvSpPr>
        <p:spPr>
          <a:xfrm>
            <a:off x="9253538" y="5509548"/>
            <a:ext cx="2490787" cy="662651"/>
          </a:xfrm>
          <a:prstGeom prst="rect">
            <a:avLst/>
          </a:prstGeom>
          <a:noFill/>
          <a:ln w="3175">
            <a:solidFill>
              <a:schemeClr val="bg1">
                <a:lumMod val="75000"/>
              </a:schemeClr>
            </a:solidFill>
          </a:ln>
        </p:spPr>
        <p:txBody>
          <a:bodyPr wrap="square" lIns="0" tIns="0" rIns="0" bIns="0" rtlCol="0" anchor="ctr">
            <a:noAutofit/>
          </a:bodyPr>
          <a:lstStyle/>
          <a:p>
            <a:pPr algn="ctr">
              <a:lnSpc>
                <a:spcPct val="100000"/>
              </a:lnSpc>
              <a:spcAft>
                <a:spcPts val="600"/>
              </a:spcAft>
              <a:buSzPct val="100000"/>
            </a:pPr>
            <a:r>
              <a:rPr lang="lv-LV" sz="1400" b="1"/>
              <a:t>Taktiskais līmenis</a:t>
            </a:r>
            <a:endParaRPr lang="cs-CZ" sz="1400" b="1"/>
          </a:p>
        </p:txBody>
      </p:sp>
      <p:pic>
        <p:nvPicPr>
          <p:cNvPr id="53" name="Graphic 52">
            <a:extLst>
              <a:ext uri="{FF2B5EF4-FFF2-40B4-BE49-F238E27FC236}">
                <a16:creationId xmlns:a16="http://schemas.microsoft.com/office/drawing/2014/main" id="{DA6551F7-D68B-F6FE-240C-A1D993C5A17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30945" y="4079525"/>
            <a:ext cx="714722" cy="714722"/>
          </a:xfrm>
          <a:prstGeom prst="rect">
            <a:avLst/>
          </a:prstGeom>
        </p:spPr>
      </p:pic>
      <p:sp>
        <p:nvSpPr>
          <p:cNvPr id="55" name="Freeform 65">
            <a:extLst>
              <a:ext uri="{FF2B5EF4-FFF2-40B4-BE49-F238E27FC236}">
                <a16:creationId xmlns:a16="http://schemas.microsoft.com/office/drawing/2014/main" id="{DFFB22B8-5CAA-ED33-2ECC-97E2DCF957DF}"/>
              </a:ext>
            </a:extLst>
          </p:cNvPr>
          <p:cNvSpPr>
            <a:spLocks noChangeAspect="1" noEditPoints="1"/>
          </p:cNvSpPr>
          <p:nvPr/>
        </p:nvSpPr>
        <p:spPr bwMode="auto">
          <a:xfrm>
            <a:off x="10154718" y="4078284"/>
            <a:ext cx="715963" cy="715963"/>
          </a:xfrm>
          <a:custGeom>
            <a:avLst/>
            <a:gdLst>
              <a:gd name="T0" fmla="*/ 576 w 576"/>
              <a:gd name="T1" fmla="*/ 0 h 576"/>
              <a:gd name="T2" fmla="*/ 540 w 576"/>
              <a:gd name="T3" fmla="*/ 401 h 576"/>
              <a:gd name="T4" fmla="*/ 472 w 576"/>
              <a:gd name="T5" fmla="*/ 398 h 576"/>
              <a:gd name="T6" fmla="*/ 404 w 576"/>
              <a:gd name="T7" fmla="*/ 401 h 576"/>
              <a:gd name="T8" fmla="*/ 319 w 576"/>
              <a:gd name="T9" fmla="*/ 388 h 576"/>
              <a:gd name="T10" fmla="*/ 257 w 576"/>
              <a:gd name="T11" fmla="*/ 388 h 576"/>
              <a:gd name="T12" fmla="*/ 172 w 576"/>
              <a:gd name="T13" fmla="*/ 401 h 576"/>
              <a:gd name="T14" fmla="*/ 104 w 576"/>
              <a:gd name="T15" fmla="*/ 398 h 576"/>
              <a:gd name="T16" fmla="*/ 36 w 576"/>
              <a:gd name="T17" fmla="*/ 401 h 576"/>
              <a:gd name="T18" fmla="*/ 208 w 576"/>
              <a:gd name="T19" fmla="*/ 471 h 576"/>
              <a:gd name="T20" fmla="*/ 264 w 576"/>
              <a:gd name="T21" fmla="*/ 411 h 576"/>
              <a:gd name="T22" fmla="*/ 348 w 576"/>
              <a:gd name="T23" fmla="*/ 424 h 576"/>
              <a:gd name="T24" fmla="*/ 208 w 576"/>
              <a:gd name="T25" fmla="*/ 552 h 576"/>
              <a:gd name="T26" fmla="*/ 44 w 576"/>
              <a:gd name="T27" fmla="*/ 424 h 576"/>
              <a:gd name="T28" fmla="*/ 128 w 576"/>
              <a:gd name="T29" fmla="*/ 411 h 576"/>
              <a:gd name="T30" fmla="*/ 184 w 576"/>
              <a:gd name="T31" fmla="*/ 471 h 576"/>
              <a:gd name="T32" fmla="*/ 392 w 576"/>
              <a:gd name="T33" fmla="*/ 552 h 576"/>
              <a:gd name="T34" fmla="*/ 447 w 576"/>
              <a:gd name="T35" fmla="*/ 412 h 576"/>
              <a:gd name="T36" fmla="*/ 496 w 576"/>
              <a:gd name="T37" fmla="*/ 412 h 576"/>
              <a:gd name="T38" fmla="*/ 551 w 576"/>
              <a:gd name="T39" fmla="*/ 552 h 576"/>
              <a:gd name="T40" fmla="*/ 147 w 576"/>
              <a:gd name="T41" fmla="*/ 328 h 576"/>
              <a:gd name="T42" fmla="*/ 136 w 576"/>
              <a:gd name="T43" fmla="*/ 235 h 576"/>
              <a:gd name="T44" fmla="*/ 220 w 576"/>
              <a:gd name="T45" fmla="*/ 223 h 576"/>
              <a:gd name="T46" fmla="*/ 275 w 576"/>
              <a:gd name="T47" fmla="*/ 279 h 576"/>
              <a:gd name="T48" fmla="*/ 288 w 576"/>
              <a:gd name="T49" fmla="*/ 387 h 576"/>
              <a:gd name="T50" fmla="*/ 304 w 576"/>
              <a:gd name="T51" fmla="*/ 252 h 576"/>
              <a:gd name="T52" fmla="*/ 380 w 576"/>
              <a:gd name="T53" fmla="*/ 234 h 576"/>
              <a:gd name="T54" fmla="*/ 455 w 576"/>
              <a:gd name="T55" fmla="*/ 252 h 576"/>
              <a:gd name="T56" fmla="*/ 472 w 576"/>
              <a:gd name="T57" fmla="*/ 387 h 576"/>
              <a:gd name="T58" fmla="*/ 484 w 576"/>
              <a:gd name="T59" fmla="*/ 278 h 576"/>
              <a:gd name="T60" fmla="*/ 411 w 576"/>
              <a:gd name="T61" fmla="*/ 200 h 576"/>
              <a:gd name="T62" fmla="*/ 348 w 576"/>
              <a:gd name="T63" fmla="*/ 200 h 576"/>
              <a:gd name="T64" fmla="*/ 264 w 576"/>
              <a:gd name="T65" fmla="*/ 212 h 576"/>
              <a:gd name="T66" fmla="*/ 196 w 576"/>
              <a:gd name="T67" fmla="*/ 209 h 576"/>
              <a:gd name="T68" fmla="*/ 128 w 576"/>
              <a:gd name="T69" fmla="*/ 212 h 576"/>
              <a:gd name="T70" fmla="*/ 62 w 576"/>
              <a:gd name="T71" fmla="*/ 328 h 576"/>
              <a:gd name="T72" fmla="*/ 472 w 576"/>
              <a:gd name="T73" fmla="*/ 362 h 576"/>
              <a:gd name="T74" fmla="*/ 472 w 576"/>
              <a:gd name="T75" fmla="*/ 301 h 576"/>
              <a:gd name="T76" fmla="*/ 288 w 576"/>
              <a:gd name="T77" fmla="*/ 362 h 576"/>
              <a:gd name="T78" fmla="*/ 288 w 576"/>
              <a:gd name="T79" fmla="*/ 301 h 576"/>
              <a:gd name="T80" fmla="*/ 92 w 576"/>
              <a:gd name="T81" fmla="*/ 307 h 576"/>
              <a:gd name="T82" fmla="*/ 122 w 576"/>
              <a:gd name="T83" fmla="*/ 326 h 576"/>
              <a:gd name="T84" fmla="*/ 92 w 576"/>
              <a:gd name="T85" fmla="*/ 307 h 576"/>
              <a:gd name="T86" fmla="*/ 227 w 576"/>
              <a:gd name="T87" fmla="*/ 102 h 576"/>
              <a:gd name="T88" fmla="*/ 154 w 576"/>
              <a:gd name="T89" fmla="*/ 140 h 576"/>
              <a:gd name="T90" fmla="*/ 197 w 576"/>
              <a:gd name="T91" fmla="*/ 112 h 576"/>
              <a:gd name="T92" fmla="*/ 196 w 576"/>
              <a:gd name="T93" fmla="*/ 173 h 576"/>
              <a:gd name="T94" fmla="*/ 380 w 576"/>
              <a:gd name="T95" fmla="*/ 198 h 576"/>
              <a:gd name="T96" fmla="*/ 380 w 576"/>
              <a:gd name="T97" fmla="*/ 88 h 576"/>
              <a:gd name="T98" fmla="*/ 368 w 576"/>
              <a:gd name="T99" fmla="*/ 118 h 576"/>
              <a:gd name="T100" fmla="*/ 398 w 576"/>
              <a:gd name="T101" fmla="*/ 138 h 576"/>
              <a:gd name="T102" fmla="*/ 368 w 576"/>
              <a:gd name="T103" fmla="*/ 11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25"/>
                </a:moveTo>
                <a:cubicBezTo>
                  <a:pt x="551" y="406"/>
                  <a:pt x="551" y="406"/>
                  <a:pt x="551" y="406"/>
                </a:cubicBezTo>
                <a:cubicBezTo>
                  <a:pt x="548" y="404"/>
                  <a:pt x="544" y="402"/>
                  <a:pt x="540" y="401"/>
                </a:cubicBezTo>
                <a:cubicBezTo>
                  <a:pt x="531" y="397"/>
                  <a:pt x="519" y="393"/>
                  <a:pt x="504" y="388"/>
                </a:cubicBezTo>
                <a:cubicBezTo>
                  <a:pt x="503" y="388"/>
                  <a:pt x="503" y="388"/>
                  <a:pt x="503" y="388"/>
                </a:cubicBezTo>
                <a:cubicBezTo>
                  <a:pt x="489" y="383"/>
                  <a:pt x="481" y="390"/>
                  <a:pt x="477" y="396"/>
                </a:cubicBezTo>
                <a:cubicBezTo>
                  <a:pt x="476" y="397"/>
                  <a:pt x="475" y="398"/>
                  <a:pt x="472" y="398"/>
                </a:cubicBezTo>
                <a:cubicBezTo>
                  <a:pt x="469" y="398"/>
                  <a:pt x="468" y="397"/>
                  <a:pt x="467" y="396"/>
                </a:cubicBezTo>
                <a:cubicBezTo>
                  <a:pt x="463" y="390"/>
                  <a:pt x="455" y="383"/>
                  <a:pt x="440" y="388"/>
                </a:cubicBezTo>
                <a:cubicBezTo>
                  <a:pt x="439" y="388"/>
                  <a:pt x="439" y="388"/>
                  <a:pt x="439" y="388"/>
                </a:cubicBezTo>
                <a:cubicBezTo>
                  <a:pt x="425" y="393"/>
                  <a:pt x="413" y="397"/>
                  <a:pt x="404" y="401"/>
                </a:cubicBezTo>
                <a:cubicBezTo>
                  <a:pt x="394" y="404"/>
                  <a:pt x="386" y="410"/>
                  <a:pt x="380" y="418"/>
                </a:cubicBezTo>
                <a:cubicBezTo>
                  <a:pt x="374" y="410"/>
                  <a:pt x="366" y="404"/>
                  <a:pt x="356" y="401"/>
                </a:cubicBezTo>
                <a:cubicBezTo>
                  <a:pt x="347" y="397"/>
                  <a:pt x="335" y="393"/>
                  <a:pt x="320" y="388"/>
                </a:cubicBezTo>
                <a:cubicBezTo>
                  <a:pt x="319" y="388"/>
                  <a:pt x="319" y="388"/>
                  <a:pt x="319" y="388"/>
                </a:cubicBezTo>
                <a:cubicBezTo>
                  <a:pt x="305" y="383"/>
                  <a:pt x="297" y="390"/>
                  <a:pt x="293" y="396"/>
                </a:cubicBezTo>
                <a:cubicBezTo>
                  <a:pt x="292" y="397"/>
                  <a:pt x="291" y="398"/>
                  <a:pt x="288" y="398"/>
                </a:cubicBezTo>
                <a:cubicBezTo>
                  <a:pt x="285" y="398"/>
                  <a:pt x="284" y="397"/>
                  <a:pt x="283" y="396"/>
                </a:cubicBezTo>
                <a:cubicBezTo>
                  <a:pt x="279" y="390"/>
                  <a:pt x="271" y="383"/>
                  <a:pt x="257" y="388"/>
                </a:cubicBezTo>
                <a:cubicBezTo>
                  <a:pt x="256" y="388"/>
                  <a:pt x="256" y="388"/>
                  <a:pt x="256" y="388"/>
                </a:cubicBezTo>
                <a:cubicBezTo>
                  <a:pt x="241" y="393"/>
                  <a:pt x="229" y="397"/>
                  <a:pt x="220" y="401"/>
                </a:cubicBezTo>
                <a:cubicBezTo>
                  <a:pt x="210" y="404"/>
                  <a:pt x="202" y="410"/>
                  <a:pt x="196" y="418"/>
                </a:cubicBezTo>
                <a:cubicBezTo>
                  <a:pt x="190" y="410"/>
                  <a:pt x="182" y="404"/>
                  <a:pt x="172" y="401"/>
                </a:cubicBezTo>
                <a:cubicBezTo>
                  <a:pt x="163" y="397"/>
                  <a:pt x="151" y="393"/>
                  <a:pt x="136" y="388"/>
                </a:cubicBezTo>
                <a:cubicBezTo>
                  <a:pt x="136" y="388"/>
                  <a:pt x="136" y="388"/>
                  <a:pt x="136" y="388"/>
                </a:cubicBezTo>
                <a:cubicBezTo>
                  <a:pt x="121" y="383"/>
                  <a:pt x="113" y="390"/>
                  <a:pt x="109" y="396"/>
                </a:cubicBezTo>
                <a:cubicBezTo>
                  <a:pt x="108" y="397"/>
                  <a:pt x="107" y="398"/>
                  <a:pt x="104" y="398"/>
                </a:cubicBezTo>
                <a:cubicBezTo>
                  <a:pt x="101" y="398"/>
                  <a:pt x="100" y="397"/>
                  <a:pt x="100" y="396"/>
                </a:cubicBezTo>
                <a:cubicBezTo>
                  <a:pt x="95" y="390"/>
                  <a:pt x="87" y="383"/>
                  <a:pt x="73" y="388"/>
                </a:cubicBezTo>
                <a:cubicBezTo>
                  <a:pt x="72" y="388"/>
                  <a:pt x="72" y="388"/>
                  <a:pt x="72" y="388"/>
                </a:cubicBezTo>
                <a:cubicBezTo>
                  <a:pt x="58" y="393"/>
                  <a:pt x="45" y="397"/>
                  <a:pt x="36" y="401"/>
                </a:cubicBezTo>
                <a:cubicBezTo>
                  <a:pt x="32" y="402"/>
                  <a:pt x="28" y="404"/>
                  <a:pt x="25" y="406"/>
                </a:cubicBezTo>
                <a:cubicBezTo>
                  <a:pt x="25" y="25"/>
                  <a:pt x="25" y="25"/>
                  <a:pt x="25" y="25"/>
                </a:cubicBezTo>
                <a:lnTo>
                  <a:pt x="551" y="25"/>
                </a:lnTo>
                <a:close/>
                <a:moveTo>
                  <a:pt x="208" y="471"/>
                </a:moveTo>
                <a:cubicBezTo>
                  <a:pt x="209" y="467"/>
                  <a:pt x="211" y="450"/>
                  <a:pt x="213" y="440"/>
                </a:cubicBezTo>
                <a:cubicBezTo>
                  <a:pt x="213" y="435"/>
                  <a:pt x="218" y="428"/>
                  <a:pt x="228" y="424"/>
                </a:cubicBezTo>
                <a:cubicBezTo>
                  <a:pt x="237" y="421"/>
                  <a:pt x="249" y="417"/>
                  <a:pt x="264" y="412"/>
                </a:cubicBezTo>
                <a:cubicBezTo>
                  <a:pt x="264" y="411"/>
                  <a:pt x="264" y="411"/>
                  <a:pt x="264" y="411"/>
                </a:cubicBezTo>
                <a:cubicBezTo>
                  <a:pt x="270" y="419"/>
                  <a:pt x="278" y="422"/>
                  <a:pt x="288" y="422"/>
                </a:cubicBezTo>
                <a:cubicBezTo>
                  <a:pt x="298" y="422"/>
                  <a:pt x="306" y="419"/>
                  <a:pt x="312" y="411"/>
                </a:cubicBezTo>
                <a:cubicBezTo>
                  <a:pt x="313" y="412"/>
                  <a:pt x="313" y="412"/>
                  <a:pt x="313" y="412"/>
                </a:cubicBezTo>
                <a:cubicBezTo>
                  <a:pt x="327" y="417"/>
                  <a:pt x="339" y="421"/>
                  <a:pt x="348" y="424"/>
                </a:cubicBezTo>
                <a:cubicBezTo>
                  <a:pt x="358" y="428"/>
                  <a:pt x="363" y="435"/>
                  <a:pt x="364" y="440"/>
                </a:cubicBezTo>
                <a:cubicBezTo>
                  <a:pt x="365" y="450"/>
                  <a:pt x="367" y="467"/>
                  <a:pt x="368" y="471"/>
                </a:cubicBezTo>
                <a:cubicBezTo>
                  <a:pt x="368" y="552"/>
                  <a:pt x="368" y="552"/>
                  <a:pt x="368" y="552"/>
                </a:cubicBezTo>
                <a:cubicBezTo>
                  <a:pt x="208" y="552"/>
                  <a:pt x="208" y="552"/>
                  <a:pt x="208" y="552"/>
                </a:cubicBezTo>
                <a:lnTo>
                  <a:pt x="208" y="471"/>
                </a:lnTo>
                <a:close/>
                <a:moveTo>
                  <a:pt x="25" y="471"/>
                </a:moveTo>
                <a:cubicBezTo>
                  <a:pt x="25" y="467"/>
                  <a:pt x="28" y="450"/>
                  <a:pt x="29" y="440"/>
                </a:cubicBezTo>
                <a:cubicBezTo>
                  <a:pt x="29" y="435"/>
                  <a:pt x="34" y="428"/>
                  <a:pt x="44" y="424"/>
                </a:cubicBezTo>
                <a:cubicBezTo>
                  <a:pt x="51" y="422"/>
                  <a:pt x="62" y="418"/>
                  <a:pt x="80" y="412"/>
                </a:cubicBezTo>
                <a:cubicBezTo>
                  <a:pt x="80" y="411"/>
                  <a:pt x="80" y="411"/>
                  <a:pt x="80" y="411"/>
                </a:cubicBezTo>
                <a:cubicBezTo>
                  <a:pt x="86" y="419"/>
                  <a:pt x="94" y="422"/>
                  <a:pt x="104" y="422"/>
                </a:cubicBezTo>
                <a:cubicBezTo>
                  <a:pt x="114" y="422"/>
                  <a:pt x="122" y="419"/>
                  <a:pt x="128" y="411"/>
                </a:cubicBezTo>
                <a:cubicBezTo>
                  <a:pt x="129" y="412"/>
                  <a:pt x="129" y="412"/>
                  <a:pt x="129" y="412"/>
                </a:cubicBezTo>
                <a:cubicBezTo>
                  <a:pt x="143" y="417"/>
                  <a:pt x="155" y="421"/>
                  <a:pt x="164" y="424"/>
                </a:cubicBezTo>
                <a:cubicBezTo>
                  <a:pt x="175" y="428"/>
                  <a:pt x="179" y="435"/>
                  <a:pt x="180" y="440"/>
                </a:cubicBezTo>
                <a:cubicBezTo>
                  <a:pt x="181" y="450"/>
                  <a:pt x="183" y="467"/>
                  <a:pt x="184" y="471"/>
                </a:cubicBezTo>
                <a:cubicBezTo>
                  <a:pt x="184" y="552"/>
                  <a:pt x="184" y="552"/>
                  <a:pt x="184" y="552"/>
                </a:cubicBezTo>
                <a:cubicBezTo>
                  <a:pt x="25" y="552"/>
                  <a:pt x="25" y="552"/>
                  <a:pt x="25" y="552"/>
                </a:cubicBezTo>
                <a:lnTo>
                  <a:pt x="25" y="471"/>
                </a:lnTo>
                <a:close/>
                <a:moveTo>
                  <a:pt x="392" y="552"/>
                </a:moveTo>
                <a:cubicBezTo>
                  <a:pt x="392" y="471"/>
                  <a:pt x="392" y="471"/>
                  <a:pt x="392" y="471"/>
                </a:cubicBezTo>
                <a:cubicBezTo>
                  <a:pt x="393" y="467"/>
                  <a:pt x="395" y="450"/>
                  <a:pt x="396" y="440"/>
                </a:cubicBezTo>
                <a:cubicBezTo>
                  <a:pt x="397" y="435"/>
                  <a:pt x="401" y="428"/>
                  <a:pt x="412" y="424"/>
                </a:cubicBezTo>
                <a:cubicBezTo>
                  <a:pt x="421" y="421"/>
                  <a:pt x="433" y="417"/>
                  <a:pt x="447" y="412"/>
                </a:cubicBezTo>
                <a:cubicBezTo>
                  <a:pt x="448" y="411"/>
                  <a:pt x="448" y="411"/>
                  <a:pt x="448" y="411"/>
                </a:cubicBezTo>
                <a:cubicBezTo>
                  <a:pt x="454" y="419"/>
                  <a:pt x="462" y="422"/>
                  <a:pt x="472" y="422"/>
                </a:cubicBezTo>
                <a:cubicBezTo>
                  <a:pt x="482" y="422"/>
                  <a:pt x="490" y="419"/>
                  <a:pt x="496" y="411"/>
                </a:cubicBezTo>
                <a:cubicBezTo>
                  <a:pt x="496" y="412"/>
                  <a:pt x="496" y="412"/>
                  <a:pt x="496" y="412"/>
                </a:cubicBezTo>
                <a:cubicBezTo>
                  <a:pt x="511" y="417"/>
                  <a:pt x="523" y="421"/>
                  <a:pt x="532" y="424"/>
                </a:cubicBezTo>
                <a:cubicBezTo>
                  <a:pt x="542" y="428"/>
                  <a:pt x="547" y="435"/>
                  <a:pt x="547" y="440"/>
                </a:cubicBezTo>
                <a:cubicBezTo>
                  <a:pt x="548" y="450"/>
                  <a:pt x="551" y="467"/>
                  <a:pt x="551" y="471"/>
                </a:cubicBezTo>
                <a:cubicBezTo>
                  <a:pt x="551" y="552"/>
                  <a:pt x="551" y="552"/>
                  <a:pt x="551" y="552"/>
                </a:cubicBezTo>
                <a:lnTo>
                  <a:pt x="392" y="552"/>
                </a:lnTo>
                <a:close/>
                <a:moveTo>
                  <a:pt x="104" y="387"/>
                </a:moveTo>
                <a:cubicBezTo>
                  <a:pt x="105" y="387"/>
                  <a:pt x="105" y="387"/>
                  <a:pt x="105" y="387"/>
                </a:cubicBezTo>
                <a:cubicBezTo>
                  <a:pt x="123" y="387"/>
                  <a:pt x="144" y="369"/>
                  <a:pt x="147" y="328"/>
                </a:cubicBezTo>
                <a:cubicBezTo>
                  <a:pt x="148" y="309"/>
                  <a:pt x="141" y="297"/>
                  <a:pt x="135" y="290"/>
                </a:cubicBezTo>
                <a:cubicBezTo>
                  <a:pt x="129" y="284"/>
                  <a:pt x="123" y="281"/>
                  <a:pt x="117" y="279"/>
                </a:cubicBezTo>
                <a:cubicBezTo>
                  <a:pt x="118" y="272"/>
                  <a:pt x="120" y="260"/>
                  <a:pt x="121" y="252"/>
                </a:cubicBezTo>
                <a:cubicBezTo>
                  <a:pt x="121" y="247"/>
                  <a:pt x="126" y="239"/>
                  <a:pt x="136" y="235"/>
                </a:cubicBezTo>
                <a:cubicBezTo>
                  <a:pt x="148" y="231"/>
                  <a:pt x="164" y="226"/>
                  <a:pt x="172" y="223"/>
                </a:cubicBezTo>
                <a:cubicBezTo>
                  <a:pt x="172" y="223"/>
                  <a:pt x="172" y="223"/>
                  <a:pt x="172" y="223"/>
                </a:cubicBezTo>
                <a:cubicBezTo>
                  <a:pt x="178" y="230"/>
                  <a:pt x="186" y="234"/>
                  <a:pt x="196" y="234"/>
                </a:cubicBezTo>
                <a:cubicBezTo>
                  <a:pt x="206" y="234"/>
                  <a:pt x="214" y="230"/>
                  <a:pt x="220" y="223"/>
                </a:cubicBezTo>
                <a:cubicBezTo>
                  <a:pt x="221" y="223"/>
                  <a:pt x="221" y="223"/>
                  <a:pt x="221" y="223"/>
                </a:cubicBezTo>
                <a:cubicBezTo>
                  <a:pt x="228" y="226"/>
                  <a:pt x="244" y="231"/>
                  <a:pt x="256" y="235"/>
                </a:cubicBezTo>
                <a:cubicBezTo>
                  <a:pt x="267" y="239"/>
                  <a:pt x="271" y="247"/>
                  <a:pt x="272" y="252"/>
                </a:cubicBezTo>
                <a:cubicBezTo>
                  <a:pt x="272" y="260"/>
                  <a:pt x="274" y="272"/>
                  <a:pt x="275" y="279"/>
                </a:cubicBezTo>
                <a:cubicBezTo>
                  <a:pt x="269" y="281"/>
                  <a:pt x="263" y="285"/>
                  <a:pt x="258" y="290"/>
                </a:cubicBezTo>
                <a:cubicBezTo>
                  <a:pt x="252" y="297"/>
                  <a:pt x="245" y="309"/>
                  <a:pt x="246" y="328"/>
                </a:cubicBezTo>
                <a:cubicBezTo>
                  <a:pt x="249" y="369"/>
                  <a:pt x="269" y="387"/>
                  <a:pt x="288" y="387"/>
                </a:cubicBezTo>
                <a:cubicBezTo>
                  <a:pt x="288" y="387"/>
                  <a:pt x="288" y="387"/>
                  <a:pt x="288" y="387"/>
                </a:cubicBezTo>
                <a:cubicBezTo>
                  <a:pt x="307" y="387"/>
                  <a:pt x="327" y="369"/>
                  <a:pt x="330" y="328"/>
                </a:cubicBezTo>
                <a:cubicBezTo>
                  <a:pt x="332" y="309"/>
                  <a:pt x="325" y="297"/>
                  <a:pt x="318" y="290"/>
                </a:cubicBezTo>
                <a:cubicBezTo>
                  <a:pt x="313" y="284"/>
                  <a:pt x="307" y="281"/>
                  <a:pt x="301" y="279"/>
                </a:cubicBezTo>
                <a:cubicBezTo>
                  <a:pt x="302" y="272"/>
                  <a:pt x="304" y="260"/>
                  <a:pt x="304" y="252"/>
                </a:cubicBezTo>
                <a:cubicBezTo>
                  <a:pt x="305" y="247"/>
                  <a:pt x="309" y="239"/>
                  <a:pt x="320" y="235"/>
                </a:cubicBezTo>
                <a:cubicBezTo>
                  <a:pt x="332" y="231"/>
                  <a:pt x="348" y="226"/>
                  <a:pt x="356" y="223"/>
                </a:cubicBezTo>
                <a:cubicBezTo>
                  <a:pt x="356" y="223"/>
                  <a:pt x="356" y="223"/>
                  <a:pt x="356" y="223"/>
                </a:cubicBezTo>
                <a:cubicBezTo>
                  <a:pt x="362" y="230"/>
                  <a:pt x="370" y="234"/>
                  <a:pt x="380" y="234"/>
                </a:cubicBezTo>
                <a:cubicBezTo>
                  <a:pt x="390" y="234"/>
                  <a:pt x="398" y="230"/>
                  <a:pt x="404" y="223"/>
                </a:cubicBezTo>
                <a:cubicBezTo>
                  <a:pt x="404" y="223"/>
                  <a:pt x="404" y="223"/>
                  <a:pt x="404" y="223"/>
                </a:cubicBezTo>
                <a:cubicBezTo>
                  <a:pt x="412" y="226"/>
                  <a:pt x="428" y="231"/>
                  <a:pt x="440" y="235"/>
                </a:cubicBezTo>
                <a:cubicBezTo>
                  <a:pt x="450" y="239"/>
                  <a:pt x="455" y="247"/>
                  <a:pt x="455" y="252"/>
                </a:cubicBezTo>
                <a:cubicBezTo>
                  <a:pt x="456" y="260"/>
                  <a:pt x="458" y="272"/>
                  <a:pt x="459" y="279"/>
                </a:cubicBezTo>
                <a:cubicBezTo>
                  <a:pt x="453" y="281"/>
                  <a:pt x="447" y="285"/>
                  <a:pt x="442" y="290"/>
                </a:cubicBezTo>
                <a:cubicBezTo>
                  <a:pt x="436" y="297"/>
                  <a:pt x="428" y="309"/>
                  <a:pt x="430" y="328"/>
                </a:cubicBezTo>
                <a:cubicBezTo>
                  <a:pt x="433" y="369"/>
                  <a:pt x="453" y="387"/>
                  <a:pt x="472" y="387"/>
                </a:cubicBezTo>
                <a:cubicBezTo>
                  <a:pt x="472" y="387"/>
                  <a:pt x="472" y="387"/>
                  <a:pt x="472" y="387"/>
                </a:cubicBezTo>
                <a:cubicBezTo>
                  <a:pt x="491" y="387"/>
                  <a:pt x="511" y="369"/>
                  <a:pt x="514" y="328"/>
                </a:cubicBezTo>
                <a:cubicBezTo>
                  <a:pt x="516" y="309"/>
                  <a:pt x="509" y="297"/>
                  <a:pt x="502" y="290"/>
                </a:cubicBezTo>
                <a:cubicBezTo>
                  <a:pt x="497" y="284"/>
                  <a:pt x="490" y="280"/>
                  <a:pt x="484" y="278"/>
                </a:cubicBezTo>
                <a:cubicBezTo>
                  <a:pt x="483" y="274"/>
                  <a:pt x="481" y="258"/>
                  <a:pt x="480" y="249"/>
                </a:cubicBezTo>
                <a:cubicBezTo>
                  <a:pt x="478" y="233"/>
                  <a:pt x="466" y="219"/>
                  <a:pt x="448" y="212"/>
                </a:cubicBezTo>
                <a:cubicBezTo>
                  <a:pt x="436" y="208"/>
                  <a:pt x="420" y="203"/>
                  <a:pt x="412" y="200"/>
                </a:cubicBezTo>
                <a:cubicBezTo>
                  <a:pt x="411" y="200"/>
                  <a:pt x="411" y="200"/>
                  <a:pt x="411" y="200"/>
                </a:cubicBezTo>
                <a:cubicBezTo>
                  <a:pt x="397" y="195"/>
                  <a:pt x="389" y="201"/>
                  <a:pt x="385" y="207"/>
                </a:cubicBezTo>
                <a:cubicBezTo>
                  <a:pt x="384" y="209"/>
                  <a:pt x="383" y="209"/>
                  <a:pt x="380" y="209"/>
                </a:cubicBezTo>
                <a:cubicBezTo>
                  <a:pt x="377" y="209"/>
                  <a:pt x="376" y="209"/>
                  <a:pt x="375" y="207"/>
                </a:cubicBezTo>
                <a:cubicBezTo>
                  <a:pt x="371" y="201"/>
                  <a:pt x="363" y="195"/>
                  <a:pt x="348" y="200"/>
                </a:cubicBezTo>
                <a:cubicBezTo>
                  <a:pt x="348" y="200"/>
                  <a:pt x="348" y="200"/>
                  <a:pt x="348" y="200"/>
                </a:cubicBezTo>
                <a:cubicBezTo>
                  <a:pt x="340" y="203"/>
                  <a:pt x="324" y="208"/>
                  <a:pt x="312" y="212"/>
                </a:cubicBezTo>
                <a:cubicBezTo>
                  <a:pt x="302" y="216"/>
                  <a:pt x="294" y="222"/>
                  <a:pt x="288" y="229"/>
                </a:cubicBezTo>
                <a:cubicBezTo>
                  <a:pt x="282" y="222"/>
                  <a:pt x="274" y="216"/>
                  <a:pt x="264" y="212"/>
                </a:cubicBezTo>
                <a:cubicBezTo>
                  <a:pt x="252" y="208"/>
                  <a:pt x="236" y="203"/>
                  <a:pt x="228" y="200"/>
                </a:cubicBezTo>
                <a:cubicBezTo>
                  <a:pt x="228" y="200"/>
                  <a:pt x="228" y="200"/>
                  <a:pt x="228" y="200"/>
                </a:cubicBezTo>
                <a:cubicBezTo>
                  <a:pt x="213" y="195"/>
                  <a:pt x="205" y="201"/>
                  <a:pt x="201" y="207"/>
                </a:cubicBezTo>
                <a:cubicBezTo>
                  <a:pt x="200" y="209"/>
                  <a:pt x="199" y="209"/>
                  <a:pt x="196" y="209"/>
                </a:cubicBezTo>
                <a:cubicBezTo>
                  <a:pt x="193" y="209"/>
                  <a:pt x="192" y="209"/>
                  <a:pt x="191" y="207"/>
                </a:cubicBezTo>
                <a:cubicBezTo>
                  <a:pt x="187" y="201"/>
                  <a:pt x="179" y="195"/>
                  <a:pt x="165" y="200"/>
                </a:cubicBezTo>
                <a:cubicBezTo>
                  <a:pt x="164" y="200"/>
                  <a:pt x="164" y="200"/>
                  <a:pt x="164" y="200"/>
                </a:cubicBezTo>
                <a:cubicBezTo>
                  <a:pt x="156" y="203"/>
                  <a:pt x="140" y="208"/>
                  <a:pt x="128" y="212"/>
                </a:cubicBezTo>
                <a:cubicBezTo>
                  <a:pt x="110" y="219"/>
                  <a:pt x="98" y="233"/>
                  <a:pt x="96" y="249"/>
                </a:cubicBezTo>
                <a:cubicBezTo>
                  <a:pt x="95" y="258"/>
                  <a:pt x="93" y="274"/>
                  <a:pt x="92" y="278"/>
                </a:cubicBezTo>
                <a:cubicBezTo>
                  <a:pt x="86" y="281"/>
                  <a:pt x="80" y="284"/>
                  <a:pt x="74" y="290"/>
                </a:cubicBezTo>
                <a:cubicBezTo>
                  <a:pt x="68" y="297"/>
                  <a:pt x="61" y="309"/>
                  <a:pt x="62" y="328"/>
                </a:cubicBezTo>
                <a:cubicBezTo>
                  <a:pt x="65" y="369"/>
                  <a:pt x="85" y="387"/>
                  <a:pt x="104" y="387"/>
                </a:cubicBezTo>
                <a:close/>
                <a:moveTo>
                  <a:pt x="490" y="326"/>
                </a:moveTo>
                <a:cubicBezTo>
                  <a:pt x="488" y="351"/>
                  <a:pt x="478" y="362"/>
                  <a:pt x="472" y="362"/>
                </a:cubicBezTo>
                <a:cubicBezTo>
                  <a:pt x="472" y="362"/>
                  <a:pt x="472" y="362"/>
                  <a:pt x="472" y="362"/>
                </a:cubicBezTo>
                <a:cubicBezTo>
                  <a:pt x="466" y="362"/>
                  <a:pt x="456" y="351"/>
                  <a:pt x="454" y="326"/>
                </a:cubicBezTo>
                <a:cubicBezTo>
                  <a:pt x="454" y="318"/>
                  <a:pt x="456" y="311"/>
                  <a:pt x="460" y="307"/>
                </a:cubicBezTo>
                <a:cubicBezTo>
                  <a:pt x="464" y="302"/>
                  <a:pt x="470" y="301"/>
                  <a:pt x="472" y="301"/>
                </a:cubicBezTo>
                <a:cubicBezTo>
                  <a:pt x="472" y="301"/>
                  <a:pt x="472" y="301"/>
                  <a:pt x="472" y="301"/>
                </a:cubicBezTo>
                <a:cubicBezTo>
                  <a:pt x="474" y="301"/>
                  <a:pt x="480" y="302"/>
                  <a:pt x="484" y="307"/>
                </a:cubicBezTo>
                <a:cubicBezTo>
                  <a:pt x="489" y="311"/>
                  <a:pt x="490" y="318"/>
                  <a:pt x="490" y="326"/>
                </a:cubicBezTo>
                <a:close/>
                <a:moveTo>
                  <a:pt x="306" y="326"/>
                </a:moveTo>
                <a:cubicBezTo>
                  <a:pt x="304" y="351"/>
                  <a:pt x="295" y="362"/>
                  <a:pt x="288" y="362"/>
                </a:cubicBezTo>
                <a:cubicBezTo>
                  <a:pt x="288" y="362"/>
                  <a:pt x="288" y="362"/>
                  <a:pt x="288" y="362"/>
                </a:cubicBezTo>
                <a:cubicBezTo>
                  <a:pt x="282" y="362"/>
                  <a:pt x="272" y="351"/>
                  <a:pt x="271" y="326"/>
                </a:cubicBezTo>
                <a:cubicBezTo>
                  <a:pt x="270" y="318"/>
                  <a:pt x="272" y="311"/>
                  <a:pt x="276" y="307"/>
                </a:cubicBezTo>
                <a:cubicBezTo>
                  <a:pt x="280" y="302"/>
                  <a:pt x="286" y="301"/>
                  <a:pt x="288" y="301"/>
                </a:cubicBezTo>
                <a:cubicBezTo>
                  <a:pt x="288" y="301"/>
                  <a:pt x="288" y="301"/>
                  <a:pt x="288" y="301"/>
                </a:cubicBezTo>
                <a:cubicBezTo>
                  <a:pt x="290" y="301"/>
                  <a:pt x="296" y="302"/>
                  <a:pt x="300" y="307"/>
                </a:cubicBezTo>
                <a:cubicBezTo>
                  <a:pt x="305" y="311"/>
                  <a:pt x="306" y="318"/>
                  <a:pt x="306" y="326"/>
                </a:cubicBezTo>
                <a:close/>
                <a:moveTo>
                  <a:pt x="92" y="307"/>
                </a:moveTo>
                <a:cubicBezTo>
                  <a:pt x="96" y="302"/>
                  <a:pt x="102" y="301"/>
                  <a:pt x="104" y="301"/>
                </a:cubicBezTo>
                <a:cubicBezTo>
                  <a:pt x="105" y="301"/>
                  <a:pt x="105" y="301"/>
                  <a:pt x="105" y="301"/>
                </a:cubicBezTo>
                <a:cubicBezTo>
                  <a:pt x="107" y="301"/>
                  <a:pt x="112" y="302"/>
                  <a:pt x="117" y="307"/>
                </a:cubicBezTo>
                <a:cubicBezTo>
                  <a:pt x="121" y="311"/>
                  <a:pt x="123" y="318"/>
                  <a:pt x="122" y="326"/>
                </a:cubicBezTo>
                <a:cubicBezTo>
                  <a:pt x="120" y="351"/>
                  <a:pt x="111" y="362"/>
                  <a:pt x="105" y="362"/>
                </a:cubicBezTo>
                <a:cubicBezTo>
                  <a:pt x="104" y="362"/>
                  <a:pt x="104" y="362"/>
                  <a:pt x="104" y="362"/>
                </a:cubicBezTo>
                <a:cubicBezTo>
                  <a:pt x="98" y="362"/>
                  <a:pt x="88" y="351"/>
                  <a:pt x="87" y="326"/>
                </a:cubicBezTo>
                <a:cubicBezTo>
                  <a:pt x="86" y="318"/>
                  <a:pt x="88" y="311"/>
                  <a:pt x="92" y="307"/>
                </a:cubicBezTo>
                <a:close/>
                <a:moveTo>
                  <a:pt x="196" y="198"/>
                </a:moveTo>
                <a:cubicBezTo>
                  <a:pt x="197" y="198"/>
                  <a:pt x="197" y="198"/>
                  <a:pt x="197" y="198"/>
                </a:cubicBezTo>
                <a:cubicBezTo>
                  <a:pt x="215" y="198"/>
                  <a:pt x="236" y="180"/>
                  <a:pt x="238" y="140"/>
                </a:cubicBezTo>
                <a:cubicBezTo>
                  <a:pt x="240" y="120"/>
                  <a:pt x="233" y="108"/>
                  <a:pt x="227" y="102"/>
                </a:cubicBezTo>
                <a:cubicBezTo>
                  <a:pt x="217" y="91"/>
                  <a:pt x="204" y="88"/>
                  <a:pt x="197" y="88"/>
                </a:cubicBezTo>
                <a:cubicBezTo>
                  <a:pt x="196" y="88"/>
                  <a:pt x="196" y="88"/>
                  <a:pt x="196" y="88"/>
                </a:cubicBezTo>
                <a:cubicBezTo>
                  <a:pt x="188" y="88"/>
                  <a:pt x="176" y="91"/>
                  <a:pt x="166" y="102"/>
                </a:cubicBezTo>
                <a:cubicBezTo>
                  <a:pt x="160" y="108"/>
                  <a:pt x="153" y="120"/>
                  <a:pt x="154" y="140"/>
                </a:cubicBezTo>
                <a:cubicBezTo>
                  <a:pt x="157" y="180"/>
                  <a:pt x="177" y="198"/>
                  <a:pt x="196" y="198"/>
                </a:cubicBezTo>
                <a:close/>
                <a:moveTo>
                  <a:pt x="184" y="118"/>
                </a:moveTo>
                <a:cubicBezTo>
                  <a:pt x="188" y="114"/>
                  <a:pt x="194" y="112"/>
                  <a:pt x="196" y="112"/>
                </a:cubicBezTo>
                <a:cubicBezTo>
                  <a:pt x="197" y="112"/>
                  <a:pt x="197" y="112"/>
                  <a:pt x="197" y="112"/>
                </a:cubicBezTo>
                <a:cubicBezTo>
                  <a:pt x="198" y="112"/>
                  <a:pt x="204" y="114"/>
                  <a:pt x="209" y="118"/>
                </a:cubicBezTo>
                <a:cubicBezTo>
                  <a:pt x="213" y="123"/>
                  <a:pt x="215" y="129"/>
                  <a:pt x="214" y="138"/>
                </a:cubicBezTo>
                <a:cubicBezTo>
                  <a:pt x="212" y="162"/>
                  <a:pt x="203" y="173"/>
                  <a:pt x="197" y="173"/>
                </a:cubicBezTo>
                <a:cubicBezTo>
                  <a:pt x="196" y="173"/>
                  <a:pt x="196" y="173"/>
                  <a:pt x="196" y="173"/>
                </a:cubicBezTo>
                <a:cubicBezTo>
                  <a:pt x="190" y="173"/>
                  <a:pt x="180" y="162"/>
                  <a:pt x="179" y="138"/>
                </a:cubicBezTo>
                <a:cubicBezTo>
                  <a:pt x="178" y="129"/>
                  <a:pt x="180" y="123"/>
                  <a:pt x="184" y="118"/>
                </a:cubicBezTo>
                <a:close/>
                <a:moveTo>
                  <a:pt x="380" y="198"/>
                </a:moveTo>
                <a:cubicBezTo>
                  <a:pt x="380" y="198"/>
                  <a:pt x="380" y="198"/>
                  <a:pt x="380" y="198"/>
                </a:cubicBezTo>
                <a:cubicBezTo>
                  <a:pt x="399" y="198"/>
                  <a:pt x="419" y="180"/>
                  <a:pt x="422" y="140"/>
                </a:cubicBezTo>
                <a:cubicBezTo>
                  <a:pt x="424" y="120"/>
                  <a:pt x="417" y="108"/>
                  <a:pt x="410" y="102"/>
                </a:cubicBezTo>
                <a:cubicBezTo>
                  <a:pt x="401" y="91"/>
                  <a:pt x="388" y="88"/>
                  <a:pt x="380" y="88"/>
                </a:cubicBezTo>
                <a:cubicBezTo>
                  <a:pt x="380" y="88"/>
                  <a:pt x="380" y="88"/>
                  <a:pt x="380" y="88"/>
                </a:cubicBezTo>
                <a:cubicBezTo>
                  <a:pt x="372" y="88"/>
                  <a:pt x="359" y="91"/>
                  <a:pt x="350" y="102"/>
                </a:cubicBezTo>
                <a:cubicBezTo>
                  <a:pt x="344" y="108"/>
                  <a:pt x="337" y="120"/>
                  <a:pt x="338" y="140"/>
                </a:cubicBezTo>
                <a:cubicBezTo>
                  <a:pt x="341" y="180"/>
                  <a:pt x="361" y="198"/>
                  <a:pt x="380" y="198"/>
                </a:cubicBezTo>
                <a:close/>
                <a:moveTo>
                  <a:pt x="368" y="118"/>
                </a:moveTo>
                <a:cubicBezTo>
                  <a:pt x="372" y="114"/>
                  <a:pt x="378" y="112"/>
                  <a:pt x="380" y="112"/>
                </a:cubicBezTo>
                <a:cubicBezTo>
                  <a:pt x="380" y="112"/>
                  <a:pt x="380" y="112"/>
                  <a:pt x="380" y="112"/>
                </a:cubicBezTo>
                <a:cubicBezTo>
                  <a:pt x="382" y="112"/>
                  <a:pt x="388" y="114"/>
                  <a:pt x="392" y="118"/>
                </a:cubicBezTo>
                <a:cubicBezTo>
                  <a:pt x="397" y="123"/>
                  <a:pt x="398" y="129"/>
                  <a:pt x="398" y="138"/>
                </a:cubicBezTo>
                <a:cubicBezTo>
                  <a:pt x="396" y="162"/>
                  <a:pt x="387" y="173"/>
                  <a:pt x="380" y="173"/>
                </a:cubicBezTo>
                <a:cubicBezTo>
                  <a:pt x="380" y="173"/>
                  <a:pt x="380" y="173"/>
                  <a:pt x="380" y="173"/>
                </a:cubicBezTo>
                <a:cubicBezTo>
                  <a:pt x="374" y="173"/>
                  <a:pt x="364" y="162"/>
                  <a:pt x="362" y="138"/>
                </a:cubicBezTo>
                <a:cubicBezTo>
                  <a:pt x="362" y="129"/>
                  <a:pt x="364" y="123"/>
                  <a:pt x="368" y="11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a:solidFill>
                <a:schemeClr val="accent1"/>
              </a:solidFill>
            </a:endParaRPr>
          </a:p>
        </p:txBody>
      </p:sp>
      <p:sp>
        <p:nvSpPr>
          <p:cNvPr id="2" name="object 24">
            <a:extLst>
              <a:ext uri="{FF2B5EF4-FFF2-40B4-BE49-F238E27FC236}">
                <a16:creationId xmlns:a16="http://schemas.microsoft.com/office/drawing/2014/main" id="{4C5C1BE0-6814-ED81-7962-447D55F5B987}"/>
              </a:ext>
            </a:extLst>
          </p:cNvPr>
          <p:cNvSpPr txBox="1">
            <a:spLocks noGrp="1"/>
          </p:cNvSpPr>
          <p:nvPr>
            <p:ph type="sldNum" sz="quarter" idx="11"/>
          </p:nvPr>
        </p:nvSpPr>
        <p:spPr>
          <a:xfrm>
            <a:off x="9984296" y="6492240"/>
            <a:ext cx="1764792" cy="137160"/>
          </a:xfrm>
        </p:spPr>
        <p:txBody>
          <a:bodyPr vert="horz" wrap="square" lIns="0" tIns="0" rIns="0" bIns="0" rtlCol="0">
            <a:spAutoFit/>
          </a:bodyPr>
          <a:lstStyle>
            <a:defPPr>
              <a:defRPr kern="0"/>
            </a:defPPr>
            <a:lvl1pPr>
              <a:defRPr sz="900" b="0" i="0">
                <a:solidFill>
                  <a:srgbClr val="888888"/>
                </a:solidFill>
                <a:latin typeface="Calibri"/>
                <a:cs typeface="Calibri"/>
              </a:defRPr>
            </a:lvl1pPr>
          </a:lstStyle>
          <a:p>
            <a:fld id="{81D60167-4931-47E6-BA6A-407CBD079E47}" type="slidenum">
              <a:rPr lang="en-GB" smtClean="0"/>
              <a:pPr/>
              <a:t>17</a:t>
            </a:fld>
            <a:endParaRPr lang="en-GB"/>
          </a:p>
        </p:txBody>
      </p:sp>
      <p:sp>
        <p:nvSpPr>
          <p:cNvPr id="3" name="Rectangle 2">
            <a:extLst>
              <a:ext uri="{FF2B5EF4-FFF2-40B4-BE49-F238E27FC236}">
                <a16:creationId xmlns:a16="http://schemas.microsoft.com/office/drawing/2014/main" id="{3C51BFB5-F916-5BE2-0E6F-7E9812C79E56}"/>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rgbClr val="A4A3B2"/>
                </a:solidFill>
                <a:effectLst/>
                <a:uLnTx/>
                <a:uFillTx/>
                <a:ea typeface="Georgia"/>
                <a:cs typeface="Georgia"/>
                <a:sym typeface="Georgia"/>
              </a:rPr>
              <a:t>2. CIVILĀS AIZSARDZĪBAS SISTĒMA UN NORMATĪVAIS UN POLITIKAS PLĀNOŠANAS IETVARS</a:t>
            </a:r>
          </a:p>
        </p:txBody>
      </p:sp>
      <p:grpSp>
        <p:nvGrpSpPr>
          <p:cNvPr id="4" name="Group 3">
            <a:extLst>
              <a:ext uri="{FF2B5EF4-FFF2-40B4-BE49-F238E27FC236}">
                <a16:creationId xmlns:a16="http://schemas.microsoft.com/office/drawing/2014/main" id="{F9B473E4-9604-F305-FE62-A37A1E7638B6}"/>
              </a:ext>
            </a:extLst>
          </p:cNvPr>
          <p:cNvGrpSpPr/>
          <p:nvPr/>
        </p:nvGrpSpPr>
        <p:grpSpPr>
          <a:xfrm>
            <a:off x="6597001" y="124926"/>
            <a:ext cx="5150498" cy="230498"/>
            <a:chOff x="6351171" y="122774"/>
            <a:chExt cx="5150498" cy="230498"/>
          </a:xfrm>
        </p:grpSpPr>
        <p:sp>
          <p:nvSpPr>
            <p:cNvPr id="16" name="Rectangle 15">
              <a:extLst>
                <a:ext uri="{FF2B5EF4-FFF2-40B4-BE49-F238E27FC236}">
                  <a16:creationId xmlns:a16="http://schemas.microsoft.com/office/drawing/2014/main" id="{F40A9518-C7EF-1A84-53D9-EAAA4E0399BC}"/>
                </a:ext>
              </a:extLst>
            </p:cNvPr>
            <p:cNvSpPr/>
            <p:nvPr/>
          </p:nvSpPr>
          <p:spPr>
            <a:xfrm>
              <a:off x="6607666"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a:lnSpc>
                  <a:spcPct val="100000"/>
                </a:lnSpc>
                <a:spcBef>
                  <a:spcPts val="0"/>
                </a:spcBef>
                <a:spcAft>
                  <a:spcPts val="0"/>
                </a:spcAft>
                <a:buNone/>
                <a:tabLst/>
                <a:defRPr/>
              </a:pPr>
              <a:r>
                <a:rPr lang="lv-LV" sz="800" b="1" kern="0">
                  <a:solidFill>
                    <a:srgbClr val="A4A3B2"/>
                  </a:solidFill>
                  <a:sym typeface="Georgia"/>
                </a:rPr>
                <a:t>2.2</a:t>
              </a:r>
            </a:p>
          </p:txBody>
        </p:sp>
        <p:sp>
          <p:nvSpPr>
            <p:cNvPr id="17" name="Rectangle 16">
              <a:extLst>
                <a:ext uri="{FF2B5EF4-FFF2-40B4-BE49-F238E27FC236}">
                  <a16:creationId xmlns:a16="http://schemas.microsoft.com/office/drawing/2014/main" id="{B3B1AC95-B60E-2327-D7B9-C2B32A8AA6F1}"/>
                </a:ext>
              </a:extLst>
            </p:cNvPr>
            <p:cNvSpPr/>
            <p:nvPr/>
          </p:nvSpPr>
          <p:spPr>
            <a:xfrm>
              <a:off x="6854868" y="12277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a:lnSpc>
                  <a:spcPct val="100000"/>
                </a:lnSpc>
                <a:spcBef>
                  <a:spcPts val="0"/>
                </a:spcBef>
                <a:spcAft>
                  <a:spcPts val="0"/>
                </a:spcAft>
                <a:buNone/>
                <a:tabLst/>
                <a:defRPr/>
              </a:pPr>
              <a:r>
                <a:rPr lang="lv-LV" sz="800" b="1" kern="0">
                  <a:sym typeface="Georgia"/>
                </a:rPr>
                <a:t>2.3</a:t>
              </a:r>
              <a:endParaRPr lang="en-US"/>
            </a:p>
          </p:txBody>
        </p:sp>
        <p:sp>
          <p:nvSpPr>
            <p:cNvPr id="18" name="Rectangle 17">
              <a:extLst>
                <a:ext uri="{FF2B5EF4-FFF2-40B4-BE49-F238E27FC236}">
                  <a16:creationId xmlns:a16="http://schemas.microsoft.com/office/drawing/2014/main" id="{C59B6F2D-C552-1079-367D-4E043522908B}"/>
                </a:ext>
              </a:extLst>
            </p:cNvPr>
            <p:cNvSpPr/>
            <p:nvPr/>
          </p:nvSpPr>
          <p:spPr>
            <a:xfrm>
              <a:off x="7102070" y="122774"/>
              <a:ext cx="390420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lv-LV" sz="800" b="1">
                  <a:latin typeface="Arial"/>
                  <a:cs typeface="Arial"/>
                </a:rPr>
                <a:t>Civilās aizsardzības sistēmas organizācija un vadība</a:t>
              </a:r>
              <a:endParaRPr lang="en-US"/>
            </a:p>
          </p:txBody>
        </p:sp>
        <p:sp>
          <p:nvSpPr>
            <p:cNvPr id="19" name="Rectangle 18">
              <a:extLst>
                <a:ext uri="{FF2B5EF4-FFF2-40B4-BE49-F238E27FC236}">
                  <a16:creationId xmlns:a16="http://schemas.microsoft.com/office/drawing/2014/main" id="{229164C9-D79A-4A2D-82BC-B1EE50451DA2}"/>
                </a:ext>
              </a:extLst>
            </p:cNvPr>
            <p:cNvSpPr/>
            <p:nvPr/>
          </p:nvSpPr>
          <p:spPr>
            <a:xfrm>
              <a:off x="11038467" y="12277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a:lnSpc>
                  <a:spcPct val="100000"/>
                </a:lnSpc>
                <a:spcBef>
                  <a:spcPts val="0"/>
                </a:spcBef>
                <a:spcAft>
                  <a:spcPts val="0"/>
                </a:spcAft>
                <a:buNone/>
                <a:tabLst/>
                <a:defRPr/>
              </a:pPr>
              <a:r>
                <a:rPr lang="lv-LV" sz="800" b="1" kern="0">
                  <a:solidFill>
                    <a:srgbClr val="A4A3B2"/>
                  </a:solidFill>
                  <a:sym typeface="Georgia"/>
                </a:rPr>
                <a:t>2.4</a:t>
              </a:r>
              <a:endParaRPr lang="en-US"/>
            </a:p>
          </p:txBody>
        </p:sp>
        <p:sp>
          <p:nvSpPr>
            <p:cNvPr id="20" name="Rectangle 19">
              <a:extLst>
                <a:ext uri="{FF2B5EF4-FFF2-40B4-BE49-F238E27FC236}">
                  <a16:creationId xmlns:a16="http://schemas.microsoft.com/office/drawing/2014/main" id="{E87FA912-A978-EF9D-D76B-2DFB9C9FD001}"/>
                </a:ext>
              </a:extLst>
            </p:cNvPr>
            <p:cNvSpPr/>
            <p:nvPr/>
          </p:nvSpPr>
          <p:spPr>
            <a:xfrm>
              <a:off x="11285669" y="12277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a:lnSpc>
                  <a:spcPct val="100000"/>
                </a:lnSpc>
                <a:spcBef>
                  <a:spcPts val="0"/>
                </a:spcBef>
                <a:spcAft>
                  <a:spcPts val="0"/>
                </a:spcAft>
                <a:buNone/>
                <a:tabLst/>
                <a:defRPr/>
              </a:pPr>
              <a:r>
                <a:rPr lang="lv-LV" sz="800" b="1" kern="0">
                  <a:solidFill>
                    <a:srgbClr val="A4A3B2"/>
                  </a:solidFill>
                  <a:sym typeface="Georgia"/>
                </a:rPr>
                <a:t>2.5</a:t>
              </a:r>
              <a:endParaRPr lang="en-US"/>
            </a:p>
          </p:txBody>
        </p:sp>
        <p:sp>
          <p:nvSpPr>
            <p:cNvPr id="21" name="Rectangle 20">
              <a:extLst>
                <a:ext uri="{FF2B5EF4-FFF2-40B4-BE49-F238E27FC236}">
                  <a16:creationId xmlns:a16="http://schemas.microsoft.com/office/drawing/2014/main" id="{966F6934-F802-7588-2F3C-CD8BDB43AD94}"/>
                </a:ext>
              </a:extLst>
            </p:cNvPr>
            <p:cNvSpPr/>
            <p:nvPr/>
          </p:nvSpPr>
          <p:spPr>
            <a:xfrm>
              <a:off x="6351171" y="13578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a:lnSpc>
                  <a:spcPct val="100000"/>
                </a:lnSpc>
                <a:spcBef>
                  <a:spcPts val="0"/>
                </a:spcBef>
                <a:spcAft>
                  <a:spcPts val="0"/>
                </a:spcAft>
                <a:buNone/>
                <a:tabLst/>
                <a:defRPr/>
              </a:pPr>
              <a:r>
                <a:rPr lang="lv-LV" sz="800" b="1" kern="0">
                  <a:solidFill>
                    <a:srgbClr val="A4A3B2"/>
                  </a:solidFill>
                  <a:sym typeface="Georgia"/>
                </a:rPr>
                <a:t>2.1</a:t>
              </a:r>
              <a:endParaRPr lang="en-US"/>
            </a:p>
          </p:txBody>
        </p:sp>
      </p:grpSp>
    </p:spTree>
    <p:extLst>
      <p:ext uri="{BB962C8B-B14F-4D97-AF65-F5344CB8AC3E}">
        <p14:creationId xmlns:p14="http://schemas.microsoft.com/office/powerpoint/2010/main" val="27312293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Picture 55">
            <a:extLst>
              <a:ext uri="{FF2B5EF4-FFF2-40B4-BE49-F238E27FC236}">
                <a16:creationId xmlns:a16="http://schemas.microsoft.com/office/drawing/2014/main" id="{DC123D3F-8291-84F2-B48E-02E31E278036}"/>
              </a:ext>
            </a:extLst>
          </p:cNvPr>
          <p:cNvPicPr>
            <a:picLocks noChangeAspect="1"/>
          </p:cNvPicPr>
          <p:nvPr/>
        </p:nvPicPr>
        <p:blipFill rotWithShape="1">
          <a:blip r:embed="rId3"/>
          <a:srcRect l="22964" r="22964"/>
          <a:stretch/>
        </p:blipFill>
        <p:spPr>
          <a:xfrm>
            <a:off x="442913" y="1819274"/>
            <a:ext cx="3530600" cy="4352925"/>
          </a:xfrm>
          <a:prstGeom prst="rect">
            <a:avLst/>
          </a:prstGeom>
        </p:spPr>
      </p:pic>
      <p:sp>
        <p:nvSpPr>
          <p:cNvPr id="20" name="Rectangle 19">
            <a:extLst>
              <a:ext uri="{FF2B5EF4-FFF2-40B4-BE49-F238E27FC236}">
                <a16:creationId xmlns:a16="http://schemas.microsoft.com/office/drawing/2014/main" id="{9E37260E-4A2E-237C-717D-AABF4DF78E82}"/>
              </a:ext>
            </a:extLst>
          </p:cNvPr>
          <p:cNvSpPr/>
          <p:nvPr/>
        </p:nvSpPr>
        <p:spPr>
          <a:xfrm>
            <a:off x="5007196" y="2504729"/>
            <a:ext cx="6740303" cy="79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valsts un reģionāla mēroga katastrofās, </a:t>
            </a:r>
          </a:p>
        </p:txBody>
      </p:sp>
      <p:sp>
        <p:nvSpPr>
          <p:cNvPr id="22" name="Rectangle 21">
            <a:extLst>
              <a:ext uri="{FF2B5EF4-FFF2-40B4-BE49-F238E27FC236}">
                <a16:creationId xmlns:a16="http://schemas.microsoft.com/office/drawing/2014/main" id="{4F15A08B-341B-83AB-C698-02B91A85BB91}"/>
              </a:ext>
            </a:extLst>
          </p:cNvPr>
          <p:cNvSpPr/>
          <p:nvPr/>
        </p:nvSpPr>
        <p:spPr>
          <a:xfrm>
            <a:off x="5007196" y="3463219"/>
            <a:ext cx="6740303" cy="79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katastrofas draudu gadījumā, </a:t>
            </a:r>
          </a:p>
        </p:txBody>
      </p:sp>
      <p:sp>
        <p:nvSpPr>
          <p:cNvPr id="23" name="Rectangle 22">
            <a:extLst>
              <a:ext uri="{FF2B5EF4-FFF2-40B4-BE49-F238E27FC236}">
                <a16:creationId xmlns:a16="http://schemas.microsoft.com/office/drawing/2014/main" id="{05CA1F69-6BBB-7AE7-1C27-600330A2C998}"/>
              </a:ext>
            </a:extLst>
          </p:cNvPr>
          <p:cNvSpPr/>
          <p:nvPr/>
        </p:nvSpPr>
        <p:spPr>
          <a:xfrm>
            <a:off x="5007196" y="4421709"/>
            <a:ext cx="6740303" cy="79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kara, </a:t>
            </a:r>
          </a:p>
        </p:txBody>
      </p:sp>
      <p:sp>
        <p:nvSpPr>
          <p:cNvPr id="24" name="Rectangle 23">
            <a:extLst>
              <a:ext uri="{FF2B5EF4-FFF2-40B4-BE49-F238E27FC236}">
                <a16:creationId xmlns:a16="http://schemas.microsoft.com/office/drawing/2014/main" id="{E9643F06-BFBA-83AC-3FEE-1823301E5097}"/>
              </a:ext>
            </a:extLst>
          </p:cNvPr>
          <p:cNvSpPr/>
          <p:nvPr/>
        </p:nvSpPr>
        <p:spPr>
          <a:xfrm>
            <a:off x="5007196" y="5380200"/>
            <a:ext cx="6740303" cy="79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militāra iebrukuma vai to draudu gadījumā.</a:t>
            </a:r>
          </a:p>
        </p:txBody>
      </p:sp>
      <p:grpSp>
        <p:nvGrpSpPr>
          <p:cNvPr id="38" name="Group 37">
            <a:extLst>
              <a:ext uri="{FF2B5EF4-FFF2-40B4-BE49-F238E27FC236}">
                <a16:creationId xmlns:a16="http://schemas.microsoft.com/office/drawing/2014/main" id="{9E389FCD-2D09-2C4C-F3A9-F5E02E0C9371}"/>
              </a:ext>
            </a:extLst>
          </p:cNvPr>
          <p:cNvGrpSpPr/>
          <p:nvPr/>
        </p:nvGrpSpPr>
        <p:grpSpPr>
          <a:xfrm>
            <a:off x="4327525" y="2506663"/>
            <a:ext cx="576000" cy="792163"/>
            <a:chOff x="441326" y="2506663"/>
            <a:chExt cx="576000" cy="792163"/>
          </a:xfrm>
        </p:grpSpPr>
        <p:sp>
          <p:nvSpPr>
            <p:cNvPr id="26" name="Rectangle 25">
              <a:extLst>
                <a:ext uri="{FF2B5EF4-FFF2-40B4-BE49-F238E27FC236}">
                  <a16:creationId xmlns:a16="http://schemas.microsoft.com/office/drawing/2014/main" id="{99012F6C-7A3C-5071-6733-10B80BA18197}"/>
                </a:ext>
              </a:extLst>
            </p:cNvPr>
            <p:cNvSpPr/>
            <p:nvPr/>
          </p:nvSpPr>
          <p:spPr>
            <a:xfrm>
              <a:off x="441326" y="2506663"/>
              <a:ext cx="576000" cy="79216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7" name="L-Shape 26">
              <a:extLst>
                <a:ext uri="{FF2B5EF4-FFF2-40B4-BE49-F238E27FC236}">
                  <a16:creationId xmlns:a16="http://schemas.microsoft.com/office/drawing/2014/main" id="{81904B36-FE59-B4EC-D43C-0FB0ACA94E65}"/>
                </a:ext>
              </a:extLst>
            </p:cNvPr>
            <p:cNvSpPr/>
            <p:nvPr/>
          </p:nvSpPr>
          <p:spPr>
            <a:xfrm rot="13500000">
              <a:off x="580626" y="2782199"/>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63490" name="Title 1">
            <a:extLst>
              <a:ext uri="{FF2B5EF4-FFF2-40B4-BE49-F238E27FC236}">
                <a16:creationId xmlns:a16="http://schemas.microsoft.com/office/drawing/2014/main" id="{80D7E509-D312-0E3E-6E10-105079AB376F}"/>
              </a:ext>
            </a:extLst>
          </p:cNvPr>
          <p:cNvSpPr>
            <a:spLocks noGrp="1"/>
          </p:cNvSpPr>
          <p:nvPr>
            <p:ph type="title"/>
          </p:nvPr>
        </p:nvSpPr>
        <p:spPr>
          <a:xfrm>
            <a:off x="442913" y="432001"/>
            <a:ext cx="11306175" cy="1387274"/>
          </a:xfrm>
        </p:spPr>
        <p:txBody>
          <a:bodyPr vert="horz">
            <a:normAutofit/>
          </a:bodyPr>
          <a:lstStyle/>
          <a:p>
            <a:r>
              <a:rPr lang="lv-LV" altLang="lv-LV"/>
              <a:t>Civilās aizsardzības operacionālās vadības centra uzdevumi</a:t>
            </a:r>
            <a:endParaRPr lang="en-US"/>
          </a:p>
        </p:txBody>
      </p:sp>
      <p:sp>
        <p:nvSpPr>
          <p:cNvPr id="4" name="Slide Number Placeholder 3">
            <a:extLst>
              <a:ext uri="{FF2B5EF4-FFF2-40B4-BE49-F238E27FC236}">
                <a16:creationId xmlns:a16="http://schemas.microsoft.com/office/drawing/2014/main" id="{02F42781-1C97-9A4F-FEDB-EA9F3D3C05E2}"/>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a:fld id="{A9DEB5B7-0CCF-447A-91D6-F7DB098D19F7}" type="slidenum">
              <a:rPr lang="lv-LV" altLang="en-US" noProof="0"/>
              <a:pPr lvl="0"/>
              <a:t>18</a:t>
            </a:fld>
            <a:endParaRPr lang="lv-LV" altLang="en-US" noProof="0"/>
          </a:p>
        </p:txBody>
      </p:sp>
      <p:sp>
        <p:nvSpPr>
          <p:cNvPr id="5" name="Rectangle 4">
            <a:extLst>
              <a:ext uri="{FF2B5EF4-FFF2-40B4-BE49-F238E27FC236}">
                <a16:creationId xmlns:a16="http://schemas.microsoft.com/office/drawing/2014/main" id="{59E0BC62-C563-1ABD-2B52-C1D580548F2A}"/>
              </a:ext>
            </a:extLst>
          </p:cNvPr>
          <p:cNvSpPr/>
          <p:nvPr/>
        </p:nvSpPr>
        <p:spPr>
          <a:xfrm>
            <a:off x="4327525" y="1819275"/>
            <a:ext cx="7419974"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b="1"/>
              <a:t>Koordinēt valsts civilās aizsardzības sistēmas darbību:</a:t>
            </a:r>
          </a:p>
        </p:txBody>
      </p:sp>
      <p:sp>
        <p:nvSpPr>
          <p:cNvPr id="7" name="Rectangle 6">
            <a:extLst>
              <a:ext uri="{FF2B5EF4-FFF2-40B4-BE49-F238E27FC236}">
                <a16:creationId xmlns:a16="http://schemas.microsoft.com/office/drawing/2014/main" id="{2408AF45-B07A-C4F5-E222-677CFFCAE3E8}"/>
              </a:ext>
            </a:extLst>
          </p:cNvPr>
          <p:cNvSpPr/>
          <p:nvPr/>
        </p:nvSpPr>
        <p:spPr>
          <a:xfrm>
            <a:off x="11171499"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 name="Rectangle 7">
            <a:extLst>
              <a:ext uri="{FF2B5EF4-FFF2-40B4-BE49-F238E27FC236}">
                <a16:creationId xmlns:a16="http://schemas.microsoft.com/office/drawing/2014/main" id="{51B62037-B422-D9BC-4FBC-E63BBACC04AB}"/>
              </a:ext>
            </a:extLst>
          </p:cNvPr>
          <p:cNvSpPr/>
          <p:nvPr/>
        </p:nvSpPr>
        <p:spPr>
          <a:xfrm>
            <a:off x="11099499"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39" name="Group 38">
            <a:extLst>
              <a:ext uri="{FF2B5EF4-FFF2-40B4-BE49-F238E27FC236}">
                <a16:creationId xmlns:a16="http://schemas.microsoft.com/office/drawing/2014/main" id="{13E69BB8-0693-157A-8563-99946ACCB70B}"/>
              </a:ext>
            </a:extLst>
          </p:cNvPr>
          <p:cNvGrpSpPr/>
          <p:nvPr/>
        </p:nvGrpSpPr>
        <p:grpSpPr>
          <a:xfrm>
            <a:off x="4327525" y="3464454"/>
            <a:ext cx="576000" cy="792163"/>
            <a:chOff x="441326" y="2506663"/>
            <a:chExt cx="576000" cy="792163"/>
          </a:xfrm>
        </p:grpSpPr>
        <p:sp>
          <p:nvSpPr>
            <p:cNvPr id="40" name="Rectangle 39">
              <a:extLst>
                <a:ext uri="{FF2B5EF4-FFF2-40B4-BE49-F238E27FC236}">
                  <a16:creationId xmlns:a16="http://schemas.microsoft.com/office/drawing/2014/main" id="{78B8A44B-2AAF-414C-09F5-AD3373E86AE7}"/>
                </a:ext>
              </a:extLst>
            </p:cNvPr>
            <p:cNvSpPr/>
            <p:nvPr/>
          </p:nvSpPr>
          <p:spPr>
            <a:xfrm>
              <a:off x="441326" y="2506663"/>
              <a:ext cx="576000" cy="79216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1" name="L-Shape 40">
              <a:extLst>
                <a:ext uri="{FF2B5EF4-FFF2-40B4-BE49-F238E27FC236}">
                  <a16:creationId xmlns:a16="http://schemas.microsoft.com/office/drawing/2014/main" id="{A5CD25BD-47BA-5581-F321-80F098C3097E}"/>
                </a:ext>
              </a:extLst>
            </p:cNvPr>
            <p:cNvSpPr/>
            <p:nvPr/>
          </p:nvSpPr>
          <p:spPr>
            <a:xfrm rot="13500000">
              <a:off x="580626" y="2782199"/>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42" name="Group 41">
            <a:extLst>
              <a:ext uri="{FF2B5EF4-FFF2-40B4-BE49-F238E27FC236}">
                <a16:creationId xmlns:a16="http://schemas.microsoft.com/office/drawing/2014/main" id="{A4CA4AD9-995C-BC85-6C50-F7110CC6A28A}"/>
              </a:ext>
            </a:extLst>
          </p:cNvPr>
          <p:cNvGrpSpPr/>
          <p:nvPr/>
        </p:nvGrpSpPr>
        <p:grpSpPr>
          <a:xfrm>
            <a:off x="4327525" y="4422245"/>
            <a:ext cx="576000" cy="792163"/>
            <a:chOff x="441326" y="2506663"/>
            <a:chExt cx="576000" cy="792163"/>
          </a:xfrm>
        </p:grpSpPr>
        <p:sp>
          <p:nvSpPr>
            <p:cNvPr id="43" name="Rectangle 42">
              <a:extLst>
                <a:ext uri="{FF2B5EF4-FFF2-40B4-BE49-F238E27FC236}">
                  <a16:creationId xmlns:a16="http://schemas.microsoft.com/office/drawing/2014/main" id="{1EEE2FBF-3553-962F-24F7-B50911C799FA}"/>
                </a:ext>
              </a:extLst>
            </p:cNvPr>
            <p:cNvSpPr/>
            <p:nvPr/>
          </p:nvSpPr>
          <p:spPr>
            <a:xfrm>
              <a:off x="441326" y="2506663"/>
              <a:ext cx="576000" cy="79216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4" name="L-Shape 43">
              <a:extLst>
                <a:ext uri="{FF2B5EF4-FFF2-40B4-BE49-F238E27FC236}">
                  <a16:creationId xmlns:a16="http://schemas.microsoft.com/office/drawing/2014/main" id="{42164CCF-0F0B-2B2E-BE50-1F6CEB1F96CC}"/>
                </a:ext>
              </a:extLst>
            </p:cNvPr>
            <p:cNvSpPr/>
            <p:nvPr/>
          </p:nvSpPr>
          <p:spPr>
            <a:xfrm rot="13500000">
              <a:off x="580626" y="2782199"/>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45" name="Group 44">
            <a:extLst>
              <a:ext uri="{FF2B5EF4-FFF2-40B4-BE49-F238E27FC236}">
                <a16:creationId xmlns:a16="http://schemas.microsoft.com/office/drawing/2014/main" id="{90501613-C9C1-2796-1FE2-1AC60E0CC26D}"/>
              </a:ext>
            </a:extLst>
          </p:cNvPr>
          <p:cNvGrpSpPr/>
          <p:nvPr/>
        </p:nvGrpSpPr>
        <p:grpSpPr>
          <a:xfrm>
            <a:off x="4327525" y="5380037"/>
            <a:ext cx="576000" cy="792163"/>
            <a:chOff x="441326" y="2506663"/>
            <a:chExt cx="576000" cy="792163"/>
          </a:xfrm>
        </p:grpSpPr>
        <p:sp>
          <p:nvSpPr>
            <p:cNvPr id="46" name="Rectangle 45">
              <a:extLst>
                <a:ext uri="{FF2B5EF4-FFF2-40B4-BE49-F238E27FC236}">
                  <a16:creationId xmlns:a16="http://schemas.microsoft.com/office/drawing/2014/main" id="{4B2E6CA2-6B82-135E-C316-107E7BD89EB2}"/>
                </a:ext>
              </a:extLst>
            </p:cNvPr>
            <p:cNvSpPr/>
            <p:nvPr/>
          </p:nvSpPr>
          <p:spPr>
            <a:xfrm>
              <a:off x="441326" y="2506663"/>
              <a:ext cx="576000" cy="79216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7" name="L-Shape 46">
              <a:extLst>
                <a:ext uri="{FF2B5EF4-FFF2-40B4-BE49-F238E27FC236}">
                  <a16:creationId xmlns:a16="http://schemas.microsoft.com/office/drawing/2014/main" id="{FEC6FB97-817B-9E56-112D-81C73E9C7E69}"/>
                </a:ext>
              </a:extLst>
            </p:cNvPr>
            <p:cNvSpPr/>
            <p:nvPr/>
          </p:nvSpPr>
          <p:spPr>
            <a:xfrm rot="13500000">
              <a:off x="580626" y="2782199"/>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48" name="Rectangle 47">
            <a:extLst>
              <a:ext uri="{FF2B5EF4-FFF2-40B4-BE49-F238E27FC236}">
                <a16:creationId xmlns:a16="http://schemas.microsoft.com/office/drawing/2014/main" id="{E427FBA8-D801-1663-212D-92C41E2A1DD0}"/>
              </a:ext>
            </a:extLst>
          </p:cNvPr>
          <p:cNvSpPr/>
          <p:nvPr/>
        </p:nvSpPr>
        <p:spPr>
          <a:xfrm rot="5400000">
            <a:off x="2172494" y="4371181"/>
            <a:ext cx="71438" cy="35306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57" name="Google Shape;738;p79">
            <a:extLst>
              <a:ext uri="{FF2B5EF4-FFF2-40B4-BE49-F238E27FC236}">
                <a16:creationId xmlns:a16="http://schemas.microsoft.com/office/drawing/2014/main" id="{FE9C66E0-222F-F2FE-C5DE-C97F7DA8988D}"/>
              </a:ext>
            </a:extLst>
          </p:cNvPr>
          <p:cNvGrpSpPr/>
          <p:nvPr/>
        </p:nvGrpSpPr>
        <p:grpSpPr>
          <a:xfrm>
            <a:off x="11279499" y="1927275"/>
            <a:ext cx="360000" cy="360000"/>
            <a:chOff x="2538910" y="4634724"/>
            <a:chExt cx="457200" cy="457200"/>
          </a:xfrm>
          <a:solidFill>
            <a:schemeClr val="bg1"/>
          </a:solidFill>
        </p:grpSpPr>
        <p:sp>
          <p:nvSpPr>
            <p:cNvPr id="58" name="Google Shape;739;p79">
              <a:extLst>
                <a:ext uri="{FF2B5EF4-FFF2-40B4-BE49-F238E27FC236}">
                  <a16:creationId xmlns:a16="http://schemas.microsoft.com/office/drawing/2014/main" id="{0BEF674A-5D57-8606-4DDC-CD969390B3F7}"/>
                </a:ext>
              </a:extLst>
            </p:cNvPr>
            <p:cNvSpPr/>
            <p:nvPr/>
          </p:nvSpPr>
          <p:spPr>
            <a:xfrm>
              <a:off x="2538910" y="4634724"/>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sp>
          <p:nvSpPr>
            <p:cNvPr id="59" name="Google Shape;740;p79">
              <a:extLst>
                <a:ext uri="{FF2B5EF4-FFF2-40B4-BE49-F238E27FC236}">
                  <a16:creationId xmlns:a16="http://schemas.microsoft.com/office/drawing/2014/main" id="{5A84B8DE-559A-5EFC-FA1E-31C2BE36EB7D}"/>
                </a:ext>
              </a:extLst>
            </p:cNvPr>
            <p:cNvSpPr/>
            <p:nvPr/>
          </p:nvSpPr>
          <p:spPr>
            <a:xfrm>
              <a:off x="2712709" y="4812904"/>
              <a:ext cx="110204" cy="116520"/>
            </a:xfrm>
            <a:custGeom>
              <a:avLst/>
              <a:gdLst/>
              <a:ahLst/>
              <a:cxnLst/>
              <a:rect l="l" t="t" r="r" b="b"/>
              <a:pathLst>
                <a:path w="110204" h="116520" extrusionOk="0">
                  <a:moveTo>
                    <a:pt x="7175" y="86392"/>
                  </a:moveTo>
                  <a:cubicBezTo>
                    <a:pt x="19809" y="112791"/>
                    <a:pt x="51450" y="123950"/>
                    <a:pt x="77849" y="111317"/>
                  </a:cubicBezTo>
                  <a:cubicBezTo>
                    <a:pt x="88759" y="106097"/>
                    <a:pt x="97554" y="97301"/>
                    <a:pt x="102775" y="86392"/>
                  </a:cubicBezTo>
                  <a:lnTo>
                    <a:pt x="102775" y="86392"/>
                  </a:lnTo>
                  <a:lnTo>
                    <a:pt x="83503" y="77153"/>
                  </a:lnTo>
                  <a:cubicBezTo>
                    <a:pt x="75859" y="92934"/>
                    <a:pt x="56870" y="99531"/>
                    <a:pt x="41088" y="91888"/>
                  </a:cubicBezTo>
                  <a:cubicBezTo>
                    <a:pt x="34658" y="88774"/>
                    <a:pt x="29467" y="83582"/>
                    <a:pt x="26352" y="77153"/>
                  </a:cubicBezTo>
                  <a:close/>
                  <a:moveTo>
                    <a:pt x="94329" y="0"/>
                  </a:moveTo>
                  <a:cubicBezTo>
                    <a:pt x="85562" y="0"/>
                    <a:pt x="78454" y="7108"/>
                    <a:pt x="78454" y="15875"/>
                  </a:cubicBezTo>
                  <a:cubicBezTo>
                    <a:pt x="78454" y="24642"/>
                    <a:pt x="85562" y="31750"/>
                    <a:pt x="94329" y="31750"/>
                  </a:cubicBezTo>
                  <a:cubicBezTo>
                    <a:pt x="103097" y="31750"/>
                    <a:pt x="110204" y="24642"/>
                    <a:pt x="110204" y="15875"/>
                  </a:cubicBezTo>
                  <a:cubicBezTo>
                    <a:pt x="110204" y="7108"/>
                    <a:pt x="103097" y="0"/>
                    <a:pt x="94329" y="0"/>
                  </a:cubicBezTo>
                  <a:close/>
                  <a:moveTo>
                    <a:pt x="15875" y="0"/>
                  </a:moveTo>
                  <a:cubicBezTo>
                    <a:pt x="7108" y="0"/>
                    <a:pt x="0" y="7108"/>
                    <a:pt x="0" y="15875"/>
                  </a:cubicBezTo>
                  <a:cubicBezTo>
                    <a:pt x="0" y="24642"/>
                    <a:pt x="7108" y="31750"/>
                    <a:pt x="15875" y="31750"/>
                  </a:cubicBezTo>
                  <a:cubicBezTo>
                    <a:pt x="24642" y="31750"/>
                    <a:pt x="31750" y="24642"/>
                    <a:pt x="31750" y="15875"/>
                  </a:cubicBezTo>
                  <a:cubicBezTo>
                    <a:pt x="31750" y="7108"/>
                    <a:pt x="24642" y="0"/>
                    <a:pt x="15875" y="0"/>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sp>
          <p:nvSpPr>
            <p:cNvPr id="60" name="Google Shape;741;p79">
              <a:extLst>
                <a:ext uri="{FF2B5EF4-FFF2-40B4-BE49-F238E27FC236}">
                  <a16:creationId xmlns:a16="http://schemas.microsoft.com/office/drawing/2014/main" id="{B479609E-1A70-0328-CEF2-329607BA3071}"/>
                </a:ext>
              </a:extLst>
            </p:cNvPr>
            <p:cNvSpPr/>
            <p:nvPr/>
          </p:nvSpPr>
          <p:spPr>
            <a:xfrm>
              <a:off x="2619237" y="4691874"/>
              <a:ext cx="298291" cy="337375"/>
            </a:xfrm>
            <a:custGeom>
              <a:avLst/>
              <a:gdLst/>
              <a:ahLst/>
              <a:cxnLst/>
              <a:rect l="l" t="t" r="r" b="b"/>
              <a:pathLst>
                <a:path w="298291" h="337375" extrusionOk="0">
                  <a:moveTo>
                    <a:pt x="284353" y="122746"/>
                  </a:moveTo>
                  <a:lnTo>
                    <a:pt x="271431" y="122746"/>
                  </a:lnTo>
                  <a:lnTo>
                    <a:pt x="271431" y="116396"/>
                  </a:lnTo>
                  <a:cubicBezTo>
                    <a:pt x="271240" y="52192"/>
                    <a:pt x="219239" y="192"/>
                    <a:pt x="155035" y="0"/>
                  </a:cubicBezTo>
                  <a:lnTo>
                    <a:pt x="142113" y="0"/>
                  </a:lnTo>
                  <a:cubicBezTo>
                    <a:pt x="77946" y="191"/>
                    <a:pt x="25962" y="52133"/>
                    <a:pt x="25718" y="116300"/>
                  </a:cubicBezTo>
                  <a:lnTo>
                    <a:pt x="25718" y="122650"/>
                  </a:lnTo>
                  <a:lnTo>
                    <a:pt x="0" y="122650"/>
                  </a:lnTo>
                  <a:lnTo>
                    <a:pt x="0" y="215678"/>
                  </a:lnTo>
                  <a:lnTo>
                    <a:pt x="47181" y="215678"/>
                  </a:lnTo>
                  <a:lnTo>
                    <a:pt x="47181" y="116300"/>
                  </a:lnTo>
                  <a:cubicBezTo>
                    <a:pt x="47337" y="63931"/>
                    <a:pt x="89743" y="21510"/>
                    <a:pt x="142113" y="21336"/>
                  </a:cubicBezTo>
                  <a:lnTo>
                    <a:pt x="155035" y="21336"/>
                  </a:lnTo>
                  <a:cubicBezTo>
                    <a:pt x="207368" y="21563"/>
                    <a:pt x="249717" y="63967"/>
                    <a:pt x="249873" y="116300"/>
                  </a:cubicBezTo>
                  <a:lnTo>
                    <a:pt x="249873" y="204343"/>
                  </a:lnTo>
                  <a:cubicBezTo>
                    <a:pt x="249901" y="229526"/>
                    <a:pt x="239849" y="253672"/>
                    <a:pt x="221964" y="271399"/>
                  </a:cubicBezTo>
                  <a:cubicBezTo>
                    <a:pt x="208197" y="285115"/>
                    <a:pt x="190576" y="294307"/>
                    <a:pt x="171450" y="297752"/>
                  </a:cubicBezTo>
                  <a:lnTo>
                    <a:pt x="171450" y="289243"/>
                  </a:lnTo>
                  <a:lnTo>
                    <a:pt x="123381" y="289243"/>
                  </a:lnTo>
                  <a:lnTo>
                    <a:pt x="123381" y="337376"/>
                  </a:lnTo>
                  <a:lnTo>
                    <a:pt x="171545" y="337376"/>
                  </a:lnTo>
                  <a:lnTo>
                    <a:pt x="171545" y="320040"/>
                  </a:lnTo>
                  <a:lnTo>
                    <a:pt x="171545" y="320040"/>
                  </a:lnTo>
                  <a:lnTo>
                    <a:pt x="171545" y="319532"/>
                  </a:lnTo>
                  <a:lnTo>
                    <a:pt x="172053" y="319532"/>
                  </a:lnTo>
                  <a:cubicBezTo>
                    <a:pt x="224508" y="311525"/>
                    <a:pt x="264995" y="269199"/>
                    <a:pt x="270669" y="216440"/>
                  </a:cubicBezTo>
                  <a:lnTo>
                    <a:pt x="270669" y="215741"/>
                  </a:lnTo>
                  <a:lnTo>
                    <a:pt x="298291" y="215741"/>
                  </a:lnTo>
                  <a:lnTo>
                    <a:pt x="298291" y="122746"/>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grpSp>
      <p:sp>
        <p:nvSpPr>
          <p:cNvPr id="2" name="Rectangle 1">
            <a:extLst>
              <a:ext uri="{FF2B5EF4-FFF2-40B4-BE49-F238E27FC236}">
                <a16:creationId xmlns:a16="http://schemas.microsoft.com/office/drawing/2014/main" id="{5E819559-CA8D-76F9-8402-D2EB38AA36E5}"/>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rgbClr val="A4A3B2"/>
                </a:solidFill>
                <a:effectLst/>
                <a:uLnTx/>
                <a:uFillTx/>
                <a:ea typeface="Georgia"/>
                <a:cs typeface="Georgia"/>
                <a:sym typeface="Georgia"/>
              </a:rPr>
              <a:t>2. CIVILĀS AIZSARDZĪBAS SISTĒMA UN NORMATĪVAIS UN POLITIKAS PLĀNOŠANAS IETVARS</a:t>
            </a:r>
          </a:p>
        </p:txBody>
      </p:sp>
      <p:grpSp>
        <p:nvGrpSpPr>
          <p:cNvPr id="3" name="Group 2">
            <a:extLst>
              <a:ext uri="{FF2B5EF4-FFF2-40B4-BE49-F238E27FC236}">
                <a16:creationId xmlns:a16="http://schemas.microsoft.com/office/drawing/2014/main" id="{95453953-EF40-791A-A5B2-819782F0B643}"/>
              </a:ext>
            </a:extLst>
          </p:cNvPr>
          <p:cNvGrpSpPr/>
          <p:nvPr/>
        </p:nvGrpSpPr>
        <p:grpSpPr>
          <a:xfrm>
            <a:off x="6597001" y="124926"/>
            <a:ext cx="5150498" cy="230498"/>
            <a:chOff x="6351171" y="122774"/>
            <a:chExt cx="5150498" cy="230498"/>
          </a:xfrm>
        </p:grpSpPr>
        <p:sp>
          <p:nvSpPr>
            <p:cNvPr id="6" name="Rectangle 5">
              <a:extLst>
                <a:ext uri="{FF2B5EF4-FFF2-40B4-BE49-F238E27FC236}">
                  <a16:creationId xmlns:a16="http://schemas.microsoft.com/office/drawing/2014/main" id="{8D54C20F-EC00-CC78-EDCD-414EC88CA9B2}"/>
                </a:ext>
              </a:extLst>
            </p:cNvPr>
            <p:cNvSpPr/>
            <p:nvPr/>
          </p:nvSpPr>
          <p:spPr>
            <a:xfrm>
              <a:off x="6607666"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a:lnSpc>
                  <a:spcPct val="100000"/>
                </a:lnSpc>
                <a:spcBef>
                  <a:spcPts val="0"/>
                </a:spcBef>
                <a:spcAft>
                  <a:spcPts val="0"/>
                </a:spcAft>
                <a:buNone/>
                <a:tabLst/>
                <a:defRPr/>
              </a:pPr>
              <a:r>
                <a:rPr lang="lv-LV" sz="800" b="1" kern="0">
                  <a:solidFill>
                    <a:srgbClr val="A4A3B2"/>
                  </a:solidFill>
                  <a:sym typeface="Georgia"/>
                </a:rPr>
                <a:t>2.2</a:t>
              </a:r>
            </a:p>
          </p:txBody>
        </p:sp>
        <p:sp>
          <p:nvSpPr>
            <p:cNvPr id="9" name="Rectangle 8">
              <a:extLst>
                <a:ext uri="{FF2B5EF4-FFF2-40B4-BE49-F238E27FC236}">
                  <a16:creationId xmlns:a16="http://schemas.microsoft.com/office/drawing/2014/main" id="{779DED18-25AC-020D-E32A-089CA19A6BAC}"/>
                </a:ext>
              </a:extLst>
            </p:cNvPr>
            <p:cNvSpPr/>
            <p:nvPr/>
          </p:nvSpPr>
          <p:spPr>
            <a:xfrm>
              <a:off x="6854868" y="12277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a:lnSpc>
                  <a:spcPct val="100000"/>
                </a:lnSpc>
                <a:spcBef>
                  <a:spcPts val="0"/>
                </a:spcBef>
                <a:spcAft>
                  <a:spcPts val="0"/>
                </a:spcAft>
                <a:buNone/>
                <a:tabLst/>
                <a:defRPr/>
              </a:pPr>
              <a:r>
                <a:rPr lang="lv-LV" sz="800" b="1" kern="0">
                  <a:sym typeface="Georgia"/>
                </a:rPr>
                <a:t>2.3</a:t>
              </a:r>
              <a:endParaRPr lang="en-US"/>
            </a:p>
          </p:txBody>
        </p:sp>
        <p:sp>
          <p:nvSpPr>
            <p:cNvPr id="10" name="Rectangle 9">
              <a:extLst>
                <a:ext uri="{FF2B5EF4-FFF2-40B4-BE49-F238E27FC236}">
                  <a16:creationId xmlns:a16="http://schemas.microsoft.com/office/drawing/2014/main" id="{C19C8E60-E507-0E28-19FF-18C5908B90B7}"/>
                </a:ext>
              </a:extLst>
            </p:cNvPr>
            <p:cNvSpPr/>
            <p:nvPr/>
          </p:nvSpPr>
          <p:spPr>
            <a:xfrm>
              <a:off x="7102070" y="122774"/>
              <a:ext cx="390420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lv-LV" sz="800" b="1">
                  <a:latin typeface="Arial"/>
                  <a:cs typeface="Arial"/>
                </a:rPr>
                <a:t>Civilās aizsardzības sistēmas organizācija un vadība</a:t>
              </a:r>
              <a:endParaRPr lang="en-US"/>
            </a:p>
          </p:txBody>
        </p:sp>
        <p:sp>
          <p:nvSpPr>
            <p:cNvPr id="11" name="Rectangle 10">
              <a:extLst>
                <a:ext uri="{FF2B5EF4-FFF2-40B4-BE49-F238E27FC236}">
                  <a16:creationId xmlns:a16="http://schemas.microsoft.com/office/drawing/2014/main" id="{788C8956-F0DB-3883-9B42-E72F0804F32C}"/>
                </a:ext>
              </a:extLst>
            </p:cNvPr>
            <p:cNvSpPr/>
            <p:nvPr/>
          </p:nvSpPr>
          <p:spPr>
            <a:xfrm>
              <a:off x="11038467" y="12277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a:lnSpc>
                  <a:spcPct val="100000"/>
                </a:lnSpc>
                <a:spcBef>
                  <a:spcPts val="0"/>
                </a:spcBef>
                <a:spcAft>
                  <a:spcPts val="0"/>
                </a:spcAft>
                <a:buNone/>
                <a:tabLst/>
                <a:defRPr/>
              </a:pPr>
              <a:r>
                <a:rPr lang="lv-LV" sz="800" b="1" kern="0">
                  <a:solidFill>
                    <a:srgbClr val="A4A3B2"/>
                  </a:solidFill>
                  <a:sym typeface="Georgia"/>
                </a:rPr>
                <a:t>2.4</a:t>
              </a:r>
              <a:endParaRPr lang="en-US"/>
            </a:p>
          </p:txBody>
        </p:sp>
        <p:sp>
          <p:nvSpPr>
            <p:cNvPr id="12" name="Rectangle 11">
              <a:extLst>
                <a:ext uri="{FF2B5EF4-FFF2-40B4-BE49-F238E27FC236}">
                  <a16:creationId xmlns:a16="http://schemas.microsoft.com/office/drawing/2014/main" id="{60CD0D91-362F-4F40-56CF-45E6720AA912}"/>
                </a:ext>
              </a:extLst>
            </p:cNvPr>
            <p:cNvSpPr/>
            <p:nvPr/>
          </p:nvSpPr>
          <p:spPr>
            <a:xfrm>
              <a:off x="11285669" y="12277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a:lnSpc>
                  <a:spcPct val="100000"/>
                </a:lnSpc>
                <a:spcBef>
                  <a:spcPts val="0"/>
                </a:spcBef>
                <a:spcAft>
                  <a:spcPts val="0"/>
                </a:spcAft>
                <a:buNone/>
                <a:tabLst/>
                <a:defRPr/>
              </a:pPr>
              <a:r>
                <a:rPr lang="lv-LV" sz="800" b="1" kern="0">
                  <a:solidFill>
                    <a:srgbClr val="A4A3B2"/>
                  </a:solidFill>
                  <a:sym typeface="Georgia"/>
                </a:rPr>
                <a:t>2.5</a:t>
              </a:r>
              <a:endParaRPr lang="en-US"/>
            </a:p>
          </p:txBody>
        </p:sp>
        <p:sp>
          <p:nvSpPr>
            <p:cNvPr id="14" name="Rectangle 13">
              <a:extLst>
                <a:ext uri="{FF2B5EF4-FFF2-40B4-BE49-F238E27FC236}">
                  <a16:creationId xmlns:a16="http://schemas.microsoft.com/office/drawing/2014/main" id="{A60F58B6-E987-6472-2C0B-34EC0D5F48FA}"/>
                </a:ext>
              </a:extLst>
            </p:cNvPr>
            <p:cNvSpPr/>
            <p:nvPr/>
          </p:nvSpPr>
          <p:spPr>
            <a:xfrm>
              <a:off x="6351171" y="13578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a:lnSpc>
                  <a:spcPct val="100000"/>
                </a:lnSpc>
                <a:spcBef>
                  <a:spcPts val="0"/>
                </a:spcBef>
                <a:spcAft>
                  <a:spcPts val="0"/>
                </a:spcAft>
                <a:buNone/>
                <a:tabLst/>
                <a:defRPr/>
              </a:pPr>
              <a:r>
                <a:rPr lang="lv-LV" sz="800" b="1" kern="0">
                  <a:solidFill>
                    <a:srgbClr val="A4A3B2"/>
                  </a:solidFill>
                  <a:sym typeface="Georgia"/>
                </a:rPr>
                <a:t>2.1</a:t>
              </a:r>
              <a:endParaRPr lang="en-US"/>
            </a:p>
          </p:txBody>
        </p:sp>
      </p:grpSp>
    </p:spTree>
    <p:extLst>
      <p:ext uri="{BB962C8B-B14F-4D97-AF65-F5344CB8AC3E}">
        <p14:creationId xmlns:p14="http://schemas.microsoft.com/office/powerpoint/2010/main" val="23264459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B40A6A7B-2B87-4B90-13A2-74CF008C6E1F}"/>
              </a:ext>
            </a:extLst>
          </p:cNvPr>
          <p:cNvPicPr>
            <a:picLocks noGrp="1" noChangeAspect="1"/>
          </p:cNvPicPr>
          <p:nvPr>
            <p:ph type="pic" sz="quarter" idx="10"/>
          </p:nvPr>
        </p:nvPicPr>
        <p:blipFill>
          <a:blip r:embed="rId3"/>
          <a:srcRect t="20918" b="20918"/>
          <a:stretch>
            <a:fillRect/>
          </a:stretch>
        </p:blipFill>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4" name="Title 1">
            <a:extLst>
              <a:ext uri="{FF2B5EF4-FFF2-40B4-BE49-F238E27FC236}">
                <a16:creationId xmlns:a16="http://schemas.microsoft.com/office/drawing/2014/main" id="{B1CBE399-95B1-4855-23E2-3019CA5A03DE}"/>
              </a:ext>
            </a:extLst>
          </p:cNvPr>
          <p:cNvSpPr txBox="1">
            <a:spLocks/>
          </p:cNvSpPr>
          <p:nvPr/>
        </p:nvSpPr>
        <p:spPr>
          <a:xfrm>
            <a:off x="442913" y="749301"/>
            <a:ext cx="7418387" cy="3573114"/>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6000" kern="1200">
                <a:solidFill>
                  <a:schemeClr val="bg1"/>
                </a:solidFill>
                <a:latin typeface="+mj-lt"/>
                <a:ea typeface="+mj-ea"/>
                <a:cs typeface="+mj-cs"/>
              </a:defRPr>
            </a:lvl1pPr>
          </a:lstStyle>
          <a:p>
            <a:r>
              <a:rPr lang="lv-LV" sz="4000"/>
              <a:t>2.4. Civilās aizsardzības pasākumu plānošana </a:t>
            </a:r>
          </a:p>
        </p:txBody>
      </p:sp>
    </p:spTree>
    <p:extLst>
      <p:ext uri="{BB962C8B-B14F-4D97-AF65-F5344CB8AC3E}">
        <p14:creationId xmlns:p14="http://schemas.microsoft.com/office/powerpoint/2010/main" val="42603494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41C4F-F07F-7C71-88DD-EEFC9A9A1906}"/>
              </a:ext>
            </a:extLst>
          </p:cNvPr>
          <p:cNvSpPr>
            <a:spLocks noGrp="1"/>
          </p:cNvSpPr>
          <p:nvPr>
            <p:ph type="title"/>
          </p:nvPr>
        </p:nvSpPr>
        <p:spPr>
          <a:xfrm>
            <a:off x="442914" y="432001"/>
            <a:ext cx="5473700" cy="1387274"/>
          </a:xfrm>
        </p:spPr>
        <p:txBody>
          <a:bodyPr vert="horz">
            <a:normAutofit/>
          </a:bodyPr>
          <a:lstStyle/>
          <a:p>
            <a:r>
              <a:rPr lang="lv-LV"/>
              <a:t>Uzdevumi</a:t>
            </a:r>
          </a:p>
        </p:txBody>
      </p:sp>
      <p:sp>
        <p:nvSpPr>
          <p:cNvPr id="3" name="TextBox 2">
            <a:extLst>
              <a:ext uri="{FF2B5EF4-FFF2-40B4-BE49-F238E27FC236}">
                <a16:creationId xmlns:a16="http://schemas.microsoft.com/office/drawing/2014/main" id="{4EF6DB77-182C-C281-1C2F-C2E2D9AB6583}"/>
              </a:ext>
            </a:extLst>
          </p:cNvPr>
          <p:cNvSpPr txBox="1"/>
          <p:nvPr/>
        </p:nvSpPr>
        <p:spPr>
          <a:xfrm>
            <a:off x="6280209" y="1832844"/>
            <a:ext cx="5473702" cy="2510653"/>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600"/>
              </a:spcAft>
            </a:pPr>
            <a:r>
              <a:rPr lang="lv-LV" sz="1600">
                <a:cs typeface="Arial"/>
              </a:rPr>
              <a:t>Izglītojamie:</a:t>
            </a:r>
          </a:p>
          <a:p>
            <a:pPr marL="742950" lvl="3" indent="-285750">
              <a:buBlip>
                <a:blip r:embed="rId3"/>
              </a:buBlip>
            </a:pPr>
            <a:r>
              <a:rPr lang="en-GB" sz="1600" err="1">
                <a:cs typeface="Arial"/>
              </a:rPr>
              <a:t>spēj</a:t>
            </a:r>
            <a:r>
              <a:rPr lang="en-GB" sz="1600">
                <a:cs typeface="Arial"/>
              </a:rPr>
              <a:t> paskaidrot </a:t>
            </a:r>
            <a:r>
              <a:rPr lang="en-GB" sz="1600" err="1">
                <a:cs typeface="Arial"/>
              </a:rPr>
              <a:t>normatīvo</a:t>
            </a:r>
            <a:r>
              <a:rPr lang="en-GB" sz="1600">
                <a:cs typeface="Arial"/>
              </a:rPr>
              <a:t> </a:t>
            </a:r>
            <a:r>
              <a:rPr lang="en-GB" sz="1600" err="1">
                <a:cs typeface="Arial"/>
              </a:rPr>
              <a:t>aktu</a:t>
            </a:r>
            <a:r>
              <a:rPr lang="en-GB" sz="1600">
                <a:cs typeface="Arial"/>
              </a:rPr>
              <a:t> </a:t>
            </a:r>
            <a:r>
              <a:rPr lang="en-GB" sz="1600" err="1">
                <a:cs typeface="Arial"/>
              </a:rPr>
              <a:t>hierarhiju</a:t>
            </a:r>
            <a:r>
              <a:rPr lang="en-GB" sz="1600">
                <a:cs typeface="Arial"/>
              </a:rPr>
              <a:t>, kas </a:t>
            </a:r>
            <a:r>
              <a:rPr lang="en-GB" sz="1600" err="1">
                <a:cs typeface="Arial"/>
              </a:rPr>
              <a:t>nosaka</a:t>
            </a:r>
            <a:r>
              <a:rPr lang="en-GB" sz="1600">
                <a:cs typeface="Arial"/>
              </a:rPr>
              <a:t> civilās aizsardzības </a:t>
            </a:r>
            <a:r>
              <a:rPr lang="en-GB" sz="1600" err="1">
                <a:cs typeface="Arial"/>
              </a:rPr>
              <a:t>tiesisko</a:t>
            </a:r>
            <a:r>
              <a:rPr lang="en-GB" sz="1600">
                <a:cs typeface="Arial"/>
              </a:rPr>
              <a:t> </a:t>
            </a:r>
            <a:r>
              <a:rPr lang="en-GB" sz="1600" err="1">
                <a:cs typeface="Arial"/>
              </a:rPr>
              <a:t>regulējumu</a:t>
            </a:r>
            <a:r>
              <a:rPr lang="en-GB" sz="1600">
                <a:cs typeface="Arial"/>
              </a:rPr>
              <a:t>; </a:t>
            </a:r>
          </a:p>
          <a:p>
            <a:pPr marL="742950" lvl="3" indent="-285750">
              <a:buBlip>
                <a:blip r:embed="rId3"/>
              </a:buBlip>
            </a:pPr>
            <a:r>
              <a:rPr lang="en-GB" sz="1600" err="1">
                <a:cs typeface="Arial"/>
              </a:rPr>
              <a:t>izprot</a:t>
            </a:r>
            <a:r>
              <a:rPr lang="en-GB" sz="1600">
                <a:cs typeface="Arial"/>
              </a:rPr>
              <a:t> civilās aizsardzības </a:t>
            </a:r>
            <a:r>
              <a:rPr lang="en-GB" sz="1600" err="1">
                <a:cs typeface="Arial"/>
              </a:rPr>
              <a:t>plānošanas</a:t>
            </a:r>
            <a:r>
              <a:rPr lang="en-GB" sz="1600">
                <a:cs typeface="Arial"/>
              </a:rPr>
              <a:t> </a:t>
            </a:r>
            <a:r>
              <a:rPr lang="en-GB" sz="1600" err="1">
                <a:cs typeface="Arial"/>
              </a:rPr>
              <a:t>dokumentus</a:t>
            </a:r>
            <a:r>
              <a:rPr lang="en-GB" sz="1600">
                <a:cs typeface="Arial"/>
              </a:rPr>
              <a:t> un </a:t>
            </a:r>
            <a:r>
              <a:rPr lang="en-GB" sz="1600" err="1">
                <a:cs typeface="Arial"/>
              </a:rPr>
              <a:t>procesu</a:t>
            </a:r>
            <a:r>
              <a:rPr lang="en-GB" sz="1600">
                <a:cs typeface="Arial"/>
              </a:rPr>
              <a:t>;</a:t>
            </a:r>
          </a:p>
          <a:p>
            <a:pPr marL="742950" lvl="3" indent="-285750">
              <a:buBlip>
                <a:blip r:embed="rId3"/>
              </a:buBlip>
            </a:pPr>
            <a:r>
              <a:rPr lang="en-GB" sz="1600" err="1">
                <a:cs typeface="Arial"/>
              </a:rPr>
              <a:t>izprot</a:t>
            </a:r>
            <a:r>
              <a:rPr lang="en-GB" sz="1600">
                <a:cs typeface="Arial"/>
              </a:rPr>
              <a:t> civilās aizsardzības </a:t>
            </a:r>
            <a:r>
              <a:rPr lang="en-GB" sz="1600" err="1">
                <a:cs typeface="Arial"/>
              </a:rPr>
              <a:t>sistēmas</a:t>
            </a:r>
            <a:r>
              <a:rPr lang="en-GB" sz="1600">
                <a:cs typeface="Arial"/>
              </a:rPr>
              <a:t> </a:t>
            </a:r>
            <a:r>
              <a:rPr lang="en-GB" sz="1600" err="1">
                <a:cs typeface="Arial"/>
              </a:rPr>
              <a:t>organizatorisko</a:t>
            </a:r>
            <a:r>
              <a:rPr lang="en-GB" sz="1600">
                <a:cs typeface="Arial"/>
              </a:rPr>
              <a:t> </a:t>
            </a:r>
            <a:r>
              <a:rPr lang="en-GB" sz="1600" err="1">
                <a:cs typeface="Arial"/>
              </a:rPr>
              <a:t>struktūru</a:t>
            </a:r>
            <a:r>
              <a:rPr lang="en-GB" sz="1600">
                <a:cs typeface="Arial"/>
              </a:rPr>
              <a:t>;  </a:t>
            </a:r>
          </a:p>
          <a:p>
            <a:pPr marL="742950" lvl="3" indent="-285750">
              <a:buBlip>
                <a:blip r:embed="rId3"/>
              </a:buBlip>
            </a:pPr>
            <a:r>
              <a:rPr lang="en-GB" sz="1600" err="1">
                <a:cs typeface="Arial"/>
              </a:rPr>
              <a:t>spēj</a:t>
            </a:r>
            <a:r>
              <a:rPr lang="en-GB" sz="1600">
                <a:cs typeface="Arial"/>
              </a:rPr>
              <a:t> </a:t>
            </a:r>
            <a:r>
              <a:rPr lang="en-GB" sz="1600" err="1">
                <a:cs typeface="Arial"/>
              </a:rPr>
              <a:t>identificēt</a:t>
            </a:r>
            <a:r>
              <a:rPr lang="en-GB" sz="1600">
                <a:cs typeface="Arial"/>
              </a:rPr>
              <a:t> </a:t>
            </a:r>
            <a:r>
              <a:rPr lang="en-GB" sz="1600" err="1">
                <a:cs typeface="Arial"/>
              </a:rPr>
              <a:t>gadījumus</a:t>
            </a:r>
            <a:r>
              <a:rPr lang="en-GB" sz="1600">
                <a:cs typeface="Arial"/>
              </a:rPr>
              <a:t>, </a:t>
            </a:r>
            <a:r>
              <a:rPr lang="en-GB" sz="1600" err="1">
                <a:cs typeface="Arial"/>
              </a:rPr>
              <a:t>kad</a:t>
            </a:r>
            <a:r>
              <a:rPr lang="en-GB" sz="1600">
                <a:cs typeface="Arial"/>
              </a:rPr>
              <a:t> </a:t>
            </a:r>
            <a:r>
              <a:rPr lang="en-GB" sz="1600" err="1">
                <a:cs typeface="Arial"/>
              </a:rPr>
              <a:t>nepieciešams</a:t>
            </a:r>
            <a:r>
              <a:rPr lang="en-GB" sz="1600">
                <a:cs typeface="Arial"/>
              </a:rPr>
              <a:t> </a:t>
            </a:r>
            <a:r>
              <a:rPr lang="en-GB" sz="1600" err="1">
                <a:cs typeface="Arial"/>
              </a:rPr>
              <a:t>izsludināt</a:t>
            </a:r>
            <a:r>
              <a:rPr lang="en-GB" sz="1600">
                <a:cs typeface="Arial"/>
              </a:rPr>
              <a:t> </a:t>
            </a:r>
            <a:r>
              <a:rPr lang="en-GB" sz="1600" err="1">
                <a:cs typeface="Arial"/>
              </a:rPr>
              <a:t>īpašos</a:t>
            </a:r>
            <a:r>
              <a:rPr lang="en-GB" sz="1600">
                <a:cs typeface="Arial"/>
              </a:rPr>
              <a:t> </a:t>
            </a:r>
            <a:r>
              <a:rPr lang="en-GB" sz="1600" err="1">
                <a:cs typeface="Arial"/>
              </a:rPr>
              <a:t>tiesiskos</a:t>
            </a:r>
            <a:r>
              <a:rPr lang="en-GB" sz="1600">
                <a:cs typeface="Arial"/>
              </a:rPr>
              <a:t> </a:t>
            </a:r>
            <a:r>
              <a:rPr lang="en-GB" sz="1600" err="1">
                <a:cs typeface="Arial"/>
              </a:rPr>
              <a:t>režīmus</a:t>
            </a:r>
            <a:r>
              <a:rPr lang="lv-LV" sz="1600">
                <a:cs typeface="Arial"/>
              </a:rPr>
              <a:t>.</a:t>
            </a:r>
            <a:endParaRPr lang="en-GB" sz="1600">
              <a:cs typeface="Arial"/>
            </a:endParaRPr>
          </a:p>
        </p:txBody>
      </p:sp>
      <p:sp>
        <p:nvSpPr>
          <p:cNvPr id="4" name="Title 1">
            <a:extLst>
              <a:ext uri="{FF2B5EF4-FFF2-40B4-BE49-F238E27FC236}">
                <a16:creationId xmlns:a16="http://schemas.microsoft.com/office/drawing/2014/main" id="{DE559977-5422-3158-C786-2983A20A2674}"/>
              </a:ext>
            </a:extLst>
          </p:cNvPr>
          <p:cNvSpPr txBox="1">
            <a:spLocks/>
          </p:cNvSpPr>
          <p:nvPr/>
        </p:nvSpPr>
        <p:spPr>
          <a:xfrm>
            <a:off x="6280210" y="432001"/>
            <a:ext cx="5473700" cy="1387274"/>
          </a:xfrm>
          <a:prstGeom prst="rect">
            <a:avLst/>
          </a:prstGeom>
        </p:spPr>
        <p:txBody>
          <a:bodyPr vert="horz" lIns="0" tIns="0" rIns="0" bIns="0" rtlCol="0" anchor="t" anchorCtr="0">
            <a:normAutofit fontScale="97500"/>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buSzPct val="100000"/>
            </a:pPr>
            <a:r>
              <a:rPr lang="lv-LV" sz="3600">
                <a:latin typeface="Georgia"/>
                <a:cs typeface="Arial"/>
              </a:rPr>
              <a:t>Sasniedzamie rezultāti</a:t>
            </a:r>
            <a:endParaRPr lang="lv-LV" sz="3600">
              <a:cs typeface="Arial"/>
            </a:endParaRPr>
          </a:p>
        </p:txBody>
      </p:sp>
      <p:sp>
        <p:nvSpPr>
          <p:cNvPr id="6" name="TextBox 5">
            <a:extLst>
              <a:ext uri="{FF2B5EF4-FFF2-40B4-BE49-F238E27FC236}">
                <a16:creationId xmlns:a16="http://schemas.microsoft.com/office/drawing/2014/main" id="{2CB3F9F5-858C-1D21-4D13-EAEDABE2E74A}"/>
              </a:ext>
            </a:extLst>
          </p:cNvPr>
          <p:cNvSpPr txBox="1"/>
          <p:nvPr/>
        </p:nvSpPr>
        <p:spPr>
          <a:xfrm>
            <a:off x="442911" y="1832843"/>
            <a:ext cx="5473702" cy="2509817"/>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Aft>
                <a:spcPts val="600"/>
              </a:spcAft>
            </a:pPr>
            <a:r>
              <a:rPr lang="lv-LV" sz="1600">
                <a:cs typeface="Arial"/>
              </a:rPr>
              <a:t>Iepazīstināt izglītojamos ar: </a:t>
            </a:r>
          </a:p>
          <a:p>
            <a:pPr marL="740664" indent="-285750">
              <a:buBlip>
                <a:blip r:embed="rId3"/>
              </a:buBlip>
            </a:pPr>
            <a:r>
              <a:rPr lang="lv-LV" sz="1600">
                <a:cs typeface="Arial"/>
              </a:rPr>
              <a:t>valsts civilās aizsardzības lomu nacionālās drošības sistēmā; </a:t>
            </a:r>
          </a:p>
          <a:p>
            <a:pPr marL="740664" indent="-285750">
              <a:buBlip>
                <a:blip r:embed="rId3"/>
              </a:buBlip>
            </a:pPr>
            <a:r>
              <a:rPr lang="lv-LV" sz="1600">
                <a:cs typeface="Arial"/>
              </a:rPr>
              <a:t>valsts civilās aizsardzības tiesisko regulējumu un politikas plānošanas ietvaru; </a:t>
            </a:r>
          </a:p>
          <a:p>
            <a:pPr marL="740664" indent="-285750">
              <a:buBlip>
                <a:blip r:embed="rId3"/>
              </a:buBlip>
            </a:pPr>
            <a:r>
              <a:rPr lang="lv-LV" sz="1600">
                <a:cs typeface="Arial"/>
              </a:rPr>
              <a:t>no normatīvā regulējuma izrietošajiem civilās aizsardzības sistēmas nozīmīgākajiem principiem; </a:t>
            </a:r>
          </a:p>
          <a:p>
            <a:pPr marL="740664" indent="-285750">
              <a:buBlip>
                <a:blip r:embed="rId3"/>
              </a:buBlip>
            </a:pPr>
            <a:r>
              <a:rPr lang="lv-LV" sz="1600">
                <a:cs typeface="Arial"/>
              </a:rPr>
              <a:t>īpašajiem tiesiskajiem režīmiem.</a:t>
            </a:r>
          </a:p>
        </p:txBody>
      </p:sp>
      <p:sp>
        <p:nvSpPr>
          <p:cNvPr id="8" name="Rectangle 7">
            <a:extLst>
              <a:ext uri="{FF2B5EF4-FFF2-40B4-BE49-F238E27FC236}">
                <a16:creationId xmlns:a16="http://schemas.microsoft.com/office/drawing/2014/main" id="{B6BFA0E2-7135-FFE5-3283-2EDC43146D38}"/>
              </a:ext>
            </a:extLst>
          </p:cNvPr>
          <p:cNvSpPr/>
          <p:nvPr/>
        </p:nvSpPr>
        <p:spPr>
          <a:xfrm>
            <a:off x="442911" y="955542"/>
            <a:ext cx="54737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9" name="Rectangle 8">
            <a:extLst>
              <a:ext uri="{FF2B5EF4-FFF2-40B4-BE49-F238E27FC236}">
                <a16:creationId xmlns:a16="http://schemas.microsoft.com/office/drawing/2014/main" id="{A8B3E759-01F6-3FCC-7165-6B1BE6AFC21E}"/>
              </a:ext>
            </a:extLst>
          </p:cNvPr>
          <p:cNvSpPr/>
          <p:nvPr/>
        </p:nvSpPr>
        <p:spPr>
          <a:xfrm>
            <a:off x="6281995" y="955047"/>
            <a:ext cx="5473700" cy="57626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4" name="Freeform 128">
            <a:extLst>
              <a:ext uri="{FF2B5EF4-FFF2-40B4-BE49-F238E27FC236}">
                <a16:creationId xmlns:a16="http://schemas.microsoft.com/office/drawing/2014/main" id="{19F3A3EA-1A15-1B4C-8DCB-26EE245E8AFC}"/>
              </a:ext>
            </a:extLst>
          </p:cNvPr>
          <p:cNvSpPr>
            <a:spLocks noChangeAspect="1" noEditPoints="1"/>
          </p:cNvSpPr>
          <p:nvPr/>
        </p:nvSpPr>
        <p:spPr bwMode="auto">
          <a:xfrm>
            <a:off x="8801060" y="1026929"/>
            <a:ext cx="432000" cy="433227"/>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1 h 576"/>
              <a:gd name="T12" fmla="*/ 25 w 576"/>
              <a:gd name="T13" fmla="*/ 551 h 576"/>
              <a:gd name="T14" fmla="*/ 25 w 576"/>
              <a:gd name="T15" fmla="*/ 25 h 576"/>
              <a:gd name="T16" fmla="*/ 551 w 576"/>
              <a:gd name="T17" fmla="*/ 25 h 576"/>
              <a:gd name="T18" fmla="*/ 551 w 576"/>
              <a:gd name="T19" fmla="*/ 551 h 576"/>
              <a:gd name="T20" fmla="*/ 130 w 576"/>
              <a:gd name="T21" fmla="*/ 215 h 576"/>
              <a:gd name="T22" fmla="*/ 176 w 576"/>
              <a:gd name="T23" fmla="*/ 169 h 576"/>
              <a:gd name="T24" fmla="*/ 130 w 576"/>
              <a:gd name="T25" fmla="*/ 124 h 576"/>
              <a:gd name="T26" fmla="*/ 85 w 576"/>
              <a:gd name="T27" fmla="*/ 169 h 576"/>
              <a:gd name="T28" fmla="*/ 130 w 576"/>
              <a:gd name="T29" fmla="*/ 215 h 576"/>
              <a:gd name="T30" fmla="*/ 130 w 576"/>
              <a:gd name="T31" fmla="*/ 148 h 576"/>
              <a:gd name="T32" fmla="*/ 151 w 576"/>
              <a:gd name="T33" fmla="*/ 169 h 576"/>
              <a:gd name="T34" fmla="*/ 130 w 576"/>
              <a:gd name="T35" fmla="*/ 190 h 576"/>
              <a:gd name="T36" fmla="*/ 109 w 576"/>
              <a:gd name="T37" fmla="*/ 169 h 576"/>
              <a:gd name="T38" fmla="*/ 130 w 576"/>
              <a:gd name="T39" fmla="*/ 148 h 576"/>
              <a:gd name="T40" fmla="*/ 494 w 576"/>
              <a:gd name="T41" fmla="*/ 182 h 576"/>
              <a:gd name="T42" fmla="*/ 217 w 576"/>
              <a:gd name="T43" fmla="*/ 182 h 576"/>
              <a:gd name="T44" fmla="*/ 217 w 576"/>
              <a:gd name="T45" fmla="*/ 157 h 576"/>
              <a:gd name="T46" fmla="*/ 494 w 576"/>
              <a:gd name="T47" fmla="*/ 157 h 576"/>
              <a:gd name="T48" fmla="*/ 494 w 576"/>
              <a:gd name="T49" fmla="*/ 182 h 576"/>
              <a:gd name="T50" fmla="*/ 130 w 576"/>
              <a:gd name="T51" fmla="*/ 358 h 576"/>
              <a:gd name="T52" fmla="*/ 176 w 576"/>
              <a:gd name="T53" fmla="*/ 312 h 576"/>
              <a:gd name="T54" fmla="*/ 130 w 576"/>
              <a:gd name="T55" fmla="*/ 267 h 576"/>
              <a:gd name="T56" fmla="*/ 85 w 576"/>
              <a:gd name="T57" fmla="*/ 312 h 576"/>
              <a:gd name="T58" fmla="*/ 130 w 576"/>
              <a:gd name="T59" fmla="*/ 358 h 576"/>
              <a:gd name="T60" fmla="*/ 130 w 576"/>
              <a:gd name="T61" fmla="*/ 291 h 576"/>
              <a:gd name="T62" fmla="*/ 151 w 576"/>
              <a:gd name="T63" fmla="*/ 312 h 576"/>
              <a:gd name="T64" fmla="*/ 130 w 576"/>
              <a:gd name="T65" fmla="*/ 333 h 576"/>
              <a:gd name="T66" fmla="*/ 109 w 576"/>
              <a:gd name="T67" fmla="*/ 312 h 576"/>
              <a:gd name="T68" fmla="*/ 130 w 576"/>
              <a:gd name="T69" fmla="*/ 291 h 576"/>
              <a:gd name="T70" fmla="*/ 494 w 576"/>
              <a:gd name="T71" fmla="*/ 325 h 576"/>
              <a:gd name="T72" fmla="*/ 217 w 576"/>
              <a:gd name="T73" fmla="*/ 325 h 576"/>
              <a:gd name="T74" fmla="*/ 217 w 576"/>
              <a:gd name="T75" fmla="*/ 300 h 576"/>
              <a:gd name="T76" fmla="*/ 494 w 576"/>
              <a:gd name="T77" fmla="*/ 300 h 576"/>
              <a:gd name="T78" fmla="*/ 494 w 576"/>
              <a:gd name="T79" fmla="*/ 325 h 576"/>
              <a:gd name="T80" fmla="*/ 130 w 576"/>
              <a:gd name="T81" fmla="*/ 501 h 576"/>
              <a:gd name="T82" fmla="*/ 176 w 576"/>
              <a:gd name="T83" fmla="*/ 455 h 576"/>
              <a:gd name="T84" fmla="*/ 130 w 576"/>
              <a:gd name="T85" fmla="*/ 410 h 576"/>
              <a:gd name="T86" fmla="*/ 85 w 576"/>
              <a:gd name="T87" fmla="*/ 455 h 576"/>
              <a:gd name="T88" fmla="*/ 130 w 576"/>
              <a:gd name="T89" fmla="*/ 501 h 576"/>
              <a:gd name="T90" fmla="*/ 130 w 576"/>
              <a:gd name="T91" fmla="*/ 434 h 576"/>
              <a:gd name="T92" fmla="*/ 151 w 576"/>
              <a:gd name="T93" fmla="*/ 455 h 576"/>
              <a:gd name="T94" fmla="*/ 130 w 576"/>
              <a:gd name="T95" fmla="*/ 476 h 576"/>
              <a:gd name="T96" fmla="*/ 109 w 576"/>
              <a:gd name="T97" fmla="*/ 455 h 576"/>
              <a:gd name="T98" fmla="*/ 130 w 576"/>
              <a:gd name="T99" fmla="*/ 434 h 576"/>
              <a:gd name="T100" fmla="*/ 494 w 576"/>
              <a:gd name="T101" fmla="*/ 468 h 576"/>
              <a:gd name="T102" fmla="*/ 217 w 576"/>
              <a:gd name="T103" fmla="*/ 468 h 576"/>
              <a:gd name="T104" fmla="*/ 217 w 576"/>
              <a:gd name="T105" fmla="*/ 443 h 576"/>
              <a:gd name="T106" fmla="*/ 494 w 576"/>
              <a:gd name="T107" fmla="*/ 443 h 576"/>
              <a:gd name="T108" fmla="*/ 494 w 576"/>
              <a:gd name="T109" fmla="*/ 46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moveTo>
                  <a:pt x="130" y="215"/>
                </a:moveTo>
                <a:cubicBezTo>
                  <a:pt x="155" y="215"/>
                  <a:pt x="176" y="194"/>
                  <a:pt x="176" y="169"/>
                </a:cubicBezTo>
                <a:cubicBezTo>
                  <a:pt x="176" y="144"/>
                  <a:pt x="155" y="124"/>
                  <a:pt x="130" y="124"/>
                </a:cubicBezTo>
                <a:cubicBezTo>
                  <a:pt x="105" y="124"/>
                  <a:pt x="85" y="144"/>
                  <a:pt x="85" y="169"/>
                </a:cubicBezTo>
                <a:cubicBezTo>
                  <a:pt x="85" y="194"/>
                  <a:pt x="105" y="215"/>
                  <a:pt x="130" y="215"/>
                </a:cubicBezTo>
                <a:close/>
                <a:moveTo>
                  <a:pt x="130" y="148"/>
                </a:moveTo>
                <a:cubicBezTo>
                  <a:pt x="142" y="148"/>
                  <a:pt x="151" y="158"/>
                  <a:pt x="151" y="169"/>
                </a:cubicBezTo>
                <a:cubicBezTo>
                  <a:pt x="151" y="181"/>
                  <a:pt x="142" y="190"/>
                  <a:pt x="130" y="190"/>
                </a:cubicBezTo>
                <a:cubicBezTo>
                  <a:pt x="119" y="190"/>
                  <a:pt x="109" y="181"/>
                  <a:pt x="109" y="169"/>
                </a:cubicBezTo>
                <a:cubicBezTo>
                  <a:pt x="109" y="158"/>
                  <a:pt x="119" y="148"/>
                  <a:pt x="130" y="148"/>
                </a:cubicBezTo>
                <a:close/>
                <a:moveTo>
                  <a:pt x="494" y="182"/>
                </a:moveTo>
                <a:cubicBezTo>
                  <a:pt x="217" y="182"/>
                  <a:pt x="217" y="182"/>
                  <a:pt x="217" y="182"/>
                </a:cubicBezTo>
                <a:cubicBezTo>
                  <a:pt x="217" y="157"/>
                  <a:pt x="217" y="157"/>
                  <a:pt x="217" y="157"/>
                </a:cubicBezTo>
                <a:cubicBezTo>
                  <a:pt x="494" y="157"/>
                  <a:pt x="494" y="157"/>
                  <a:pt x="494" y="157"/>
                </a:cubicBezTo>
                <a:lnTo>
                  <a:pt x="494" y="182"/>
                </a:lnTo>
                <a:close/>
                <a:moveTo>
                  <a:pt x="130" y="358"/>
                </a:moveTo>
                <a:cubicBezTo>
                  <a:pt x="155" y="358"/>
                  <a:pt x="176" y="337"/>
                  <a:pt x="176" y="312"/>
                </a:cubicBezTo>
                <a:cubicBezTo>
                  <a:pt x="176" y="287"/>
                  <a:pt x="155" y="267"/>
                  <a:pt x="130" y="267"/>
                </a:cubicBezTo>
                <a:cubicBezTo>
                  <a:pt x="105" y="267"/>
                  <a:pt x="85" y="287"/>
                  <a:pt x="85" y="312"/>
                </a:cubicBezTo>
                <a:cubicBezTo>
                  <a:pt x="85" y="337"/>
                  <a:pt x="105" y="358"/>
                  <a:pt x="130" y="358"/>
                </a:cubicBezTo>
                <a:close/>
                <a:moveTo>
                  <a:pt x="130" y="291"/>
                </a:moveTo>
                <a:cubicBezTo>
                  <a:pt x="142" y="291"/>
                  <a:pt x="151" y="301"/>
                  <a:pt x="151" y="312"/>
                </a:cubicBezTo>
                <a:cubicBezTo>
                  <a:pt x="151" y="324"/>
                  <a:pt x="142" y="333"/>
                  <a:pt x="130" y="333"/>
                </a:cubicBezTo>
                <a:cubicBezTo>
                  <a:pt x="119" y="333"/>
                  <a:pt x="109" y="324"/>
                  <a:pt x="109" y="312"/>
                </a:cubicBezTo>
                <a:cubicBezTo>
                  <a:pt x="109" y="301"/>
                  <a:pt x="119" y="291"/>
                  <a:pt x="130" y="291"/>
                </a:cubicBezTo>
                <a:close/>
                <a:moveTo>
                  <a:pt x="494" y="325"/>
                </a:moveTo>
                <a:cubicBezTo>
                  <a:pt x="217" y="325"/>
                  <a:pt x="217" y="325"/>
                  <a:pt x="217" y="325"/>
                </a:cubicBezTo>
                <a:cubicBezTo>
                  <a:pt x="217" y="300"/>
                  <a:pt x="217" y="300"/>
                  <a:pt x="217" y="300"/>
                </a:cubicBezTo>
                <a:cubicBezTo>
                  <a:pt x="494" y="300"/>
                  <a:pt x="494" y="300"/>
                  <a:pt x="494" y="300"/>
                </a:cubicBezTo>
                <a:lnTo>
                  <a:pt x="494" y="325"/>
                </a:lnTo>
                <a:close/>
                <a:moveTo>
                  <a:pt x="130" y="501"/>
                </a:moveTo>
                <a:cubicBezTo>
                  <a:pt x="155" y="501"/>
                  <a:pt x="176" y="480"/>
                  <a:pt x="176" y="455"/>
                </a:cubicBezTo>
                <a:cubicBezTo>
                  <a:pt x="176" y="430"/>
                  <a:pt x="155" y="410"/>
                  <a:pt x="130" y="410"/>
                </a:cubicBezTo>
                <a:cubicBezTo>
                  <a:pt x="105" y="410"/>
                  <a:pt x="85" y="430"/>
                  <a:pt x="85" y="455"/>
                </a:cubicBezTo>
                <a:cubicBezTo>
                  <a:pt x="85" y="480"/>
                  <a:pt x="105" y="501"/>
                  <a:pt x="130" y="501"/>
                </a:cubicBezTo>
                <a:close/>
                <a:moveTo>
                  <a:pt x="130" y="434"/>
                </a:moveTo>
                <a:cubicBezTo>
                  <a:pt x="142" y="434"/>
                  <a:pt x="151" y="444"/>
                  <a:pt x="151" y="455"/>
                </a:cubicBezTo>
                <a:cubicBezTo>
                  <a:pt x="151" y="467"/>
                  <a:pt x="142" y="476"/>
                  <a:pt x="130" y="476"/>
                </a:cubicBezTo>
                <a:cubicBezTo>
                  <a:pt x="119" y="476"/>
                  <a:pt x="109" y="467"/>
                  <a:pt x="109" y="455"/>
                </a:cubicBezTo>
                <a:cubicBezTo>
                  <a:pt x="109" y="444"/>
                  <a:pt x="119" y="434"/>
                  <a:pt x="130" y="434"/>
                </a:cubicBezTo>
                <a:close/>
                <a:moveTo>
                  <a:pt x="494" y="468"/>
                </a:moveTo>
                <a:cubicBezTo>
                  <a:pt x="217" y="468"/>
                  <a:pt x="217" y="468"/>
                  <a:pt x="217" y="468"/>
                </a:cubicBezTo>
                <a:cubicBezTo>
                  <a:pt x="217" y="443"/>
                  <a:pt x="217" y="443"/>
                  <a:pt x="217" y="443"/>
                </a:cubicBezTo>
                <a:cubicBezTo>
                  <a:pt x="494" y="443"/>
                  <a:pt x="494" y="443"/>
                  <a:pt x="494" y="443"/>
                </a:cubicBezTo>
                <a:lnTo>
                  <a:pt x="494" y="46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lv-LV" altLang="ja-JP" sz="700" b="1">
              <a:solidFill>
                <a:schemeClr val="accent1"/>
              </a:solidFill>
            </a:endParaRPr>
          </a:p>
        </p:txBody>
      </p:sp>
      <p:sp>
        <p:nvSpPr>
          <p:cNvPr id="25" name="Freeform 106">
            <a:extLst>
              <a:ext uri="{FF2B5EF4-FFF2-40B4-BE49-F238E27FC236}">
                <a16:creationId xmlns:a16="http://schemas.microsoft.com/office/drawing/2014/main" id="{014F40D3-F5E9-404A-8FA7-2C2BFB358B3B}"/>
              </a:ext>
            </a:extLst>
          </p:cNvPr>
          <p:cNvSpPr/>
          <p:nvPr/>
        </p:nvSpPr>
        <p:spPr>
          <a:xfrm>
            <a:off x="2963762" y="1027542"/>
            <a:ext cx="432000" cy="432000"/>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lv-LV"/>
          </a:p>
        </p:txBody>
      </p:sp>
      <p:pic>
        <p:nvPicPr>
          <p:cNvPr id="28" name="Picture 27">
            <a:extLst>
              <a:ext uri="{FF2B5EF4-FFF2-40B4-BE49-F238E27FC236}">
                <a16:creationId xmlns:a16="http://schemas.microsoft.com/office/drawing/2014/main" id="{57146472-1E12-8599-0248-F6AE825AAC25}"/>
              </a:ext>
            </a:extLst>
          </p:cNvPr>
          <p:cNvPicPr>
            <a:picLocks noChangeAspect="1"/>
          </p:cNvPicPr>
          <p:nvPr/>
        </p:nvPicPr>
        <p:blipFill rotWithShape="1">
          <a:blip r:embed="rId4"/>
          <a:srcRect t="46541" b="30359"/>
          <a:stretch/>
        </p:blipFill>
        <p:spPr>
          <a:xfrm>
            <a:off x="442911" y="4643699"/>
            <a:ext cx="11309609" cy="1528500"/>
          </a:xfrm>
          <a:prstGeom prst="rect">
            <a:avLst/>
          </a:prstGeom>
        </p:spPr>
      </p:pic>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a:xfrm>
            <a:off x="9983788" y="6492875"/>
            <a:ext cx="1765300" cy="136525"/>
          </a:xfrm>
        </p:spPr>
        <p:txBody>
          <a:bodyPr/>
          <a:lstStyle/>
          <a:p>
            <a:fld id="{7870704B-CE94-48CC-AF30-84932A1262A7}" type="slidenum">
              <a:rPr lang="lv-LV" smtClean="0"/>
              <a:pPr/>
              <a:t>2</a:t>
            </a:fld>
            <a:endParaRPr lang="lv-LV"/>
          </a:p>
        </p:txBody>
      </p:sp>
      <p:sp>
        <p:nvSpPr>
          <p:cNvPr id="5" name="Rectangle 4">
            <a:extLst>
              <a:ext uri="{FF2B5EF4-FFF2-40B4-BE49-F238E27FC236}">
                <a16:creationId xmlns:a16="http://schemas.microsoft.com/office/drawing/2014/main" id="{7E4ED79F-2C53-B555-2F4D-21E619D1E11A}"/>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rgbClr val="A4A3B2"/>
                </a:solidFill>
                <a:effectLst/>
                <a:uLnTx/>
                <a:uFillTx/>
                <a:ea typeface="Georgia"/>
                <a:cs typeface="Georgia"/>
                <a:sym typeface="Georgia"/>
              </a:rPr>
              <a:t>2. CIVILĀS AIZSARDZĪBAS SISTĒMA UN NORMATĪVAIS UN POLITIKAS PLĀNOŠANAS IETVARS</a:t>
            </a:r>
          </a:p>
        </p:txBody>
      </p:sp>
    </p:spTree>
    <p:extLst>
      <p:ext uri="{BB962C8B-B14F-4D97-AF65-F5344CB8AC3E}">
        <p14:creationId xmlns:p14="http://schemas.microsoft.com/office/powerpoint/2010/main" val="8397321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Straight Connector 27">
            <a:extLst>
              <a:ext uri="{FF2B5EF4-FFF2-40B4-BE49-F238E27FC236}">
                <a16:creationId xmlns:a16="http://schemas.microsoft.com/office/drawing/2014/main" id="{357EC6F2-1635-70B7-5B7F-BB128477D3E0}"/>
              </a:ext>
            </a:extLst>
          </p:cNvPr>
          <p:cNvCxnSpPr>
            <a:stCxn id="22" idx="2"/>
            <a:endCxn id="24" idx="0"/>
          </p:cNvCxnSpPr>
          <p:nvPr/>
        </p:nvCxnSpPr>
        <p:spPr>
          <a:xfrm flipH="1">
            <a:off x="2207418" y="3171829"/>
            <a:ext cx="1" cy="929532"/>
          </a:xfrm>
          <a:prstGeom prst="line">
            <a:avLst/>
          </a:prstGeom>
          <a:ln w="12700" cap="sq">
            <a:solidFill>
              <a:srgbClr val="A8192D"/>
            </a:solidFill>
          </a:ln>
        </p:spPr>
        <p:style>
          <a:lnRef idx="1">
            <a:schemeClr val="accent1"/>
          </a:lnRef>
          <a:fillRef idx="0">
            <a:schemeClr val="accent1"/>
          </a:fillRef>
          <a:effectRef idx="0">
            <a:schemeClr val="dk1"/>
          </a:effectRef>
          <a:fontRef idx="minor">
            <a:schemeClr val="lt1"/>
          </a:fontRef>
        </p:style>
      </p:cxnSp>
      <p:cxnSp>
        <p:nvCxnSpPr>
          <p:cNvPr id="29" name="Straight Connector 28">
            <a:extLst>
              <a:ext uri="{FF2B5EF4-FFF2-40B4-BE49-F238E27FC236}">
                <a16:creationId xmlns:a16="http://schemas.microsoft.com/office/drawing/2014/main" id="{20E7F01A-0296-CA40-67E8-3AD150E4A711}"/>
              </a:ext>
            </a:extLst>
          </p:cNvPr>
          <p:cNvCxnSpPr>
            <a:cxnSpLocks/>
            <a:stCxn id="6" idx="2"/>
            <a:endCxn id="12" idx="0"/>
          </p:cNvCxnSpPr>
          <p:nvPr/>
        </p:nvCxnSpPr>
        <p:spPr>
          <a:xfrm flipH="1">
            <a:off x="6096000" y="3172347"/>
            <a:ext cx="1" cy="929014"/>
          </a:xfrm>
          <a:prstGeom prst="line">
            <a:avLst/>
          </a:prstGeom>
          <a:ln w="12700" cap="sq">
            <a:solidFill>
              <a:srgbClr val="A8192D"/>
            </a:solidFill>
          </a:ln>
        </p:spPr>
        <p:style>
          <a:lnRef idx="1">
            <a:schemeClr val="accent1"/>
          </a:lnRef>
          <a:fillRef idx="0">
            <a:schemeClr val="accent1"/>
          </a:fillRef>
          <a:effectRef idx="0">
            <a:schemeClr val="dk1"/>
          </a:effectRef>
          <a:fontRef idx="minor">
            <a:schemeClr val="lt1"/>
          </a:fontRef>
        </p:style>
      </p:cxnSp>
      <p:cxnSp>
        <p:nvCxnSpPr>
          <p:cNvPr id="32" name="Straight Connector 31">
            <a:extLst>
              <a:ext uri="{FF2B5EF4-FFF2-40B4-BE49-F238E27FC236}">
                <a16:creationId xmlns:a16="http://schemas.microsoft.com/office/drawing/2014/main" id="{8E2E4806-19A1-F115-8D19-90D1F1623135}"/>
              </a:ext>
            </a:extLst>
          </p:cNvPr>
          <p:cNvCxnSpPr>
            <a:cxnSpLocks/>
            <a:stCxn id="7" idx="2"/>
            <a:endCxn id="13" idx="0"/>
          </p:cNvCxnSpPr>
          <p:nvPr/>
        </p:nvCxnSpPr>
        <p:spPr>
          <a:xfrm flipH="1">
            <a:off x="9984581" y="3172347"/>
            <a:ext cx="1" cy="929014"/>
          </a:xfrm>
          <a:prstGeom prst="line">
            <a:avLst/>
          </a:prstGeom>
          <a:ln w="12700" cap="sq">
            <a:solidFill>
              <a:srgbClr val="A8192D"/>
            </a:solidFill>
          </a:ln>
        </p:spPr>
        <p:style>
          <a:lnRef idx="1">
            <a:schemeClr val="accent1"/>
          </a:lnRef>
          <a:fillRef idx="0">
            <a:schemeClr val="accent1"/>
          </a:fillRef>
          <a:effectRef idx="0">
            <a:schemeClr val="dk1"/>
          </a:effectRef>
          <a:fontRef idx="minor">
            <a:schemeClr val="lt1"/>
          </a:fontRef>
        </p:style>
      </p:cxnSp>
      <p:sp>
        <p:nvSpPr>
          <p:cNvPr id="22" name="Rectangle 21">
            <a:extLst>
              <a:ext uri="{FF2B5EF4-FFF2-40B4-BE49-F238E27FC236}">
                <a16:creationId xmlns:a16="http://schemas.microsoft.com/office/drawing/2014/main" id="{80428542-5D63-2988-7216-41474822B4F7}"/>
              </a:ext>
            </a:extLst>
          </p:cNvPr>
          <p:cNvSpPr/>
          <p:nvPr/>
        </p:nvSpPr>
        <p:spPr>
          <a:xfrm>
            <a:off x="442913" y="1827312"/>
            <a:ext cx="3529012" cy="1344517"/>
          </a:xfrm>
          <a:prstGeom prst="rect">
            <a:avLst/>
          </a:prstGeom>
          <a:solidFill>
            <a:srgbClr val="525A72"/>
          </a:solidFill>
          <a:ln w="25400" cap="flat" cmpd="sng" algn="ctr">
            <a:noFill/>
            <a:prstDash val="solid"/>
          </a:ln>
          <a:effectLst/>
        </p:spPr>
        <p:txBody>
          <a:bodyPr lIns="72000" tIns="72000" rIns="72000" bIns="14400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lang="lv-LV" sz="1400" b="1">
              <a:solidFill>
                <a:schemeClr val="bg1"/>
              </a:solidFill>
            </a:endParaRPr>
          </a:p>
          <a:p>
            <a:pPr marL="0" marR="0" lvl="0" indent="0" algn="ctr" defTabSz="914400" eaLnBrk="1" fontAlgn="auto" latinLnBrk="0" hangingPunct="1">
              <a:lnSpc>
                <a:spcPct val="100000"/>
              </a:lnSpc>
              <a:spcBef>
                <a:spcPts val="0"/>
              </a:spcBef>
              <a:spcAft>
                <a:spcPts val="0"/>
              </a:spcAft>
              <a:buClrTx/>
              <a:buSzTx/>
              <a:buFontTx/>
              <a:buNone/>
              <a:tabLst/>
              <a:defRPr/>
            </a:pPr>
            <a:r>
              <a:rPr lang="lv-LV" sz="1400" b="1">
                <a:solidFill>
                  <a:schemeClr val="bg1"/>
                </a:solidFill>
              </a:rPr>
              <a:t>Valsts civilās </a:t>
            </a:r>
            <a:endParaRPr lang="en-US" sz="1400" b="1">
              <a:solidFill>
                <a:schemeClr val="bg1"/>
              </a:solidFill>
            </a:endParaRPr>
          </a:p>
          <a:p>
            <a:pPr marL="0" marR="0" lvl="0" indent="0" algn="ctr" defTabSz="914400" eaLnBrk="1" fontAlgn="auto" latinLnBrk="0" hangingPunct="1">
              <a:lnSpc>
                <a:spcPct val="100000"/>
              </a:lnSpc>
              <a:spcBef>
                <a:spcPts val="0"/>
              </a:spcBef>
              <a:spcAft>
                <a:spcPts val="0"/>
              </a:spcAft>
              <a:buClrTx/>
              <a:buSzTx/>
              <a:buFontTx/>
              <a:buNone/>
              <a:tabLst/>
              <a:defRPr/>
            </a:pPr>
            <a:r>
              <a:rPr lang="lv-LV" sz="1400" b="1">
                <a:solidFill>
                  <a:schemeClr val="bg1"/>
                </a:solidFill>
              </a:rPr>
              <a:t>aizsardzības plāns</a:t>
            </a:r>
          </a:p>
        </p:txBody>
      </p:sp>
      <p:sp>
        <p:nvSpPr>
          <p:cNvPr id="23" name="Rectangle 22">
            <a:extLst>
              <a:ext uri="{FF2B5EF4-FFF2-40B4-BE49-F238E27FC236}">
                <a16:creationId xmlns:a16="http://schemas.microsoft.com/office/drawing/2014/main" id="{A301957B-95BB-8438-2ED5-29CD83E02DDB}"/>
              </a:ext>
            </a:extLst>
          </p:cNvPr>
          <p:cNvSpPr/>
          <p:nvPr/>
        </p:nvSpPr>
        <p:spPr>
          <a:xfrm>
            <a:off x="442913" y="3420047"/>
            <a:ext cx="3529012" cy="432000"/>
          </a:xfrm>
          <a:prstGeom prst="rect">
            <a:avLst/>
          </a:prstGeom>
          <a:solidFill>
            <a:schemeClr val="bg1">
              <a:lumMod val="95000"/>
            </a:schemeClr>
          </a:solidFill>
          <a:ln w="25400" cap="flat" cmpd="sng" algn="ctr">
            <a:noFill/>
            <a:prstDash val="solid"/>
          </a:ln>
          <a:effectLst/>
        </p:spPr>
        <p:txBody>
          <a:bodyPr wrap="squar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lv-LV" sz="1400"/>
              <a:t>Pārskata ik gadu</a:t>
            </a:r>
          </a:p>
        </p:txBody>
      </p:sp>
      <p:sp>
        <p:nvSpPr>
          <p:cNvPr id="2" name="Title 1"/>
          <p:cNvSpPr>
            <a:spLocks noGrp="1"/>
          </p:cNvSpPr>
          <p:nvPr>
            <p:ph type="title"/>
          </p:nvPr>
        </p:nvSpPr>
        <p:spPr>
          <a:xfrm>
            <a:off x="442913" y="431800"/>
            <a:ext cx="11306175" cy="1387475"/>
          </a:xfrm>
        </p:spPr>
        <p:txBody>
          <a:bodyPr vert="horz"/>
          <a:lstStyle/>
          <a:p>
            <a:r>
              <a:rPr lang="lv-LV"/>
              <a:t>Katastrofu pārvaldīšanas 3 līmeņu civilās aizsardzības plāni</a:t>
            </a:r>
            <a:endParaRPr lang="en-US"/>
          </a:p>
        </p:txBody>
      </p:sp>
      <p:sp>
        <p:nvSpPr>
          <p:cNvPr id="4" name="Slide Number Placeholder 3"/>
          <p:cNvSpPr>
            <a:spLocks noGrp="1"/>
          </p:cNvSpPr>
          <p:nvPr>
            <p:ph type="sldNum" sz="quarter" idx="11"/>
          </p:nvPr>
        </p:nvSpPr>
        <p:spPr>
          <a:xfrm>
            <a:off x="9984296" y="6492240"/>
            <a:ext cx="1764792" cy="137160"/>
          </a:xfrm>
        </p:spPr>
        <p:txBody>
          <a:bodyPr/>
          <a:lstStyle/>
          <a:p>
            <a:fld id="{F3B79C7E-2A42-4703-9B32-3E662761BF60}" type="slidenum">
              <a:rPr lang="lv-LV" smtClean="0"/>
              <a:pPr/>
              <a:t>20</a:t>
            </a:fld>
            <a:endParaRPr lang="lv-LV"/>
          </a:p>
        </p:txBody>
      </p:sp>
      <p:sp>
        <p:nvSpPr>
          <p:cNvPr id="6" name="Title 1">
            <a:extLst>
              <a:ext uri="{FF2B5EF4-FFF2-40B4-BE49-F238E27FC236}">
                <a16:creationId xmlns:a16="http://schemas.microsoft.com/office/drawing/2014/main" id="{D2062633-92A0-8A70-37D6-9AEE832B563D}"/>
              </a:ext>
            </a:extLst>
          </p:cNvPr>
          <p:cNvSpPr txBox="1">
            <a:spLocks/>
          </p:cNvSpPr>
          <p:nvPr/>
        </p:nvSpPr>
        <p:spPr>
          <a:xfrm>
            <a:off x="4331494" y="1826419"/>
            <a:ext cx="3529013" cy="1345928"/>
          </a:xfrm>
          <a:prstGeom prst="rect">
            <a:avLst/>
          </a:prstGeom>
          <a:solidFill>
            <a:srgbClr val="A8192D"/>
          </a:solidFill>
          <a:ln>
            <a:noFill/>
          </a:ln>
        </p:spPr>
        <p:txBody>
          <a:bodyPr vert="horz" lIns="72000" tIns="72000" rIns="72000" bIns="144000" rtlCol="0" anchor="b" anchorCtr="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lv-LV" sz="1400" b="1">
              <a:solidFill>
                <a:srgbClr val="FFFFFF"/>
              </a:solidFill>
              <a:cs typeface="Arial"/>
            </a:endParaRPr>
          </a:p>
          <a:p>
            <a:pPr algn="ctr"/>
            <a:r>
              <a:rPr lang="lv-LV" sz="1400" b="1">
                <a:solidFill>
                  <a:srgbClr val="FFFFFF"/>
                </a:solidFill>
                <a:cs typeface="Arial"/>
              </a:rPr>
              <a:t>Pašvaldību vai sadarbības teritoriju civilās aizsardzības plāns</a:t>
            </a:r>
          </a:p>
        </p:txBody>
      </p:sp>
      <p:sp>
        <p:nvSpPr>
          <p:cNvPr id="7" name="Title 1">
            <a:extLst>
              <a:ext uri="{FF2B5EF4-FFF2-40B4-BE49-F238E27FC236}">
                <a16:creationId xmlns:a16="http://schemas.microsoft.com/office/drawing/2014/main" id="{8961976B-EF35-6606-985F-A22667F84A79}"/>
              </a:ext>
            </a:extLst>
          </p:cNvPr>
          <p:cNvSpPr txBox="1">
            <a:spLocks/>
          </p:cNvSpPr>
          <p:nvPr/>
        </p:nvSpPr>
        <p:spPr>
          <a:xfrm>
            <a:off x="8220075" y="1826419"/>
            <a:ext cx="3529013" cy="1345928"/>
          </a:xfrm>
          <a:prstGeom prst="rect">
            <a:avLst/>
          </a:prstGeom>
          <a:solidFill>
            <a:srgbClr val="525A72"/>
          </a:solidFill>
          <a:ln>
            <a:noFill/>
          </a:ln>
        </p:spPr>
        <p:txBody>
          <a:bodyPr vert="horz" lIns="72000" tIns="72000" rIns="72000" bIns="144000" rtlCol="0" anchor="b"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lv-LV" sz="1400" b="1">
              <a:solidFill>
                <a:srgbClr val="FFFFFF"/>
              </a:solidFill>
              <a:cs typeface="Arial"/>
            </a:endParaRPr>
          </a:p>
          <a:p>
            <a:pPr algn="ctr"/>
            <a:r>
              <a:rPr lang="lv-LV" sz="1400" b="1">
                <a:solidFill>
                  <a:srgbClr val="FFFFFF"/>
                </a:solidFill>
                <a:cs typeface="Arial"/>
              </a:rPr>
              <a:t>Objekta* vai paaugstinātas bīstamības objekta civilās aizsardzības plāns</a:t>
            </a:r>
          </a:p>
        </p:txBody>
      </p:sp>
      <p:sp>
        <p:nvSpPr>
          <p:cNvPr id="9" name="Title 1">
            <a:extLst>
              <a:ext uri="{FF2B5EF4-FFF2-40B4-BE49-F238E27FC236}">
                <a16:creationId xmlns:a16="http://schemas.microsoft.com/office/drawing/2014/main" id="{19DB7956-0AA1-251B-6E22-F79FD32A6B25}"/>
              </a:ext>
            </a:extLst>
          </p:cNvPr>
          <p:cNvSpPr txBox="1">
            <a:spLocks/>
          </p:cNvSpPr>
          <p:nvPr/>
        </p:nvSpPr>
        <p:spPr>
          <a:xfrm>
            <a:off x="8220075" y="3420047"/>
            <a:ext cx="3529013" cy="432000"/>
          </a:xfrm>
          <a:prstGeom prst="rect">
            <a:avLst/>
          </a:prstGeom>
          <a:solidFill>
            <a:schemeClr val="bg1">
              <a:lumMod val="95000"/>
            </a:schemeClr>
          </a:solidFill>
          <a:ln w="25400" cap="flat" cmpd="sng" algn="ctr">
            <a:noFill/>
            <a:prstDash val="solid"/>
          </a:ln>
          <a:effectLst/>
        </p:spPr>
        <p:txBody>
          <a:bodyPr wrap="square" lIns="72000" tIns="72000" rIns="72000" bIns="72000" rtlCol="0" anchor="ctr">
            <a:noAutofit/>
          </a:bodyPr>
          <a:lstStyle>
            <a:defPPr>
              <a:defRPr lang="en-US"/>
            </a:defPPr>
            <a:lvl1pPr marR="0" lvl="0" indent="0" algn="ctr" fontAlgn="auto">
              <a:lnSpc>
                <a:spcPct val="100000"/>
              </a:lnSpc>
              <a:spcBef>
                <a:spcPts val="0"/>
              </a:spcBef>
              <a:spcAft>
                <a:spcPts val="0"/>
              </a:spcAft>
              <a:buClrTx/>
              <a:buSzTx/>
              <a:buFontTx/>
              <a:buNone/>
              <a:tabLst/>
              <a:defRPr sz="1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lv-LV"/>
              <a:t>Apstiprina vismaz reizi četros gados</a:t>
            </a:r>
            <a:endParaRPr lang="en-US"/>
          </a:p>
        </p:txBody>
      </p:sp>
      <p:sp>
        <p:nvSpPr>
          <p:cNvPr id="10" name="Title 1">
            <a:extLst>
              <a:ext uri="{FF2B5EF4-FFF2-40B4-BE49-F238E27FC236}">
                <a16:creationId xmlns:a16="http://schemas.microsoft.com/office/drawing/2014/main" id="{A8BB9E36-BDA4-E644-92C0-7E95FD88D3F0}"/>
              </a:ext>
            </a:extLst>
          </p:cNvPr>
          <p:cNvSpPr txBox="1">
            <a:spLocks/>
          </p:cNvSpPr>
          <p:nvPr/>
        </p:nvSpPr>
        <p:spPr>
          <a:xfrm>
            <a:off x="4331494" y="3420047"/>
            <a:ext cx="3529013" cy="432000"/>
          </a:xfrm>
          <a:prstGeom prst="rect">
            <a:avLst/>
          </a:prstGeom>
          <a:solidFill>
            <a:schemeClr val="bg1">
              <a:lumMod val="95000"/>
            </a:schemeClr>
          </a:solidFill>
          <a:ln w="25400" cap="flat" cmpd="sng" algn="ctr">
            <a:noFill/>
            <a:prstDash val="solid"/>
          </a:ln>
          <a:effectLst/>
        </p:spPr>
        <p:txBody>
          <a:bodyPr wrap="square" lIns="72000" tIns="72000" rIns="72000" bIns="72000" rtlCol="0" anchor="ctr">
            <a:noAutofit/>
          </a:bodyPr>
          <a:lstStyle>
            <a:defPPr>
              <a:defRPr lang="en-US"/>
            </a:defPPr>
            <a:lvl1pPr marR="0" lvl="0" indent="0" algn="ctr" fontAlgn="auto">
              <a:lnSpc>
                <a:spcPct val="100000"/>
              </a:lnSpc>
              <a:spcBef>
                <a:spcPts val="0"/>
              </a:spcBef>
              <a:spcAft>
                <a:spcPts val="0"/>
              </a:spcAft>
              <a:buClrTx/>
              <a:buSzTx/>
              <a:buFontTx/>
              <a:buNone/>
              <a:tabLst/>
              <a:defRPr sz="1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lv-LV"/>
              <a:t>Apstiprina vismaz reizi četros gados</a:t>
            </a:r>
            <a:endParaRPr lang="en-US"/>
          </a:p>
        </p:txBody>
      </p:sp>
      <p:sp>
        <p:nvSpPr>
          <p:cNvPr id="11" name="Title 1">
            <a:extLst>
              <a:ext uri="{FF2B5EF4-FFF2-40B4-BE49-F238E27FC236}">
                <a16:creationId xmlns:a16="http://schemas.microsoft.com/office/drawing/2014/main" id="{9AB0BC82-6EDF-14C5-7CD5-6F5243DAB025}"/>
              </a:ext>
            </a:extLst>
          </p:cNvPr>
          <p:cNvSpPr txBox="1">
            <a:spLocks/>
          </p:cNvSpPr>
          <p:nvPr/>
        </p:nvSpPr>
        <p:spPr>
          <a:xfrm>
            <a:off x="442913" y="5034177"/>
            <a:ext cx="11306175" cy="1138023"/>
          </a:xfrm>
          <a:prstGeom prst="rect">
            <a:avLst/>
          </a:prstGeom>
          <a:solidFill>
            <a:srgbClr val="D18D85"/>
          </a:solidFill>
          <a:ln>
            <a:noFill/>
          </a:ln>
        </p:spPr>
        <p:style>
          <a:lnRef idx="2">
            <a:schemeClr val="accent3"/>
          </a:lnRef>
          <a:fillRef idx="1">
            <a:schemeClr val="lt1"/>
          </a:fillRef>
          <a:effectRef idx="0">
            <a:schemeClr val="accent3"/>
          </a:effectRef>
          <a:fontRef idx="minor">
            <a:schemeClr val="dk1"/>
          </a:fontRef>
        </p:style>
        <p:txBody>
          <a:bodyPr vert="horz" lIns="72000" tIns="0" rIns="201600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spcAft>
                <a:spcPts val="600"/>
              </a:spcAft>
              <a:buBlip>
                <a:blip r:embed="rId3"/>
              </a:buBlip>
            </a:pPr>
            <a:r>
              <a:rPr lang="lv-LV" sz="1400">
                <a:cs typeface="Arial"/>
              </a:rPr>
              <a:t>Civilās aizsardzības plānus sagatavo, pamatojoties uz risku novērtējumu un nosakot katastrofas pārvaldīšanas pasākumus un to īstenotājus.</a:t>
            </a:r>
            <a:endParaRPr lang="lv-LV" sz="1400"/>
          </a:p>
          <a:p>
            <a:pPr marL="285750" indent="-285750">
              <a:buBlip>
                <a:blip r:embed="rId3"/>
              </a:buBlip>
            </a:pPr>
            <a:r>
              <a:rPr lang="lv-LV" sz="1400">
                <a:cs typeface="Arial"/>
              </a:rPr>
              <a:t>Katastrofu pārvaldīšanas subjekti – nozaru ministrijas un pašvaldības – īsteno konkrētās katastrofas pārvaldīšanas koordinēšanu sadarbībā ar citām institūcijām.</a:t>
            </a:r>
          </a:p>
        </p:txBody>
      </p:sp>
      <p:sp>
        <p:nvSpPr>
          <p:cNvPr id="12" name="Title 1">
            <a:extLst>
              <a:ext uri="{FF2B5EF4-FFF2-40B4-BE49-F238E27FC236}">
                <a16:creationId xmlns:a16="http://schemas.microsoft.com/office/drawing/2014/main" id="{3661166F-289F-2205-5CEF-3BF7DDFE0314}"/>
              </a:ext>
            </a:extLst>
          </p:cNvPr>
          <p:cNvSpPr txBox="1">
            <a:spLocks/>
          </p:cNvSpPr>
          <p:nvPr/>
        </p:nvSpPr>
        <p:spPr>
          <a:xfrm>
            <a:off x="4331493" y="4101361"/>
            <a:ext cx="3529013" cy="432000"/>
          </a:xfrm>
          <a:prstGeom prst="rect">
            <a:avLst/>
          </a:prstGeom>
          <a:solidFill>
            <a:schemeClr val="bg1">
              <a:lumMod val="95000"/>
            </a:schemeClr>
          </a:solidFill>
          <a:ln w="25400" cap="flat" cmpd="sng" algn="ctr">
            <a:noFill/>
            <a:prstDash val="solid"/>
          </a:ln>
          <a:effectLst/>
        </p:spPr>
        <p:txBody>
          <a:bodyPr wrap="square" lIns="72000" tIns="72000" rIns="72000" bIns="72000" rtlCol="0" anchor="ctr">
            <a:noAutofit/>
          </a:bodyPr>
          <a:lstStyle>
            <a:defPPr>
              <a:defRPr lang="en-US"/>
            </a:defPPr>
            <a:lvl1pPr marR="0" lvl="0" indent="0" algn="ctr" fontAlgn="auto">
              <a:lnSpc>
                <a:spcPct val="100000"/>
              </a:lnSpc>
              <a:spcBef>
                <a:spcPts val="0"/>
              </a:spcBef>
              <a:spcAft>
                <a:spcPts val="0"/>
              </a:spcAft>
              <a:buClrTx/>
              <a:buSzTx/>
              <a:buFontTx/>
              <a:buNone/>
              <a:tabLst/>
              <a:defRPr sz="1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lv-LV"/>
              <a:t>Izstrādā PSTCAK</a:t>
            </a:r>
            <a:endParaRPr lang="en-US"/>
          </a:p>
        </p:txBody>
      </p:sp>
      <p:sp>
        <p:nvSpPr>
          <p:cNvPr id="13" name="Title 1">
            <a:extLst>
              <a:ext uri="{FF2B5EF4-FFF2-40B4-BE49-F238E27FC236}">
                <a16:creationId xmlns:a16="http://schemas.microsoft.com/office/drawing/2014/main" id="{A8786237-280D-456E-82F0-1F2FC1172089}"/>
              </a:ext>
            </a:extLst>
          </p:cNvPr>
          <p:cNvSpPr txBox="1">
            <a:spLocks/>
          </p:cNvSpPr>
          <p:nvPr/>
        </p:nvSpPr>
        <p:spPr>
          <a:xfrm>
            <a:off x="8220074" y="4101361"/>
            <a:ext cx="3529013" cy="432000"/>
          </a:xfrm>
          <a:prstGeom prst="rect">
            <a:avLst/>
          </a:prstGeom>
          <a:solidFill>
            <a:schemeClr val="bg1">
              <a:lumMod val="95000"/>
            </a:schemeClr>
          </a:solidFill>
          <a:ln w="25400" cap="flat" cmpd="sng" algn="ctr">
            <a:noFill/>
            <a:prstDash val="solid"/>
          </a:ln>
          <a:effectLst/>
        </p:spPr>
        <p:txBody>
          <a:bodyPr wrap="square" lIns="72000" tIns="72000" rIns="72000" bIns="72000" rtlCol="0" anchor="ctr">
            <a:noAutofit/>
          </a:bodyPr>
          <a:lstStyle>
            <a:defPPr>
              <a:defRPr lang="en-US"/>
            </a:defPPr>
            <a:lvl1pPr marR="0" lvl="0" indent="0" algn="ctr" fontAlgn="auto">
              <a:lnSpc>
                <a:spcPct val="100000"/>
              </a:lnSpc>
              <a:spcBef>
                <a:spcPts val="0"/>
              </a:spcBef>
              <a:spcAft>
                <a:spcPts val="0"/>
              </a:spcAft>
              <a:buClrTx/>
              <a:buSzTx/>
              <a:buFontTx/>
              <a:buNone/>
              <a:tabLst/>
              <a:defRPr sz="1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lv-LV"/>
              <a:t>Izstrādā objekta īpašnieks vai valdītājs</a:t>
            </a:r>
            <a:endParaRPr lang="en-US"/>
          </a:p>
        </p:txBody>
      </p:sp>
      <p:sp>
        <p:nvSpPr>
          <p:cNvPr id="24" name="Rectangle 23">
            <a:extLst>
              <a:ext uri="{FF2B5EF4-FFF2-40B4-BE49-F238E27FC236}">
                <a16:creationId xmlns:a16="http://schemas.microsoft.com/office/drawing/2014/main" id="{718CA143-3104-09A7-16C0-C6AEE7D3610F}"/>
              </a:ext>
            </a:extLst>
          </p:cNvPr>
          <p:cNvSpPr/>
          <p:nvPr/>
        </p:nvSpPr>
        <p:spPr>
          <a:xfrm>
            <a:off x="442912" y="4101361"/>
            <a:ext cx="3529012" cy="432000"/>
          </a:xfrm>
          <a:prstGeom prst="rect">
            <a:avLst/>
          </a:prstGeom>
          <a:solidFill>
            <a:schemeClr val="bg1">
              <a:lumMod val="95000"/>
            </a:schemeClr>
          </a:solidFill>
          <a:ln w="25400" cap="flat" cmpd="sng" algn="ctr">
            <a:noFill/>
            <a:prstDash val="solid"/>
          </a:ln>
          <a:effectLst/>
        </p:spPr>
        <p:txBody>
          <a:bodyPr wrap="squar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lv-LV" sz="1400"/>
              <a:t>Izstrādā VUGD</a:t>
            </a:r>
          </a:p>
        </p:txBody>
      </p:sp>
      <p:sp>
        <p:nvSpPr>
          <p:cNvPr id="38" name="Rectangle 37">
            <a:extLst>
              <a:ext uri="{FF2B5EF4-FFF2-40B4-BE49-F238E27FC236}">
                <a16:creationId xmlns:a16="http://schemas.microsoft.com/office/drawing/2014/main" id="{CCE82973-5FC6-0AD3-F11A-E43DBE1D150A}"/>
              </a:ext>
            </a:extLst>
          </p:cNvPr>
          <p:cNvSpPr/>
          <p:nvPr/>
        </p:nvSpPr>
        <p:spPr>
          <a:xfrm>
            <a:off x="442913" y="3099829"/>
            <a:ext cx="3529012" cy="72000"/>
          </a:xfrm>
          <a:prstGeom prst="rect">
            <a:avLst/>
          </a:prstGeom>
          <a:solidFill>
            <a:srgbClr val="D18D85"/>
          </a:solidFill>
          <a:ln w="25400" cap="flat" cmpd="sng" algn="ctr">
            <a:noFill/>
            <a:prstDash val="solid"/>
          </a:ln>
          <a:effectLst/>
        </p:spPr>
        <p:txBody>
          <a:bodyPr lIns="72000" tIns="72000" rIns="72000" bIns="14400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lang="lv-LV" sz="1400" b="1">
              <a:solidFill>
                <a:schemeClr val="bg1"/>
              </a:solidFill>
            </a:endParaRPr>
          </a:p>
        </p:txBody>
      </p:sp>
      <p:sp>
        <p:nvSpPr>
          <p:cNvPr id="39" name="Title 1">
            <a:extLst>
              <a:ext uri="{FF2B5EF4-FFF2-40B4-BE49-F238E27FC236}">
                <a16:creationId xmlns:a16="http://schemas.microsoft.com/office/drawing/2014/main" id="{C0B71A69-204F-8E7F-2666-409A80AE1AD7}"/>
              </a:ext>
            </a:extLst>
          </p:cNvPr>
          <p:cNvSpPr txBox="1">
            <a:spLocks/>
          </p:cNvSpPr>
          <p:nvPr/>
        </p:nvSpPr>
        <p:spPr>
          <a:xfrm>
            <a:off x="4331494" y="3099829"/>
            <a:ext cx="3529013" cy="72000"/>
          </a:xfrm>
          <a:prstGeom prst="rect">
            <a:avLst/>
          </a:prstGeom>
          <a:solidFill>
            <a:srgbClr val="CFD6E8"/>
          </a:solidFill>
          <a:ln>
            <a:noFill/>
          </a:ln>
        </p:spPr>
        <p:txBody>
          <a:bodyPr vert="horz" lIns="72000" tIns="72000" rIns="72000" bIns="144000" rtlCol="0" anchor="b" anchorCtr="0">
            <a:normAutofit fontScale="250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lv-LV" sz="1400" b="1">
              <a:solidFill>
                <a:srgbClr val="FFFFFF"/>
              </a:solidFill>
              <a:cs typeface="Arial"/>
            </a:endParaRPr>
          </a:p>
        </p:txBody>
      </p:sp>
      <p:sp>
        <p:nvSpPr>
          <p:cNvPr id="40" name="Title 1">
            <a:extLst>
              <a:ext uri="{FF2B5EF4-FFF2-40B4-BE49-F238E27FC236}">
                <a16:creationId xmlns:a16="http://schemas.microsoft.com/office/drawing/2014/main" id="{C7A1244C-6024-E136-500C-7B517ECE44D1}"/>
              </a:ext>
            </a:extLst>
          </p:cNvPr>
          <p:cNvSpPr txBox="1">
            <a:spLocks/>
          </p:cNvSpPr>
          <p:nvPr/>
        </p:nvSpPr>
        <p:spPr>
          <a:xfrm>
            <a:off x="8220075" y="3099829"/>
            <a:ext cx="3529013" cy="72000"/>
          </a:xfrm>
          <a:prstGeom prst="rect">
            <a:avLst/>
          </a:prstGeom>
          <a:solidFill>
            <a:srgbClr val="D18D85"/>
          </a:solidFill>
          <a:ln>
            <a:noFill/>
          </a:ln>
        </p:spPr>
        <p:txBody>
          <a:bodyPr vert="horz" lIns="72000" tIns="72000" rIns="72000" bIns="144000" rtlCol="0" anchor="b"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lv-LV" sz="1400" b="1">
              <a:solidFill>
                <a:srgbClr val="FFFFFF"/>
              </a:solidFill>
              <a:cs typeface="Arial"/>
            </a:endParaRPr>
          </a:p>
        </p:txBody>
      </p:sp>
      <p:grpSp>
        <p:nvGrpSpPr>
          <p:cNvPr id="41" name="Google Shape;545;p75">
            <a:extLst>
              <a:ext uri="{FF2B5EF4-FFF2-40B4-BE49-F238E27FC236}">
                <a16:creationId xmlns:a16="http://schemas.microsoft.com/office/drawing/2014/main" id="{A40B54A6-1399-6ABC-2F09-DBD0FA05BD4F}"/>
              </a:ext>
            </a:extLst>
          </p:cNvPr>
          <p:cNvGrpSpPr/>
          <p:nvPr/>
        </p:nvGrpSpPr>
        <p:grpSpPr>
          <a:xfrm>
            <a:off x="1991410" y="1975076"/>
            <a:ext cx="431999" cy="432001"/>
            <a:chOff x="4322721" y="2242308"/>
            <a:chExt cx="456085" cy="455929"/>
          </a:xfrm>
          <a:solidFill>
            <a:schemeClr val="bg1"/>
          </a:solidFill>
        </p:grpSpPr>
        <p:sp>
          <p:nvSpPr>
            <p:cNvPr id="42" name="Google Shape;546;p75">
              <a:extLst>
                <a:ext uri="{FF2B5EF4-FFF2-40B4-BE49-F238E27FC236}">
                  <a16:creationId xmlns:a16="http://schemas.microsoft.com/office/drawing/2014/main" id="{B3ACBB0E-5941-40A0-6D33-3273010A7723}"/>
                </a:ext>
              </a:extLst>
            </p:cNvPr>
            <p:cNvSpPr/>
            <p:nvPr/>
          </p:nvSpPr>
          <p:spPr>
            <a:xfrm>
              <a:off x="4575817" y="2290086"/>
              <a:ext cx="165363" cy="107618"/>
            </a:xfrm>
            <a:custGeom>
              <a:avLst/>
              <a:gdLst/>
              <a:ahLst/>
              <a:cxnLst/>
              <a:rect l="l" t="t" r="r" b="b"/>
              <a:pathLst>
                <a:path w="165363" h="107618" extrusionOk="0">
                  <a:moveTo>
                    <a:pt x="148798" y="89001"/>
                  </a:moveTo>
                  <a:lnTo>
                    <a:pt x="148798" y="27736"/>
                  </a:lnTo>
                  <a:lnTo>
                    <a:pt x="92833" y="27736"/>
                  </a:lnTo>
                  <a:lnTo>
                    <a:pt x="92833" y="89001"/>
                  </a:lnTo>
                  <a:lnTo>
                    <a:pt x="72847" y="89001"/>
                  </a:lnTo>
                  <a:lnTo>
                    <a:pt x="72847" y="0"/>
                  </a:lnTo>
                  <a:lnTo>
                    <a:pt x="15488" y="0"/>
                  </a:lnTo>
                  <a:lnTo>
                    <a:pt x="15488" y="89001"/>
                  </a:lnTo>
                  <a:lnTo>
                    <a:pt x="0" y="89001"/>
                  </a:lnTo>
                  <a:lnTo>
                    <a:pt x="0" y="107619"/>
                  </a:lnTo>
                  <a:lnTo>
                    <a:pt x="165363" y="107619"/>
                  </a:lnTo>
                  <a:lnTo>
                    <a:pt x="165363" y="89001"/>
                  </a:lnTo>
                  <a:close/>
                  <a:moveTo>
                    <a:pt x="54097" y="89001"/>
                  </a:moveTo>
                  <a:lnTo>
                    <a:pt x="35442" y="89001"/>
                  </a:lnTo>
                  <a:lnTo>
                    <a:pt x="35442" y="18617"/>
                  </a:lnTo>
                  <a:lnTo>
                    <a:pt x="54097" y="18617"/>
                  </a:lnTo>
                  <a:close/>
                  <a:moveTo>
                    <a:pt x="130111" y="89001"/>
                  </a:moveTo>
                  <a:lnTo>
                    <a:pt x="111456" y="89001"/>
                  </a:lnTo>
                  <a:lnTo>
                    <a:pt x="111456" y="47683"/>
                  </a:lnTo>
                  <a:lnTo>
                    <a:pt x="130111" y="47683"/>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3" name="Google Shape;547;p75">
              <a:extLst>
                <a:ext uri="{FF2B5EF4-FFF2-40B4-BE49-F238E27FC236}">
                  <a16:creationId xmlns:a16="http://schemas.microsoft.com/office/drawing/2014/main" id="{653AA9E0-2208-909F-D45D-5E7FEA300400}"/>
                </a:ext>
              </a:extLst>
            </p:cNvPr>
            <p:cNvSpPr/>
            <p:nvPr/>
          </p:nvSpPr>
          <p:spPr>
            <a:xfrm>
              <a:off x="4680274" y="2535496"/>
              <a:ext cx="57327" cy="54141"/>
            </a:xfrm>
            <a:custGeom>
              <a:avLst/>
              <a:gdLst/>
              <a:ahLst/>
              <a:cxnLst/>
              <a:rect l="l" t="t" r="r" b="b"/>
              <a:pathLst>
                <a:path w="57327" h="54141" extrusionOk="0">
                  <a:moveTo>
                    <a:pt x="0" y="54142"/>
                  </a:moveTo>
                  <a:lnTo>
                    <a:pt x="57327" y="54142"/>
                  </a:lnTo>
                  <a:lnTo>
                    <a:pt x="57327" y="0"/>
                  </a:lnTo>
                  <a:lnTo>
                    <a:pt x="0" y="0"/>
                  </a:lnTo>
                  <a:close/>
                  <a:moveTo>
                    <a:pt x="19415" y="19314"/>
                  </a:moveTo>
                  <a:lnTo>
                    <a:pt x="37912" y="19314"/>
                  </a:lnTo>
                  <a:lnTo>
                    <a:pt x="37912" y="34638"/>
                  </a:lnTo>
                  <a:lnTo>
                    <a:pt x="19415" y="34638"/>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4" name="Google Shape;548;p75">
              <a:extLst>
                <a:ext uri="{FF2B5EF4-FFF2-40B4-BE49-F238E27FC236}">
                  <a16:creationId xmlns:a16="http://schemas.microsoft.com/office/drawing/2014/main" id="{D31C4433-8027-468D-6953-2036EE860614}"/>
                </a:ext>
              </a:extLst>
            </p:cNvPr>
            <p:cNvSpPr/>
            <p:nvPr/>
          </p:nvSpPr>
          <p:spPr>
            <a:xfrm>
              <a:off x="4597576" y="2608255"/>
              <a:ext cx="57327" cy="54173"/>
            </a:xfrm>
            <a:custGeom>
              <a:avLst/>
              <a:gdLst/>
              <a:ahLst/>
              <a:cxnLst/>
              <a:rect l="l" t="t" r="r" b="b"/>
              <a:pathLst>
                <a:path w="57327" h="54173" extrusionOk="0">
                  <a:moveTo>
                    <a:pt x="0" y="54173"/>
                  </a:moveTo>
                  <a:lnTo>
                    <a:pt x="57327" y="54173"/>
                  </a:lnTo>
                  <a:lnTo>
                    <a:pt x="57327" y="0"/>
                  </a:lnTo>
                  <a:lnTo>
                    <a:pt x="0" y="0"/>
                  </a:lnTo>
                  <a:close/>
                  <a:moveTo>
                    <a:pt x="19415" y="19345"/>
                  </a:moveTo>
                  <a:lnTo>
                    <a:pt x="37912" y="19345"/>
                  </a:lnTo>
                  <a:lnTo>
                    <a:pt x="37912" y="34701"/>
                  </a:lnTo>
                  <a:lnTo>
                    <a:pt x="19415" y="34701"/>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5" name="Google Shape;549;p75">
              <a:extLst>
                <a:ext uri="{FF2B5EF4-FFF2-40B4-BE49-F238E27FC236}">
                  <a16:creationId xmlns:a16="http://schemas.microsoft.com/office/drawing/2014/main" id="{07A036FB-7792-FD40-E456-5E0E2D0173CB}"/>
                </a:ext>
              </a:extLst>
            </p:cNvPr>
            <p:cNvSpPr/>
            <p:nvPr/>
          </p:nvSpPr>
          <p:spPr>
            <a:xfrm>
              <a:off x="4680274" y="2608255"/>
              <a:ext cx="57327" cy="54173"/>
            </a:xfrm>
            <a:custGeom>
              <a:avLst/>
              <a:gdLst/>
              <a:ahLst/>
              <a:cxnLst/>
              <a:rect l="l" t="t" r="r" b="b"/>
              <a:pathLst>
                <a:path w="57327" h="54173" extrusionOk="0">
                  <a:moveTo>
                    <a:pt x="0" y="54173"/>
                  </a:moveTo>
                  <a:lnTo>
                    <a:pt x="57327" y="54173"/>
                  </a:lnTo>
                  <a:lnTo>
                    <a:pt x="57327" y="0"/>
                  </a:lnTo>
                  <a:lnTo>
                    <a:pt x="0" y="0"/>
                  </a:lnTo>
                  <a:close/>
                  <a:moveTo>
                    <a:pt x="19415" y="19345"/>
                  </a:moveTo>
                  <a:lnTo>
                    <a:pt x="37912" y="19345"/>
                  </a:lnTo>
                  <a:lnTo>
                    <a:pt x="37912" y="34701"/>
                  </a:lnTo>
                  <a:lnTo>
                    <a:pt x="19415" y="34701"/>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6" name="Google Shape;550;p75">
              <a:extLst>
                <a:ext uri="{FF2B5EF4-FFF2-40B4-BE49-F238E27FC236}">
                  <a16:creationId xmlns:a16="http://schemas.microsoft.com/office/drawing/2014/main" id="{9F87FFD2-BFE5-7424-F9BA-17997EB97E3C}"/>
                </a:ext>
              </a:extLst>
            </p:cNvPr>
            <p:cNvSpPr/>
            <p:nvPr/>
          </p:nvSpPr>
          <p:spPr>
            <a:xfrm>
              <a:off x="4322721" y="2242308"/>
              <a:ext cx="456085" cy="455929"/>
            </a:xfrm>
            <a:custGeom>
              <a:avLst/>
              <a:gdLst/>
              <a:ahLst/>
              <a:cxnLst/>
              <a:rect l="l" t="t" r="r" b="b"/>
              <a:pathLst>
                <a:path w="456085" h="455929" extrusionOk="0">
                  <a:moveTo>
                    <a:pt x="0" y="0"/>
                  </a:moveTo>
                  <a:lnTo>
                    <a:pt x="0" y="455930"/>
                  </a:lnTo>
                  <a:lnTo>
                    <a:pt x="456086" y="455930"/>
                  </a:lnTo>
                  <a:lnTo>
                    <a:pt x="456086" y="0"/>
                  </a:lnTo>
                  <a:close/>
                  <a:moveTo>
                    <a:pt x="254078" y="436458"/>
                  </a:moveTo>
                  <a:lnTo>
                    <a:pt x="253856" y="202382"/>
                  </a:lnTo>
                  <a:lnTo>
                    <a:pt x="436670" y="202382"/>
                  </a:lnTo>
                  <a:lnTo>
                    <a:pt x="436892" y="436458"/>
                  </a:lnTo>
                  <a:close/>
                  <a:moveTo>
                    <a:pt x="234409" y="182910"/>
                  </a:moveTo>
                  <a:lnTo>
                    <a:pt x="234409" y="436458"/>
                  </a:lnTo>
                  <a:lnTo>
                    <a:pt x="19479" y="436458"/>
                  </a:lnTo>
                  <a:lnTo>
                    <a:pt x="19479" y="19440"/>
                  </a:lnTo>
                  <a:lnTo>
                    <a:pt x="436670" y="19440"/>
                  </a:lnTo>
                  <a:lnTo>
                    <a:pt x="436670" y="182910"/>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7" name="Google Shape;551;p75">
              <a:extLst>
                <a:ext uri="{FF2B5EF4-FFF2-40B4-BE49-F238E27FC236}">
                  <a16:creationId xmlns:a16="http://schemas.microsoft.com/office/drawing/2014/main" id="{A89C4CB7-ACE0-E7F6-1F4E-3F185686CA61}"/>
                </a:ext>
              </a:extLst>
            </p:cNvPr>
            <p:cNvSpPr/>
            <p:nvPr/>
          </p:nvSpPr>
          <p:spPr>
            <a:xfrm>
              <a:off x="4597576" y="2535496"/>
              <a:ext cx="57327" cy="54141"/>
            </a:xfrm>
            <a:custGeom>
              <a:avLst/>
              <a:gdLst/>
              <a:ahLst/>
              <a:cxnLst/>
              <a:rect l="l" t="t" r="r" b="b"/>
              <a:pathLst>
                <a:path w="57327" h="54141" extrusionOk="0">
                  <a:moveTo>
                    <a:pt x="0" y="54142"/>
                  </a:moveTo>
                  <a:lnTo>
                    <a:pt x="57327" y="54142"/>
                  </a:lnTo>
                  <a:lnTo>
                    <a:pt x="57327" y="0"/>
                  </a:lnTo>
                  <a:lnTo>
                    <a:pt x="0" y="0"/>
                  </a:lnTo>
                  <a:close/>
                  <a:moveTo>
                    <a:pt x="19415" y="19314"/>
                  </a:moveTo>
                  <a:lnTo>
                    <a:pt x="37912" y="19314"/>
                  </a:lnTo>
                  <a:lnTo>
                    <a:pt x="37912" y="34638"/>
                  </a:lnTo>
                  <a:lnTo>
                    <a:pt x="19415" y="34638"/>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8" name="Google Shape;552;p75">
              <a:extLst>
                <a:ext uri="{FF2B5EF4-FFF2-40B4-BE49-F238E27FC236}">
                  <a16:creationId xmlns:a16="http://schemas.microsoft.com/office/drawing/2014/main" id="{195EFC0C-2F9C-C015-6F6B-DDC94901FE4D}"/>
                </a:ext>
              </a:extLst>
            </p:cNvPr>
            <p:cNvSpPr/>
            <p:nvPr/>
          </p:nvSpPr>
          <p:spPr>
            <a:xfrm>
              <a:off x="4377642" y="2623390"/>
              <a:ext cx="19066" cy="18458"/>
            </a:xfrm>
            <a:custGeom>
              <a:avLst/>
              <a:gdLst/>
              <a:ahLst/>
              <a:cxnLst/>
              <a:rect l="l" t="t" r="r" b="b"/>
              <a:pathLst>
                <a:path w="19066" h="18458" extrusionOk="0">
                  <a:moveTo>
                    <a:pt x="0" y="0"/>
                  </a:moveTo>
                  <a:lnTo>
                    <a:pt x="19067" y="0"/>
                  </a:lnTo>
                  <a:lnTo>
                    <a:pt x="19067" y="18459"/>
                  </a:lnTo>
                  <a:lnTo>
                    <a:pt x="0" y="1845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9" name="Google Shape;553;p75">
              <a:extLst>
                <a:ext uri="{FF2B5EF4-FFF2-40B4-BE49-F238E27FC236}">
                  <a16:creationId xmlns:a16="http://schemas.microsoft.com/office/drawing/2014/main" id="{F99A95B8-71A9-C2F1-0873-58EE999CAFD9}"/>
                </a:ext>
              </a:extLst>
            </p:cNvPr>
            <p:cNvSpPr/>
            <p:nvPr/>
          </p:nvSpPr>
          <p:spPr>
            <a:xfrm>
              <a:off x="4420843" y="2493893"/>
              <a:ext cx="108130" cy="18458"/>
            </a:xfrm>
            <a:custGeom>
              <a:avLst/>
              <a:gdLst/>
              <a:ahLst/>
              <a:cxnLst/>
              <a:rect l="l" t="t" r="r" b="b"/>
              <a:pathLst>
                <a:path w="108130" h="18458" extrusionOk="0">
                  <a:moveTo>
                    <a:pt x="0" y="0"/>
                  </a:moveTo>
                  <a:lnTo>
                    <a:pt x="108130" y="0"/>
                  </a:lnTo>
                  <a:lnTo>
                    <a:pt x="108130" y="18459"/>
                  </a:lnTo>
                  <a:lnTo>
                    <a:pt x="0" y="1845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0" name="Google Shape;554;p75">
              <a:extLst>
                <a:ext uri="{FF2B5EF4-FFF2-40B4-BE49-F238E27FC236}">
                  <a16:creationId xmlns:a16="http://schemas.microsoft.com/office/drawing/2014/main" id="{94BB2311-8379-261B-1C33-2A9842C73F76}"/>
                </a:ext>
              </a:extLst>
            </p:cNvPr>
            <p:cNvSpPr/>
            <p:nvPr/>
          </p:nvSpPr>
          <p:spPr>
            <a:xfrm>
              <a:off x="4420843" y="2580234"/>
              <a:ext cx="108130" cy="18458"/>
            </a:xfrm>
            <a:custGeom>
              <a:avLst/>
              <a:gdLst/>
              <a:ahLst/>
              <a:cxnLst/>
              <a:rect l="l" t="t" r="r" b="b"/>
              <a:pathLst>
                <a:path w="108130" h="18458" extrusionOk="0">
                  <a:moveTo>
                    <a:pt x="0" y="0"/>
                  </a:moveTo>
                  <a:lnTo>
                    <a:pt x="108130" y="0"/>
                  </a:lnTo>
                  <a:lnTo>
                    <a:pt x="108130" y="18459"/>
                  </a:lnTo>
                  <a:lnTo>
                    <a:pt x="0" y="1845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1" name="Google Shape;555;p75">
              <a:extLst>
                <a:ext uri="{FF2B5EF4-FFF2-40B4-BE49-F238E27FC236}">
                  <a16:creationId xmlns:a16="http://schemas.microsoft.com/office/drawing/2014/main" id="{6F276A1C-A5D2-25F5-3E2D-1FE5A33D1413}"/>
                </a:ext>
              </a:extLst>
            </p:cNvPr>
            <p:cNvSpPr/>
            <p:nvPr/>
          </p:nvSpPr>
          <p:spPr>
            <a:xfrm>
              <a:off x="4420843" y="2537079"/>
              <a:ext cx="108130" cy="18458"/>
            </a:xfrm>
            <a:custGeom>
              <a:avLst/>
              <a:gdLst/>
              <a:ahLst/>
              <a:cxnLst/>
              <a:rect l="l" t="t" r="r" b="b"/>
              <a:pathLst>
                <a:path w="108130" h="18458" extrusionOk="0">
                  <a:moveTo>
                    <a:pt x="0" y="0"/>
                  </a:moveTo>
                  <a:lnTo>
                    <a:pt x="108130" y="0"/>
                  </a:lnTo>
                  <a:lnTo>
                    <a:pt x="108130" y="18459"/>
                  </a:lnTo>
                  <a:lnTo>
                    <a:pt x="0" y="1845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2" name="Google Shape;556;p75">
              <a:extLst>
                <a:ext uri="{FF2B5EF4-FFF2-40B4-BE49-F238E27FC236}">
                  <a16:creationId xmlns:a16="http://schemas.microsoft.com/office/drawing/2014/main" id="{1829110C-47DC-D577-3966-DF5FD71F1867}"/>
                </a:ext>
              </a:extLst>
            </p:cNvPr>
            <p:cNvSpPr/>
            <p:nvPr/>
          </p:nvSpPr>
          <p:spPr>
            <a:xfrm>
              <a:off x="4367095" y="2290941"/>
              <a:ext cx="168941" cy="168884"/>
            </a:xfrm>
            <a:custGeom>
              <a:avLst/>
              <a:gdLst/>
              <a:ahLst/>
              <a:cxnLst/>
              <a:rect l="l" t="t" r="r" b="b"/>
              <a:pathLst>
                <a:path w="168941" h="168884" extrusionOk="0">
                  <a:moveTo>
                    <a:pt x="84439" y="0"/>
                  </a:moveTo>
                  <a:cubicBezTo>
                    <a:pt x="37785" y="19"/>
                    <a:pt x="-32" y="37839"/>
                    <a:pt x="0" y="84474"/>
                  </a:cubicBezTo>
                  <a:cubicBezTo>
                    <a:pt x="32" y="131108"/>
                    <a:pt x="37849" y="168903"/>
                    <a:pt x="84502" y="168884"/>
                  </a:cubicBezTo>
                  <a:cubicBezTo>
                    <a:pt x="131156" y="168865"/>
                    <a:pt x="168942" y="131067"/>
                    <a:pt x="168942" y="84442"/>
                  </a:cubicBezTo>
                  <a:cubicBezTo>
                    <a:pt x="168878" y="37817"/>
                    <a:pt x="131093" y="35"/>
                    <a:pt x="84439" y="0"/>
                  </a:cubicBezTo>
                  <a:close/>
                  <a:moveTo>
                    <a:pt x="75223" y="18997"/>
                  </a:moveTo>
                  <a:lnTo>
                    <a:pt x="75223" y="64527"/>
                  </a:lnTo>
                  <a:lnTo>
                    <a:pt x="38672" y="36854"/>
                  </a:lnTo>
                  <a:cubicBezTo>
                    <a:pt x="48617" y="27175"/>
                    <a:pt x="61445" y="20995"/>
                    <a:pt x="75223" y="19250"/>
                  </a:cubicBezTo>
                  <a:close/>
                  <a:moveTo>
                    <a:pt x="24546" y="56421"/>
                  </a:moveTo>
                  <a:cubicBezTo>
                    <a:pt x="25402" y="54585"/>
                    <a:pt x="26288" y="52875"/>
                    <a:pt x="27238" y="51229"/>
                  </a:cubicBezTo>
                  <a:lnTo>
                    <a:pt x="73259" y="86310"/>
                  </a:lnTo>
                  <a:lnTo>
                    <a:pt x="48427" y="139597"/>
                  </a:lnTo>
                  <a:cubicBezTo>
                    <a:pt x="20999" y="121629"/>
                    <a:pt x="10895" y="86307"/>
                    <a:pt x="24610" y="56548"/>
                  </a:cubicBezTo>
                  <a:close/>
                  <a:moveTo>
                    <a:pt x="84376" y="150330"/>
                  </a:moveTo>
                  <a:cubicBezTo>
                    <a:pt x="77851" y="150435"/>
                    <a:pt x="71327" y="149494"/>
                    <a:pt x="65087" y="147544"/>
                  </a:cubicBezTo>
                  <a:lnTo>
                    <a:pt x="93592" y="86437"/>
                  </a:lnTo>
                  <a:lnTo>
                    <a:pt x="93592" y="19250"/>
                  </a:lnTo>
                  <a:cubicBezTo>
                    <a:pt x="129699" y="24411"/>
                    <a:pt x="154784" y="57852"/>
                    <a:pt x="149621" y="93947"/>
                  </a:cubicBezTo>
                  <a:cubicBezTo>
                    <a:pt x="144966" y="126426"/>
                    <a:pt x="117157" y="150564"/>
                    <a:pt x="84344" y="150615"/>
                  </a:cubicBez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3" name="Google Shape;557;p75">
              <a:extLst>
                <a:ext uri="{FF2B5EF4-FFF2-40B4-BE49-F238E27FC236}">
                  <a16:creationId xmlns:a16="http://schemas.microsoft.com/office/drawing/2014/main" id="{CE798B40-5E9E-C8C0-C89A-953AD7EF48B9}"/>
                </a:ext>
              </a:extLst>
            </p:cNvPr>
            <p:cNvSpPr/>
            <p:nvPr/>
          </p:nvSpPr>
          <p:spPr>
            <a:xfrm>
              <a:off x="4377642" y="2537079"/>
              <a:ext cx="19066" cy="18458"/>
            </a:xfrm>
            <a:custGeom>
              <a:avLst/>
              <a:gdLst/>
              <a:ahLst/>
              <a:cxnLst/>
              <a:rect l="l" t="t" r="r" b="b"/>
              <a:pathLst>
                <a:path w="19066" h="18458" extrusionOk="0">
                  <a:moveTo>
                    <a:pt x="0" y="0"/>
                  </a:moveTo>
                  <a:lnTo>
                    <a:pt x="19067" y="0"/>
                  </a:lnTo>
                  <a:lnTo>
                    <a:pt x="19067" y="18459"/>
                  </a:lnTo>
                  <a:lnTo>
                    <a:pt x="0" y="1845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4" name="Google Shape;558;p75">
              <a:extLst>
                <a:ext uri="{FF2B5EF4-FFF2-40B4-BE49-F238E27FC236}">
                  <a16:creationId xmlns:a16="http://schemas.microsoft.com/office/drawing/2014/main" id="{A2EFFB05-E76D-8788-BE2C-76F9EC58E1FB}"/>
                </a:ext>
              </a:extLst>
            </p:cNvPr>
            <p:cNvSpPr/>
            <p:nvPr/>
          </p:nvSpPr>
          <p:spPr>
            <a:xfrm>
              <a:off x="4597576" y="2460331"/>
              <a:ext cx="140752" cy="56547"/>
            </a:xfrm>
            <a:custGeom>
              <a:avLst/>
              <a:gdLst/>
              <a:ahLst/>
              <a:cxnLst/>
              <a:rect l="l" t="t" r="r" b="b"/>
              <a:pathLst>
                <a:path w="140752" h="56547" extrusionOk="0">
                  <a:moveTo>
                    <a:pt x="0" y="56548"/>
                  </a:moveTo>
                  <a:lnTo>
                    <a:pt x="140753" y="56548"/>
                  </a:lnTo>
                  <a:lnTo>
                    <a:pt x="140753" y="0"/>
                  </a:lnTo>
                  <a:lnTo>
                    <a:pt x="31" y="0"/>
                  </a:lnTo>
                  <a:close/>
                  <a:moveTo>
                    <a:pt x="19415" y="19440"/>
                  </a:moveTo>
                  <a:lnTo>
                    <a:pt x="121306" y="19440"/>
                  </a:lnTo>
                  <a:lnTo>
                    <a:pt x="121306" y="37139"/>
                  </a:lnTo>
                  <a:lnTo>
                    <a:pt x="19415" y="3713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5" name="Google Shape;559;p75">
              <a:extLst>
                <a:ext uri="{FF2B5EF4-FFF2-40B4-BE49-F238E27FC236}">
                  <a16:creationId xmlns:a16="http://schemas.microsoft.com/office/drawing/2014/main" id="{24571FF6-C16C-843A-8B4B-A134EBC24795}"/>
                </a:ext>
              </a:extLst>
            </p:cNvPr>
            <p:cNvSpPr/>
            <p:nvPr/>
          </p:nvSpPr>
          <p:spPr>
            <a:xfrm>
              <a:off x="4420843" y="2623390"/>
              <a:ext cx="108130" cy="18458"/>
            </a:xfrm>
            <a:custGeom>
              <a:avLst/>
              <a:gdLst/>
              <a:ahLst/>
              <a:cxnLst/>
              <a:rect l="l" t="t" r="r" b="b"/>
              <a:pathLst>
                <a:path w="108130" h="18458" extrusionOk="0">
                  <a:moveTo>
                    <a:pt x="0" y="0"/>
                  </a:moveTo>
                  <a:lnTo>
                    <a:pt x="108130" y="0"/>
                  </a:lnTo>
                  <a:lnTo>
                    <a:pt x="108130" y="18459"/>
                  </a:lnTo>
                  <a:lnTo>
                    <a:pt x="0" y="1845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6" name="Google Shape;560;p75">
              <a:extLst>
                <a:ext uri="{FF2B5EF4-FFF2-40B4-BE49-F238E27FC236}">
                  <a16:creationId xmlns:a16="http://schemas.microsoft.com/office/drawing/2014/main" id="{C08932C7-B97D-0F29-5802-FFCEF8598495}"/>
                </a:ext>
              </a:extLst>
            </p:cNvPr>
            <p:cNvSpPr/>
            <p:nvPr/>
          </p:nvSpPr>
          <p:spPr>
            <a:xfrm>
              <a:off x="4377642" y="2580234"/>
              <a:ext cx="19066" cy="18458"/>
            </a:xfrm>
            <a:custGeom>
              <a:avLst/>
              <a:gdLst/>
              <a:ahLst/>
              <a:cxnLst/>
              <a:rect l="l" t="t" r="r" b="b"/>
              <a:pathLst>
                <a:path w="19066" h="18458" extrusionOk="0">
                  <a:moveTo>
                    <a:pt x="0" y="0"/>
                  </a:moveTo>
                  <a:lnTo>
                    <a:pt x="19067" y="0"/>
                  </a:lnTo>
                  <a:lnTo>
                    <a:pt x="19067" y="18459"/>
                  </a:lnTo>
                  <a:lnTo>
                    <a:pt x="0" y="1845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7" name="Google Shape;561;p75">
              <a:extLst>
                <a:ext uri="{FF2B5EF4-FFF2-40B4-BE49-F238E27FC236}">
                  <a16:creationId xmlns:a16="http://schemas.microsoft.com/office/drawing/2014/main" id="{89E918B1-3F01-66B8-3E51-9DB8F79F7DE0}"/>
                </a:ext>
              </a:extLst>
            </p:cNvPr>
            <p:cNvSpPr/>
            <p:nvPr/>
          </p:nvSpPr>
          <p:spPr>
            <a:xfrm>
              <a:off x="4377642" y="2493893"/>
              <a:ext cx="19066" cy="18458"/>
            </a:xfrm>
            <a:custGeom>
              <a:avLst/>
              <a:gdLst/>
              <a:ahLst/>
              <a:cxnLst/>
              <a:rect l="l" t="t" r="r" b="b"/>
              <a:pathLst>
                <a:path w="19066" h="18458" extrusionOk="0">
                  <a:moveTo>
                    <a:pt x="0" y="0"/>
                  </a:moveTo>
                  <a:lnTo>
                    <a:pt x="19067" y="0"/>
                  </a:lnTo>
                  <a:lnTo>
                    <a:pt x="19067" y="18459"/>
                  </a:lnTo>
                  <a:lnTo>
                    <a:pt x="0" y="1845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sp>
        <p:nvSpPr>
          <p:cNvPr id="58" name="Google Shape;589;p76">
            <a:extLst>
              <a:ext uri="{FF2B5EF4-FFF2-40B4-BE49-F238E27FC236}">
                <a16:creationId xmlns:a16="http://schemas.microsoft.com/office/drawing/2014/main" id="{609F321F-A027-F587-08D3-6F75A0899204}"/>
              </a:ext>
            </a:extLst>
          </p:cNvPr>
          <p:cNvSpPr/>
          <p:nvPr/>
        </p:nvSpPr>
        <p:spPr>
          <a:xfrm>
            <a:off x="5880000" y="1975073"/>
            <a:ext cx="432000" cy="4320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moveTo>
                  <a:pt x="88138" y="400526"/>
                </a:moveTo>
                <a:lnTo>
                  <a:pt x="369062" y="400526"/>
                </a:lnTo>
                <a:lnTo>
                  <a:pt x="369062" y="244475"/>
                </a:lnTo>
                <a:lnTo>
                  <a:pt x="419481" y="244475"/>
                </a:lnTo>
                <a:lnTo>
                  <a:pt x="230473" y="52673"/>
                </a:lnTo>
                <a:lnTo>
                  <a:pt x="37370" y="244475"/>
                </a:lnTo>
                <a:lnTo>
                  <a:pt x="88170" y="244475"/>
                </a:lnTo>
                <a:close/>
                <a:moveTo>
                  <a:pt x="107664" y="381000"/>
                </a:moveTo>
                <a:lnTo>
                  <a:pt x="107664" y="224885"/>
                </a:lnTo>
                <a:lnTo>
                  <a:pt x="84741" y="224885"/>
                </a:lnTo>
                <a:lnTo>
                  <a:pt x="230315" y="80359"/>
                </a:lnTo>
                <a:lnTo>
                  <a:pt x="372809" y="224885"/>
                </a:lnTo>
                <a:lnTo>
                  <a:pt x="349536" y="224885"/>
                </a:lnTo>
                <a:lnTo>
                  <a:pt x="349536" y="381000"/>
                </a:lnTo>
                <a:close/>
                <a:moveTo>
                  <a:pt x="274447" y="204089"/>
                </a:moveTo>
                <a:cubicBezTo>
                  <a:pt x="274447" y="178768"/>
                  <a:pt x="253921" y="158242"/>
                  <a:pt x="228600" y="158242"/>
                </a:cubicBezTo>
                <a:cubicBezTo>
                  <a:pt x="203279" y="158242"/>
                  <a:pt x="182753" y="178768"/>
                  <a:pt x="182753" y="204089"/>
                </a:cubicBezTo>
                <a:lnTo>
                  <a:pt x="182753" y="225425"/>
                </a:lnTo>
                <a:lnTo>
                  <a:pt x="152654" y="225425"/>
                </a:lnTo>
                <a:lnTo>
                  <a:pt x="152654" y="342900"/>
                </a:lnTo>
                <a:lnTo>
                  <a:pt x="304546" y="342900"/>
                </a:lnTo>
                <a:lnTo>
                  <a:pt x="304546" y="225425"/>
                </a:lnTo>
                <a:lnTo>
                  <a:pt x="274447" y="225425"/>
                </a:lnTo>
                <a:close/>
                <a:moveTo>
                  <a:pt x="202248" y="204089"/>
                </a:moveTo>
                <a:cubicBezTo>
                  <a:pt x="202248" y="189535"/>
                  <a:pt x="214046" y="177737"/>
                  <a:pt x="228600" y="177737"/>
                </a:cubicBezTo>
                <a:cubicBezTo>
                  <a:pt x="243154" y="177737"/>
                  <a:pt x="254953" y="189535"/>
                  <a:pt x="254953" y="204089"/>
                </a:cubicBezTo>
                <a:lnTo>
                  <a:pt x="254953" y="225425"/>
                </a:lnTo>
                <a:lnTo>
                  <a:pt x="202248" y="225425"/>
                </a:lnTo>
                <a:close/>
                <a:moveTo>
                  <a:pt x="285052" y="323310"/>
                </a:moveTo>
                <a:lnTo>
                  <a:pt x="172149" y="323310"/>
                </a:lnTo>
                <a:lnTo>
                  <a:pt x="172149" y="244793"/>
                </a:lnTo>
                <a:lnTo>
                  <a:pt x="285052" y="244793"/>
                </a:lnTo>
                <a:close/>
                <a:moveTo>
                  <a:pt x="238347" y="298672"/>
                </a:moveTo>
                <a:lnTo>
                  <a:pt x="218853" y="298672"/>
                </a:lnTo>
                <a:lnTo>
                  <a:pt x="218853" y="269431"/>
                </a:lnTo>
                <a:lnTo>
                  <a:pt x="238347" y="269431"/>
                </a:lnTo>
                <a:close/>
              </a:path>
            </a:pathLst>
          </a:custGeom>
          <a:solidFill>
            <a:schemeClr val="bg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59" name="Google Shape;1387;p89">
            <a:extLst>
              <a:ext uri="{FF2B5EF4-FFF2-40B4-BE49-F238E27FC236}">
                <a16:creationId xmlns:a16="http://schemas.microsoft.com/office/drawing/2014/main" id="{E12022BE-B37B-AD2A-2AF2-0F4030AB6D1B}"/>
              </a:ext>
            </a:extLst>
          </p:cNvPr>
          <p:cNvSpPr/>
          <p:nvPr/>
        </p:nvSpPr>
        <p:spPr>
          <a:xfrm>
            <a:off x="9768581" y="1975073"/>
            <a:ext cx="432000" cy="432000"/>
          </a:xfrm>
          <a:custGeom>
            <a:avLst/>
            <a:gdLst/>
            <a:ahLst/>
            <a:cxnLst/>
            <a:rect l="l" t="t" r="r" b="b"/>
            <a:pathLst>
              <a:path w="456085" h="455929" extrusionOk="0">
                <a:moveTo>
                  <a:pt x="200614" y="0"/>
                </a:moveTo>
                <a:lnTo>
                  <a:pt x="200614" y="0"/>
                </a:lnTo>
                <a:lnTo>
                  <a:pt x="112153" y="0"/>
                </a:lnTo>
                <a:lnTo>
                  <a:pt x="112153" y="0"/>
                </a:lnTo>
                <a:lnTo>
                  <a:pt x="0" y="0"/>
                </a:lnTo>
                <a:lnTo>
                  <a:pt x="0" y="455930"/>
                </a:lnTo>
                <a:lnTo>
                  <a:pt x="456086" y="455930"/>
                </a:lnTo>
                <a:lnTo>
                  <a:pt x="456086" y="0"/>
                </a:lnTo>
                <a:close/>
                <a:moveTo>
                  <a:pt x="436575" y="436363"/>
                </a:moveTo>
                <a:lnTo>
                  <a:pt x="19384" y="436363"/>
                </a:lnTo>
                <a:lnTo>
                  <a:pt x="19384" y="19440"/>
                </a:lnTo>
                <a:lnTo>
                  <a:pt x="112153" y="19440"/>
                </a:lnTo>
                <a:lnTo>
                  <a:pt x="112153" y="81656"/>
                </a:lnTo>
                <a:lnTo>
                  <a:pt x="35410" y="158372"/>
                </a:lnTo>
                <a:lnTo>
                  <a:pt x="141894" y="264724"/>
                </a:lnTo>
                <a:lnTo>
                  <a:pt x="131948" y="274634"/>
                </a:lnTo>
                <a:lnTo>
                  <a:pt x="175942" y="368923"/>
                </a:lnTo>
                <a:lnTo>
                  <a:pt x="227346" y="317536"/>
                </a:lnTo>
                <a:cubicBezTo>
                  <a:pt x="234473" y="320028"/>
                  <a:pt x="241979" y="321301"/>
                  <a:pt x="249517" y="321304"/>
                </a:cubicBezTo>
                <a:cubicBezTo>
                  <a:pt x="268014" y="321269"/>
                  <a:pt x="285719" y="313889"/>
                  <a:pt x="298768" y="300787"/>
                </a:cubicBezTo>
                <a:cubicBezTo>
                  <a:pt x="317550" y="282189"/>
                  <a:pt x="324074" y="254498"/>
                  <a:pt x="315523" y="229485"/>
                </a:cubicBezTo>
                <a:lnTo>
                  <a:pt x="315523" y="229485"/>
                </a:lnTo>
                <a:lnTo>
                  <a:pt x="366896" y="178129"/>
                </a:lnTo>
                <a:lnTo>
                  <a:pt x="272575" y="134183"/>
                </a:lnTo>
                <a:lnTo>
                  <a:pt x="262661" y="144093"/>
                </a:lnTo>
                <a:lnTo>
                  <a:pt x="200646" y="82131"/>
                </a:lnTo>
                <a:lnTo>
                  <a:pt x="200646" y="19440"/>
                </a:lnTo>
                <a:lnTo>
                  <a:pt x="436607" y="19440"/>
                </a:lnTo>
                <a:close/>
                <a:moveTo>
                  <a:pt x="266303" y="250223"/>
                </a:moveTo>
                <a:lnTo>
                  <a:pt x="220948" y="295531"/>
                </a:lnTo>
                <a:lnTo>
                  <a:pt x="220948" y="295531"/>
                </a:lnTo>
                <a:lnTo>
                  <a:pt x="208818" y="307626"/>
                </a:lnTo>
                <a:lnTo>
                  <a:pt x="208818" y="307626"/>
                </a:lnTo>
                <a:lnTo>
                  <a:pt x="181991" y="334444"/>
                </a:lnTo>
                <a:lnTo>
                  <a:pt x="156146" y="278972"/>
                </a:lnTo>
                <a:lnTo>
                  <a:pt x="237766" y="197380"/>
                </a:lnTo>
                <a:lnTo>
                  <a:pt x="245748" y="189401"/>
                </a:lnTo>
                <a:lnTo>
                  <a:pt x="247522" y="187628"/>
                </a:lnTo>
                <a:lnTo>
                  <a:pt x="249390" y="185760"/>
                </a:lnTo>
                <a:lnTo>
                  <a:pt x="276787" y="158404"/>
                </a:lnTo>
                <a:lnTo>
                  <a:pt x="332278" y="184240"/>
                </a:lnTo>
                <a:close/>
                <a:moveTo>
                  <a:pt x="299116" y="251806"/>
                </a:moveTo>
                <a:cubicBezTo>
                  <a:pt x="299116" y="253484"/>
                  <a:pt x="299116" y="255162"/>
                  <a:pt x="298831" y="256809"/>
                </a:cubicBezTo>
                <a:cubicBezTo>
                  <a:pt x="298831" y="256999"/>
                  <a:pt x="298831" y="257220"/>
                  <a:pt x="298831" y="257410"/>
                </a:cubicBezTo>
                <a:cubicBezTo>
                  <a:pt x="298641" y="259025"/>
                  <a:pt x="298356" y="260577"/>
                  <a:pt x="298008" y="262191"/>
                </a:cubicBezTo>
                <a:cubicBezTo>
                  <a:pt x="298008" y="262413"/>
                  <a:pt x="298008" y="262666"/>
                  <a:pt x="298008" y="262919"/>
                </a:cubicBezTo>
                <a:cubicBezTo>
                  <a:pt x="297628" y="264480"/>
                  <a:pt x="297184" y="266000"/>
                  <a:pt x="296678" y="267479"/>
                </a:cubicBezTo>
                <a:lnTo>
                  <a:pt x="296392" y="268270"/>
                </a:lnTo>
                <a:cubicBezTo>
                  <a:pt x="295854" y="269759"/>
                  <a:pt x="295252" y="271215"/>
                  <a:pt x="294555" y="272671"/>
                </a:cubicBezTo>
                <a:cubicBezTo>
                  <a:pt x="294555" y="272893"/>
                  <a:pt x="294334" y="273115"/>
                  <a:pt x="294207" y="273368"/>
                </a:cubicBezTo>
                <a:cubicBezTo>
                  <a:pt x="293510" y="274821"/>
                  <a:pt x="292719" y="276240"/>
                  <a:pt x="291863" y="277611"/>
                </a:cubicBezTo>
                <a:lnTo>
                  <a:pt x="291483" y="278180"/>
                </a:lnTo>
                <a:cubicBezTo>
                  <a:pt x="290596" y="279574"/>
                  <a:pt x="289614" y="280967"/>
                  <a:pt x="288569" y="282296"/>
                </a:cubicBezTo>
                <a:lnTo>
                  <a:pt x="288284" y="282645"/>
                </a:lnTo>
                <a:cubicBezTo>
                  <a:pt x="287144" y="284035"/>
                  <a:pt x="285972" y="285365"/>
                  <a:pt x="284705" y="286634"/>
                </a:cubicBezTo>
                <a:cubicBezTo>
                  <a:pt x="283438" y="287891"/>
                  <a:pt x="282108" y="289075"/>
                  <a:pt x="280714" y="290180"/>
                </a:cubicBezTo>
                <a:lnTo>
                  <a:pt x="280366" y="290497"/>
                </a:lnTo>
                <a:cubicBezTo>
                  <a:pt x="279036" y="291542"/>
                  <a:pt x="277674" y="292492"/>
                  <a:pt x="276280" y="293410"/>
                </a:cubicBezTo>
                <a:lnTo>
                  <a:pt x="275679" y="293790"/>
                </a:lnTo>
                <a:cubicBezTo>
                  <a:pt x="274317" y="294645"/>
                  <a:pt x="272891" y="295427"/>
                  <a:pt x="271434" y="296133"/>
                </a:cubicBezTo>
                <a:lnTo>
                  <a:pt x="270706" y="296481"/>
                </a:lnTo>
                <a:cubicBezTo>
                  <a:pt x="269281" y="297171"/>
                  <a:pt x="267792" y="297786"/>
                  <a:pt x="266303" y="298317"/>
                </a:cubicBezTo>
                <a:lnTo>
                  <a:pt x="265575" y="298571"/>
                </a:lnTo>
                <a:cubicBezTo>
                  <a:pt x="264055" y="299103"/>
                  <a:pt x="262503" y="299555"/>
                  <a:pt x="260951" y="299932"/>
                </a:cubicBezTo>
                <a:lnTo>
                  <a:pt x="260286" y="299932"/>
                </a:lnTo>
                <a:cubicBezTo>
                  <a:pt x="258702" y="300312"/>
                  <a:pt x="257055" y="300597"/>
                  <a:pt x="255440" y="300787"/>
                </a:cubicBezTo>
                <a:lnTo>
                  <a:pt x="254933" y="300787"/>
                </a:lnTo>
                <a:cubicBezTo>
                  <a:pt x="253254" y="300986"/>
                  <a:pt x="251544" y="301094"/>
                  <a:pt x="249834" y="301104"/>
                </a:cubicBezTo>
                <a:lnTo>
                  <a:pt x="249580" y="301104"/>
                </a:lnTo>
                <a:cubicBezTo>
                  <a:pt x="247870" y="301104"/>
                  <a:pt x="246128" y="301104"/>
                  <a:pt x="244386" y="300787"/>
                </a:cubicBezTo>
                <a:lnTo>
                  <a:pt x="244386" y="300787"/>
                </a:lnTo>
                <a:lnTo>
                  <a:pt x="271783" y="273400"/>
                </a:lnTo>
                <a:lnTo>
                  <a:pt x="299179" y="246044"/>
                </a:lnTo>
                <a:lnTo>
                  <a:pt x="299179" y="246044"/>
                </a:lnTo>
                <a:cubicBezTo>
                  <a:pt x="299370" y="247754"/>
                  <a:pt x="299465" y="249495"/>
                  <a:pt x="299497" y="251236"/>
                </a:cubicBezTo>
                <a:close/>
                <a:moveTo>
                  <a:pt x="156146" y="250540"/>
                </a:moveTo>
                <a:lnTo>
                  <a:pt x="63884" y="158372"/>
                </a:lnTo>
                <a:lnTo>
                  <a:pt x="112153" y="110120"/>
                </a:lnTo>
                <a:lnTo>
                  <a:pt x="112153" y="202287"/>
                </a:lnTo>
                <a:lnTo>
                  <a:pt x="200614" y="202287"/>
                </a:lnTo>
                <a:lnTo>
                  <a:pt x="200614" y="110626"/>
                </a:lnTo>
                <a:lnTo>
                  <a:pt x="228613" y="138584"/>
                </a:lnTo>
                <a:lnTo>
                  <a:pt x="248377" y="158372"/>
                </a:lnTo>
                <a:close/>
                <a:moveTo>
                  <a:pt x="134324" y="180124"/>
                </a:moveTo>
                <a:lnTo>
                  <a:pt x="134324" y="22036"/>
                </a:lnTo>
                <a:lnTo>
                  <a:pt x="178443" y="22036"/>
                </a:lnTo>
                <a:lnTo>
                  <a:pt x="178443" y="180124"/>
                </a:lnTo>
                <a:close/>
                <a:moveTo>
                  <a:pt x="331707" y="260862"/>
                </a:moveTo>
                <a:lnTo>
                  <a:pt x="412694" y="261242"/>
                </a:lnTo>
                <a:lnTo>
                  <a:pt x="412694" y="285368"/>
                </a:lnTo>
                <a:lnTo>
                  <a:pt x="331739" y="284988"/>
                </a:lnTo>
                <a:close/>
                <a:moveTo>
                  <a:pt x="300035" y="325262"/>
                </a:moveTo>
                <a:lnTo>
                  <a:pt x="317170" y="308259"/>
                </a:lnTo>
                <a:lnTo>
                  <a:pt x="377918" y="369525"/>
                </a:lnTo>
                <a:lnTo>
                  <a:pt x="360783" y="386496"/>
                </a:lnTo>
                <a:close/>
                <a:moveTo>
                  <a:pt x="252241" y="338971"/>
                </a:moveTo>
                <a:lnTo>
                  <a:pt x="276375" y="338971"/>
                </a:lnTo>
                <a:lnTo>
                  <a:pt x="275964" y="419899"/>
                </a:lnTo>
                <a:lnTo>
                  <a:pt x="251829" y="419899"/>
                </a:lnTo>
                <a:close/>
              </a:path>
            </a:pathLst>
          </a:cu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34" name="Rectangle 33">
            <a:extLst>
              <a:ext uri="{FF2B5EF4-FFF2-40B4-BE49-F238E27FC236}">
                <a16:creationId xmlns:a16="http://schemas.microsoft.com/office/drawing/2014/main" id="{ECEDAD9A-CD66-6898-0D26-64B05645AF09}"/>
              </a:ext>
            </a:extLst>
          </p:cNvPr>
          <p:cNvSpPr/>
          <p:nvPr/>
        </p:nvSpPr>
        <p:spPr>
          <a:xfrm>
            <a:off x="442912" y="6341400"/>
            <a:ext cx="7775575" cy="36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tIns="0" rIns="0" bIns="0" rtlCol="0" anchor="ctr"/>
          <a:lstStyle/>
          <a:p>
            <a:pPr>
              <a:lnSpc>
                <a:spcPct val="100000"/>
              </a:lnSpc>
              <a:buSzPct val="100000"/>
            </a:pPr>
            <a:r>
              <a:rPr lang="lv-LV" sz="1000">
                <a:solidFill>
                  <a:schemeClr val="tx1"/>
                </a:solidFill>
              </a:rPr>
              <a:t>*1. kritiskās infrastruktūras objekti (&gt;100 cilvēki)</a:t>
            </a:r>
          </a:p>
          <a:p>
            <a:pPr>
              <a:lnSpc>
                <a:spcPct val="100000"/>
              </a:lnSpc>
              <a:buSzPct val="100000"/>
            </a:pPr>
            <a:r>
              <a:rPr lang="lv-LV" sz="1000">
                <a:solidFill>
                  <a:schemeClr val="tx1"/>
                </a:solidFill>
              </a:rPr>
              <a:t>2. valsts, pašvaldību objekti, kuriem ministrijas uzdod izstrādāta plānus</a:t>
            </a:r>
          </a:p>
        </p:txBody>
      </p:sp>
      <p:sp>
        <p:nvSpPr>
          <p:cNvPr id="5" name="Rectangle 4">
            <a:extLst>
              <a:ext uri="{FF2B5EF4-FFF2-40B4-BE49-F238E27FC236}">
                <a16:creationId xmlns:a16="http://schemas.microsoft.com/office/drawing/2014/main" id="{086D1611-A8EB-5349-ECAA-820ED5B230C5}"/>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rgbClr val="A4A3B2"/>
                </a:solidFill>
                <a:effectLst/>
                <a:uLnTx/>
                <a:uFillTx/>
                <a:ea typeface="Georgia"/>
                <a:cs typeface="Georgia"/>
                <a:sym typeface="Georgia"/>
              </a:rPr>
              <a:t>2. CIVILĀS AIZSARDZĪBAS SISTĒMA UN NORMATĪVAIS UN POLITIKAS PLĀNOŠANAS IETVARS</a:t>
            </a:r>
          </a:p>
        </p:txBody>
      </p:sp>
      <p:grpSp>
        <p:nvGrpSpPr>
          <p:cNvPr id="3" name="Group 2">
            <a:extLst>
              <a:ext uri="{FF2B5EF4-FFF2-40B4-BE49-F238E27FC236}">
                <a16:creationId xmlns:a16="http://schemas.microsoft.com/office/drawing/2014/main" id="{0F5BC93F-5FAE-52F1-C6AB-940899A2DBC4}"/>
              </a:ext>
            </a:extLst>
          </p:cNvPr>
          <p:cNvGrpSpPr/>
          <p:nvPr/>
        </p:nvGrpSpPr>
        <p:grpSpPr>
          <a:xfrm>
            <a:off x="6399569" y="132067"/>
            <a:ext cx="5349135" cy="224022"/>
            <a:chOff x="6167418" y="132067"/>
            <a:chExt cx="5349135" cy="224022"/>
          </a:xfrm>
        </p:grpSpPr>
        <p:sp>
          <p:nvSpPr>
            <p:cNvPr id="21" name="Rectangle 20">
              <a:extLst>
                <a:ext uri="{FF2B5EF4-FFF2-40B4-BE49-F238E27FC236}">
                  <a16:creationId xmlns:a16="http://schemas.microsoft.com/office/drawing/2014/main" id="{841DC543-5AD7-3D23-33EF-CC43AB7ED5B6}"/>
                </a:ext>
              </a:extLst>
            </p:cNvPr>
            <p:cNvSpPr/>
            <p:nvPr/>
          </p:nvSpPr>
          <p:spPr>
            <a:xfrm>
              <a:off x="6167418" y="13860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5" name="Rectangle 24">
              <a:extLst>
                <a:ext uri="{FF2B5EF4-FFF2-40B4-BE49-F238E27FC236}">
                  <a16:creationId xmlns:a16="http://schemas.microsoft.com/office/drawing/2014/main" id="{6E493C53-6221-0F77-DD52-F6D83718323C}"/>
                </a:ext>
              </a:extLst>
            </p:cNvPr>
            <p:cNvSpPr/>
            <p:nvPr/>
          </p:nvSpPr>
          <p:spPr>
            <a:xfrm>
              <a:off x="6409245" y="13860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26" name="Rectangle 25">
              <a:extLst>
                <a:ext uri="{FF2B5EF4-FFF2-40B4-BE49-F238E27FC236}">
                  <a16:creationId xmlns:a16="http://schemas.microsoft.com/office/drawing/2014/main" id="{03C4D4A6-1AD3-E83A-7E9F-DE55EB4ADF38}"/>
                </a:ext>
              </a:extLst>
            </p:cNvPr>
            <p:cNvSpPr/>
            <p:nvPr/>
          </p:nvSpPr>
          <p:spPr>
            <a:xfrm>
              <a:off x="6651072" y="138601"/>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7" name="Rectangle 26">
              <a:extLst>
                <a:ext uri="{FF2B5EF4-FFF2-40B4-BE49-F238E27FC236}">
                  <a16:creationId xmlns:a16="http://schemas.microsoft.com/office/drawing/2014/main" id="{8D8C6572-059F-BB69-1289-796437672E40}"/>
                </a:ext>
              </a:extLst>
            </p:cNvPr>
            <p:cNvSpPr/>
            <p:nvPr/>
          </p:nvSpPr>
          <p:spPr>
            <a:xfrm>
              <a:off x="7134726" y="138601"/>
              <a:ext cx="414000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600"/>
                </a:spcAft>
              </a:pPr>
              <a:r>
                <a:rPr lang="lv-LV" sz="800" b="1">
                  <a:latin typeface="Arial"/>
                  <a:cs typeface="Arial"/>
                </a:rPr>
                <a:t>Civilās aizsardzības pasākumu plānošana</a:t>
              </a:r>
              <a:endParaRPr lang="en-US" sz="800" b="1">
                <a:latin typeface="Arial"/>
                <a:cs typeface="Arial"/>
              </a:endParaRPr>
            </a:p>
          </p:txBody>
        </p:sp>
        <p:sp>
          <p:nvSpPr>
            <p:cNvPr id="30" name="Rectangle 29">
              <a:extLst>
                <a:ext uri="{FF2B5EF4-FFF2-40B4-BE49-F238E27FC236}">
                  <a16:creationId xmlns:a16="http://schemas.microsoft.com/office/drawing/2014/main" id="{990CA015-E5CF-01C7-314D-D8343A0D3D70}"/>
                </a:ext>
              </a:extLst>
            </p:cNvPr>
            <p:cNvSpPr/>
            <p:nvPr/>
          </p:nvSpPr>
          <p:spPr>
            <a:xfrm>
              <a:off x="6892899" y="138601"/>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4</a:t>
              </a:r>
            </a:p>
          </p:txBody>
        </p:sp>
        <p:sp>
          <p:nvSpPr>
            <p:cNvPr id="31" name="Rectangle 30">
              <a:extLst>
                <a:ext uri="{FF2B5EF4-FFF2-40B4-BE49-F238E27FC236}">
                  <a16:creationId xmlns:a16="http://schemas.microsoft.com/office/drawing/2014/main" id="{B9C5025A-294E-6E34-D4B4-8C189316722E}"/>
                </a:ext>
              </a:extLst>
            </p:cNvPr>
            <p:cNvSpPr/>
            <p:nvPr/>
          </p:nvSpPr>
          <p:spPr>
            <a:xfrm>
              <a:off x="1130055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40497826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47" name="Picture 44046">
            <a:extLst>
              <a:ext uri="{FF2B5EF4-FFF2-40B4-BE49-F238E27FC236}">
                <a16:creationId xmlns:a16="http://schemas.microsoft.com/office/drawing/2014/main" id="{B61F8EC9-08C2-5F8E-8C43-B84E11B29AE2}"/>
              </a:ext>
            </a:extLst>
          </p:cNvPr>
          <p:cNvPicPr>
            <a:picLocks noChangeAspect="1"/>
          </p:cNvPicPr>
          <p:nvPr/>
        </p:nvPicPr>
        <p:blipFill>
          <a:blip r:embed="rId3"/>
          <a:stretch>
            <a:fillRect/>
          </a:stretch>
        </p:blipFill>
        <p:spPr>
          <a:xfrm>
            <a:off x="8218488" y="3433939"/>
            <a:ext cx="3530600" cy="2350282"/>
          </a:xfrm>
          <a:prstGeom prst="rect">
            <a:avLst/>
          </a:prstGeom>
        </p:spPr>
      </p:pic>
      <p:sp>
        <p:nvSpPr>
          <p:cNvPr id="10" name="Title 9">
            <a:extLst>
              <a:ext uri="{FF2B5EF4-FFF2-40B4-BE49-F238E27FC236}">
                <a16:creationId xmlns:a16="http://schemas.microsoft.com/office/drawing/2014/main" id="{A3E5090C-AF99-94CB-5AAF-F486CA901BC7}"/>
              </a:ext>
            </a:extLst>
          </p:cNvPr>
          <p:cNvSpPr>
            <a:spLocks noGrp="1"/>
          </p:cNvSpPr>
          <p:nvPr>
            <p:ph type="title"/>
          </p:nvPr>
        </p:nvSpPr>
        <p:spPr>
          <a:xfrm>
            <a:off x="442913" y="432001"/>
            <a:ext cx="11306175" cy="1387274"/>
          </a:xfrm>
        </p:spPr>
        <p:txBody>
          <a:bodyPr vert="horz"/>
          <a:lstStyle/>
          <a:p>
            <a:r>
              <a:rPr lang="lv-LV" altLang="lv-LV"/>
              <a:t>Valsts civilās aizsardzības plāns</a:t>
            </a:r>
            <a:endParaRPr lang="cs-CZ"/>
          </a:p>
        </p:txBody>
      </p:sp>
      <p:sp>
        <p:nvSpPr>
          <p:cNvPr id="4" name="Slide Number Placeholder 3">
            <a:extLst>
              <a:ext uri="{FF2B5EF4-FFF2-40B4-BE49-F238E27FC236}">
                <a16:creationId xmlns:a16="http://schemas.microsoft.com/office/drawing/2014/main" id="{02F42781-1C97-9A4F-FEDB-EA9F3D3C05E2}"/>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a:fld id="{A9DEB5B7-0CCF-447A-91D6-F7DB098D19F7}" type="slidenum">
              <a:rPr lang="lv-LV" altLang="en-US" noProof="0" dirty="0"/>
              <a:pPr lvl="0"/>
              <a:t>21</a:t>
            </a:fld>
            <a:endParaRPr lang="lv-LV" altLang="en-US" noProof="0"/>
          </a:p>
        </p:txBody>
      </p:sp>
      <p:sp>
        <p:nvSpPr>
          <p:cNvPr id="15" name="Satura vietturis 2">
            <a:extLst>
              <a:ext uri="{FF2B5EF4-FFF2-40B4-BE49-F238E27FC236}">
                <a16:creationId xmlns:a16="http://schemas.microsoft.com/office/drawing/2014/main" id="{EEAA3E35-7EFC-21DD-686B-8EEE9B94F976}"/>
              </a:ext>
            </a:extLst>
          </p:cNvPr>
          <p:cNvSpPr txBox="1">
            <a:spLocks/>
          </p:cNvSpPr>
          <p:nvPr/>
        </p:nvSpPr>
        <p:spPr>
          <a:xfrm>
            <a:off x="442913" y="1819275"/>
            <a:ext cx="11306175" cy="576000"/>
          </a:xfrm>
          <a:prstGeom prst="rect">
            <a:avLst/>
          </a:prstGeom>
          <a:solidFill>
            <a:srgbClr val="525A72"/>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indent="0">
              <a:buNone/>
              <a:defRPr/>
            </a:pPr>
            <a:r>
              <a:rPr lang="lv-LV" sz="1400">
                <a:solidFill>
                  <a:schemeClr val="bg1"/>
                </a:solidFill>
                <a:ea typeface="+mn-lt"/>
                <a:cs typeface="+mn-lt"/>
              </a:rPr>
              <a:t>Valsts civilās aizsardzības plāns – valsts civilās aizsardzības sistēmas nodrošināšanas pasākumu </a:t>
            </a:r>
            <a:r>
              <a:rPr lang="lv-LV" sz="1400" b="1">
                <a:solidFill>
                  <a:schemeClr val="bg1"/>
                </a:solidFill>
                <a:ea typeface="+mn-lt"/>
                <a:cs typeface="+mn-lt"/>
              </a:rPr>
              <a:t>plānošanas dokuments</a:t>
            </a:r>
            <a:r>
              <a:rPr lang="lv-LV" sz="1400">
                <a:solidFill>
                  <a:schemeClr val="bg1"/>
                </a:solidFill>
                <a:ea typeface="+mn-lt"/>
                <a:cs typeface="+mn-lt"/>
              </a:rPr>
              <a:t>.</a:t>
            </a:r>
            <a:endParaRPr lang="en-US" sz="1400">
              <a:solidFill>
                <a:schemeClr val="bg1"/>
              </a:solidFill>
              <a:ea typeface="+mn-lt"/>
              <a:cs typeface="+mn-lt"/>
            </a:endParaRPr>
          </a:p>
        </p:txBody>
      </p:sp>
      <p:sp>
        <p:nvSpPr>
          <p:cNvPr id="16" name="Rectangle 15">
            <a:extLst>
              <a:ext uri="{FF2B5EF4-FFF2-40B4-BE49-F238E27FC236}">
                <a16:creationId xmlns:a16="http://schemas.microsoft.com/office/drawing/2014/main" id="{A3FDD3CD-91CA-65B3-3B7F-DB8152E787AD}"/>
              </a:ext>
            </a:extLst>
          </p:cNvPr>
          <p:cNvSpPr/>
          <p:nvPr/>
        </p:nvSpPr>
        <p:spPr>
          <a:xfrm>
            <a:off x="11171499"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7" name="Rectangle 16">
            <a:extLst>
              <a:ext uri="{FF2B5EF4-FFF2-40B4-BE49-F238E27FC236}">
                <a16:creationId xmlns:a16="http://schemas.microsoft.com/office/drawing/2014/main" id="{A12185AE-D28B-8796-D252-49075ADD79E2}"/>
              </a:ext>
            </a:extLst>
          </p:cNvPr>
          <p:cNvSpPr/>
          <p:nvPr/>
        </p:nvSpPr>
        <p:spPr>
          <a:xfrm>
            <a:off x="11099499"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8" name="Rectangle 17">
            <a:extLst>
              <a:ext uri="{FF2B5EF4-FFF2-40B4-BE49-F238E27FC236}">
                <a16:creationId xmlns:a16="http://schemas.microsoft.com/office/drawing/2014/main" id="{9A9BA8EA-750A-D8D0-0D47-DF5B06F523CE}"/>
              </a:ext>
            </a:extLst>
          </p:cNvPr>
          <p:cNvSpPr/>
          <p:nvPr/>
        </p:nvSpPr>
        <p:spPr>
          <a:xfrm>
            <a:off x="1120996" y="3433939"/>
            <a:ext cx="6951814" cy="5725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defRPr/>
            </a:pPr>
            <a:r>
              <a:rPr lang="lv-LV" sz="1400">
                <a:solidFill>
                  <a:schemeClr val="tx1"/>
                </a:solidFill>
                <a:ea typeface="+mn-lt"/>
                <a:cs typeface="+mn-lt"/>
              </a:rPr>
              <a:t>katastrofas risku novērtējumiem,</a:t>
            </a:r>
          </a:p>
        </p:txBody>
      </p:sp>
      <p:sp>
        <p:nvSpPr>
          <p:cNvPr id="19" name="Rectangle 18">
            <a:extLst>
              <a:ext uri="{FF2B5EF4-FFF2-40B4-BE49-F238E27FC236}">
                <a16:creationId xmlns:a16="http://schemas.microsoft.com/office/drawing/2014/main" id="{9F3EBC83-A7A4-E7C4-B983-A5553B5614B6}"/>
              </a:ext>
            </a:extLst>
          </p:cNvPr>
          <p:cNvSpPr/>
          <p:nvPr/>
        </p:nvSpPr>
        <p:spPr>
          <a:xfrm>
            <a:off x="1120996" y="4155835"/>
            <a:ext cx="6951814" cy="5725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defRPr/>
            </a:pPr>
            <a:r>
              <a:rPr lang="lv-LV" sz="1400">
                <a:solidFill>
                  <a:schemeClr val="tx1"/>
                </a:solidFill>
                <a:ea typeface="+mn-lt"/>
                <a:cs typeface="+mn-lt"/>
              </a:rPr>
              <a:t>apzinātajiem preventīvajiem, gatavības, reaģēšanas </a:t>
            </a:r>
            <a:endParaRPr lang="en-US" sz="1400">
              <a:solidFill>
                <a:schemeClr val="tx1"/>
              </a:solidFill>
              <a:ea typeface="+mn-lt"/>
              <a:cs typeface="+mn-lt"/>
            </a:endParaRPr>
          </a:p>
          <a:p>
            <a:pPr>
              <a:defRPr/>
            </a:pPr>
            <a:r>
              <a:rPr lang="lv-LV" sz="1400">
                <a:solidFill>
                  <a:schemeClr val="tx1"/>
                </a:solidFill>
                <a:ea typeface="+mn-lt"/>
                <a:cs typeface="+mn-lt"/>
              </a:rPr>
              <a:t>un seku likvidēšanas pasākumiem,</a:t>
            </a:r>
          </a:p>
        </p:txBody>
      </p:sp>
      <p:sp>
        <p:nvSpPr>
          <p:cNvPr id="20" name="Rectangle 19">
            <a:extLst>
              <a:ext uri="{FF2B5EF4-FFF2-40B4-BE49-F238E27FC236}">
                <a16:creationId xmlns:a16="http://schemas.microsoft.com/office/drawing/2014/main" id="{6909AAC6-C011-6E40-568E-B038D8727A6C}"/>
              </a:ext>
            </a:extLst>
          </p:cNvPr>
          <p:cNvSpPr/>
          <p:nvPr/>
        </p:nvSpPr>
        <p:spPr>
          <a:xfrm>
            <a:off x="1120996" y="4877731"/>
            <a:ext cx="6951814" cy="5725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defRPr/>
            </a:pPr>
            <a:r>
              <a:rPr lang="lv-LV" sz="1400">
                <a:solidFill>
                  <a:schemeClr val="tx1"/>
                </a:solidFill>
                <a:ea typeface="+mn-lt"/>
                <a:cs typeface="+mn-lt"/>
              </a:rPr>
              <a:t>izstrādātajiem nozares attīstības plānošanas dokumentiem un tiesību aktiem,</a:t>
            </a:r>
          </a:p>
        </p:txBody>
      </p:sp>
      <p:sp>
        <p:nvSpPr>
          <p:cNvPr id="21" name="Rectangle 20">
            <a:extLst>
              <a:ext uri="{FF2B5EF4-FFF2-40B4-BE49-F238E27FC236}">
                <a16:creationId xmlns:a16="http://schemas.microsoft.com/office/drawing/2014/main" id="{AE295EC9-DD61-AD34-0264-BC4C77569740}"/>
              </a:ext>
            </a:extLst>
          </p:cNvPr>
          <p:cNvSpPr/>
          <p:nvPr/>
        </p:nvSpPr>
        <p:spPr>
          <a:xfrm>
            <a:off x="1120996" y="5599625"/>
            <a:ext cx="6951814" cy="5725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defRPr/>
            </a:pPr>
            <a:r>
              <a:rPr lang="lv-LV" sz="1400">
                <a:solidFill>
                  <a:schemeClr val="tx1"/>
                </a:solidFill>
                <a:ea typeface="+mn-lt"/>
                <a:cs typeface="+mn-lt"/>
              </a:rPr>
              <a:t>apzinātajiem un plānotajiem resursiem katastrofas pārvaldīšanā.</a:t>
            </a:r>
            <a:endParaRPr lang="lv-LV" sz="1400" b="1">
              <a:solidFill>
                <a:schemeClr val="tx1"/>
              </a:solidFill>
              <a:cs typeface="Arial"/>
            </a:endParaRPr>
          </a:p>
        </p:txBody>
      </p:sp>
      <p:sp>
        <p:nvSpPr>
          <p:cNvPr id="22" name="Rectangle 21">
            <a:extLst>
              <a:ext uri="{FF2B5EF4-FFF2-40B4-BE49-F238E27FC236}">
                <a16:creationId xmlns:a16="http://schemas.microsoft.com/office/drawing/2014/main" id="{523C5D9C-8E80-D01D-BEDE-19F8887E2911}"/>
              </a:ext>
            </a:extLst>
          </p:cNvPr>
          <p:cNvSpPr/>
          <p:nvPr/>
        </p:nvSpPr>
        <p:spPr>
          <a:xfrm>
            <a:off x="441325" y="2708618"/>
            <a:ext cx="11306173"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b="1"/>
              <a:t>Plāns ir sagatavots, balstoties uz katastrofu pārvaldīšanas subjektu sniegto informāciju:</a:t>
            </a:r>
          </a:p>
        </p:txBody>
      </p:sp>
      <p:grpSp>
        <p:nvGrpSpPr>
          <p:cNvPr id="23" name="Group 22">
            <a:extLst>
              <a:ext uri="{FF2B5EF4-FFF2-40B4-BE49-F238E27FC236}">
                <a16:creationId xmlns:a16="http://schemas.microsoft.com/office/drawing/2014/main" id="{68520FC6-D606-F175-DA70-E7C09AFC2D50}"/>
              </a:ext>
            </a:extLst>
          </p:cNvPr>
          <p:cNvGrpSpPr/>
          <p:nvPr/>
        </p:nvGrpSpPr>
        <p:grpSpPr>
          <a:xfrm>
            <a:off x="11101088" y="2708618"/>
            <a:ext cx="648000" cy="576000"/>
            <a:chOff x="7213300" y="2708618"/>
            <a:chExt cx="648000" cy="576000"/>
          </a:xfrm>
        </p:grpSpPr>
        <p:sp>
          <p:nvSpPr>
            <p:cNvPr id="24" name="Rectangle 23">
              <a:extLst>
                <a:ext uri="{FF2B5EF4-FFF2-40B4-BE49-F238E27FC236}">
                  <a16:creationId xmlns:a16="http://schemas.microsoft.com/office/drawing/2014/main" id="{86F59625-3BF8-B7EE-9793-830DAD013E32}"/>
                </a:ext>
              </a:extLst>
            </p:cNvPr>
            <p:cNvSpPr/>
            <p:nvPr/>
          </p:nvSpPr>
          <p:spPr>
            <a:xfrm>
              <a:off x="7285300" y="2708618"/>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5" name="Rectangle 24">
              <a:extLst>
                <a:ext uri="{FF2B5EF4-FFF2-40B4-BE49-F238E27FC236}">
                  <a16:creationId xmlns:a16="http://schemas.microsoft.com/office/drawing/2014/main" id="{1E93478A-CF62-FA87-9167-98A90AB5135B}"/>
                </a:ext>
              </a:extLst>
            </p:cNvPr>
            <p:cNvSpPr/>
            <p:nvPr/>
          </p:nvSpPr>
          <p:spPr>
            <a:xfrm>
              <a:off x="7213300" y="2708618"/>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26" name="Group 25">
            <a:extLst>
              <a:ext uri="{FF2B5EF4-FFF2-40B4-BE49-F238E27FC236}">
                <a16:creationId xmlns:a16="http://schemas.microsoft.com/office/drawing/2014/main" id="{9C58D15B-08D1-DC21-5F64-F62BC180C676}"/>
              </a:ext>
            </a:extLst>
          </p:cNvPr>
          <p:cNvGrpSpPr/>
          <p:nvPr/>
        </p:nvGrpSpPr>
        <p:grpSpPr>
          <a:xfrm>
            <a:off x="441326" y="3433426"/>
            <a:ext cx="576000" cy="573088"/>
            <a:chOff x="441326" y="3433426"/>
            <a:chExt cx="576000" cy="573088"/>
          </a:xfrm>
        </p:grpSpPr>
        <p:sp>
          <p:nvSpPr>
            <p:cNvPr id="27" name="Rectangle 26">
              <a:extLst>
                <a:ext uri="{FF2B5EF4-FFF2-40B4-BE49-F238E27FC236}">
                  <a16:creationId xmlns:a16="http://schemas.microsoft.com/office/drawing/2014/main" id="{DDB3ABB1-2E94-D1CB-FB2D-023E27EA9F8B}"/>
                </a:ext>
              </a:extLst>
            </p:cNvPr>
            <p:cNvSpPr/>
            <p:nvPr/>
          </p:nvSpPr>
          <p:spPr>
            <a:xfrm>
              <a:off x="441326" y="3433426"/>
              <a:ext cx="576000" cy="5730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8" name="L-Shape 27">
              <a:extLst>
                <a:ext uri="{FF2B5EF4-FFF2-40B4-BE49-F238E27FC236}">
                  <a16:creationId xmlns:a16="http://schemas.microsoft.com/office/drawing/2014/main" id="{1B685E7E-8B75-AE51-F3BE-D543882F14B6}"/>
                </a:ext>
              </a:extLst>
            </p:cNvPr>
            <p:cNvSpPr/>
            <p:nvPr/>
          </p:nvSpPr>
          <p:spPr>
            <a:xfrm rot="13500000">
              <a:off x="580626" y="3599425"/>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29" name="Group 28">
            <a:extLst>
              <a:ext uri="{FF2B5EF4-FFF2-40B4-BE49-F238E27FC236}">
                <a16:creationId xmlns:a16="http://schemas.microsoft.com/office/drawing/2014/main" id="{B5B236A9-CD02-B174-C6CA-8974515D40BE}"/>
              </a:ext>
            </a:extLst>
          </p:cNvPr>
          <p:cNvGrpSpPr/>
          <p:nvPr/>
        </p:nvGrpSpPr>
        <p:grpSpPr>
          <a:xfrm>
            <a:off x="441326" y="4155321"/>
            <a:ext cx="576000" cy="573088"/>
            <a:chOff x="441326" y="3433426"/>
            <a:chExt cx="576000" cy="573088"/>
          </a:xfrm>
        </p:grpSpPr>
        <p:sp>
          <p:nvSpPr>
            <p:cNvPr id="30" name="Rectangle 29">
              <a:extLst>
                <a:ext uri="{FF2B5EF4-FFF2-40B4-BE49-F238E27FC236}">
                  <a16:creationId xmlns:a16="http://schemas.microsoft.com/office/drawing/2014/main" id="{1816385D-481C-7F7E-C166-F8400D7CD1CE}"/>
                </a:ext>
              </a:extLst>
            </p:cNvPr>
            <p:cNvSpPr/>
            <p:nvPr/>
          </p:nvSpPr>
          <p:spPr>
            <a:xfrm>
              <a:off x="441326" y="3433426"/>
              <a:ext cx="576000" cy="5730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1" name="L-Shape 30">
              <a:extLst>
                <a:ext uri="{FF2B5EF4-FFF2-40B4-BE49-F238E27FC236}">
                  <a16:creationId xmlns:a16="http://schemas.microsoft.com/office/drawing/2014/main" id="{F2DAA6FA-4469-1ED4-845A-B9F212111180}"/>
                </a:ext>
              </a:extLst>
            </p:cNvPr>
            <p:cNvSpPr/>
            <p:nvPr/>
          </p:nvSpPr>
          <p:spPr>
            <a:xfrm rot="13500000">
              <a:off x="580626" y="3599425"/>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32" name="Group 31">
            <a:extLst>
              <a:ext uri="{FF2B5EF4-FFF2-40B4-BE49-F238E27FC236}">
                <a16:creationId xmlns:a16="http://schemas.microsoft.com/office/drawing/2014/main" id="{00462BD0-6792-B83C-2297-3D3132F12F51}"/>
              </a:ext>
            </a:extLst>
          </p:cNvPr>
          <p:cNvGrpSpPr/>
          <p:nvPr/>
        </p:nvGrpSpPr>
        <p:grpSpPr>
          <a:xfrm>
            <a:off x="441326" y="4877216"/>
            <a:ext cx="576000" cy="573088"/>
            <a:chOff x="441326" y="3433426"/>
            <a:chExt cx="576000" cy="573088"/>
          </a:xfrm>
        </p:grpSpPr>
        <p:sp>
          <p:nvSpPr>
            <p:cNvPr id="33" name="Rectangle 32">
              <a:extLst>
                <a:ext uri="{FF2B5EF4-FFF2-40B4-BE49-F238E27FC236}">
                  <a16:creationId xmlns:a16="http://schemas.microsoft.com/office/drawing/2014/main" id="{80E0793D-0701-AD28-8946-C800B3F034CA}"/>
                </a:ext>
              </a:extLst>
            </p:cNvPr>
            <p:cNvSpPr/>
            <p:nvPr/>
          </p:nvSpPr>
          <p:spPr>
            <a:xfrm>
              <a:off x="441326" y="3433426"/>
              <a:ext cx="576000" cy="5730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4" name="L-Shape 33">
              <a:extLst>
                <a:ext uri="{FF2B5EF4-FFF2-40B4-BE49-F238E27FC236}">
                  <a16:creationId xmlns:a16="http://schemas.microsoft.com/office/drawing/2014/main" id="{6E54791E-9EB4-1012-2407-02BDD9E66845}"/>
                </a:ext>
              </a:extLst>
            </p:cNvPr>
            <p:cNvSpPr/>
            <p:nvPr/>
          </p:nvSpPr>
          <p:spPr>
            <a:xfrm rot="13500000">
              <a:off x="580626" y="3599425"/>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35" name="Group 34">
            <a:extLst>
              <a:ext uri="{FF2B5EF4-FFF2-40B4-BE49-F238E27FC236}">
                <a16:creationId xmlns:a16="http://schemas.microsoft.com/office/drawing/2014/main" id="{D2B85799-44CB-603B-39D5-8A1FDB8EBECF}"/>
              </a:ext>
            </a:extLst>
          </p:cNvPr>
          <p:cNvGrpSpPr/>
          <p:nvPr/>
        </p:nvGrpSpPr>
        <p:grpSpPr>
          <a:xfrm>
            <a:off x="441326" y="5599112"/>
            <a:ext cx="576000" cy="573088"/>
            <a:chOff x="441326" y="3433426"/>
            <a:chExt cx="576000" cy="573088"/>
          </a:xfrm>
        </p:grpSpPr>
        <p:sp>
          <p:nvSpPr>
            <p:cNvPr id="36" name="Rectangle 35">
              <a:extLst>
                <a:ext uri="{FF2B5EF4-FFF2-40B4-BE49-F238E27FC236}">
                  <a16:creationId xmlns:a16="http://schemas.microsoft.com/office/drawing/2014/main" id="{5D7211B2-9653-48AA-6E9F-44A178D5B109}"/>
                </a:ext>
              </a:extLst>
            </p:cNvPr>
            <p:cNvSpPr/>
            <p:nvPr/>
          </p:nvSpPr>
          <p:spPr>
            <a:xfrm>
              <a:off x="441326" y="3433426"/>
              <a:ext cx="576000" cy="5730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7" name="L-Shape 36">
              <a:extLst>
                <a:ext uri="{FF2B5EF4-FFF2-40B4-BE49-F238E27FC236}">
                  <a16:creationId xmlns:a16="http://schemas.microsoft.com/office/drawing/2014/main" id="{9FE3C742-AA47-F772-7C71-AA1A321C2576}"/>
                </a:ext>
              </a:extLst>
            </p:cNvPr>
            <p:cNvSpPr/>
            <p:nvPr/>
          </p:nvSpPr>
          <p:spPr>
            <a:xfrm rot="13500000">
              <a:off x="580626" y="3599425"/>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56" name="Google Shape;1978;p97">
            <a:extLst>
              <a:ext uri="{FF2B5EF4-FFF2-40B4-BE49-F238E27FC236}">
                <a16:creationId xmlns:a16="http://schemas.microsoft.com/office/drawing/2014/main" id="{D2A3C828-A957-C1DF-C0A7-5970664BD1D2}"/>
              </a:ext>
            </a:extLst>
          </p:cNvPr>
          <p:cNvSpPr/>
          <p:nvPr/>
        </p:nvSpPr>
        <p:spPr>
          <a:xfrm>
            <a:off x="11279499" y="1927275"/>
            <a:ext cx="360000" cy="360000"/>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nvGrpSpPr>
          <p:cNvPr id="57" name="Google Shape;545;p75">
            <a:extLst>
              <a:ext uri="{FF2B5EF4-FFF2-40B4-BE49-F238E27FC236}">
                <a16:creationId xmlns:a16="http://schemas.microsoft.com/office/drawing/2014/main" id="{62BFAE41-2D52-63F8-6A93-5EA574F96457}"/>
              </a:ext>
            </a:extLst>
          </p:cNvPr>
          <p:cNvGrpSpPr/>
          <p:nvPr/>
        </p:nvGrpSpPr>
        <p:grpSpPr>
          <a:xfrm>
            <a:off x="11279499" y="2816618"/>
            <a:ext cx="360000" cy="360000"/>
            <a:chOff x="4322721" y="2242308"/>
            <a:chExt cx="456085" cy="455929"/>
          </a:xfrm>
          <a:solidFill>
            <a:schemeClr val="bg1"/>
          </a:solidFill>
        </p:grpSpPr>
        <p:sp>
          <p:nvSpPr>
            <p:cNvPr id="58" name="Google Shape;546;p75">
              <a:extLst>
                <a:ext uri="{FF2B5EF4-FFF2-40B4-BE49-F238E27FC236}">
                  <a16:creationId xmlns:a16="http://schemas.microsoft.com/office/drawing/2014/main" id="{688FEA57-F443-68B4-BF49-D8F9292C33F1}"/>
                </a:ext>
              </a:extLst>
            </p:cNvPr>
            <p:cNvSpPr/>
            <p:nvPr/>
          </p:nvSpPr>
          <p:spPr>
            <a:xfrm>
              <a:off x="4575817" y="2290086"/>
              <a:ext cx="165363" cy="107618"/>
            </a:xfrm>
            <a:custGeom>
              <a:avLst/>
              <a:gdLst/>
              <a:ahLst/>
              <a:cxnLst/>
              <a:rect l="l" t="t" r="r" b="b"/>
              <a:pathLst>
                <a:path w="165363" h="107618" extrusionOk="0">
                  <a:moveTo>
                    <a:pt x="148798" y="89001"/>
                  </a:moveTo>
                  <a:lnTo>
                    <a:pt x="148798" y="27736"/>
                  </a:lnTo>
                  <a:lnTo>
                    <a:pt x="92833" y="27736"/>
                  </a:lnTo>
                  <a:lnTo>
                    <a:pt x="92833" y="89001"/>
                  </a:lnTo>
                  <a:lnTo>
                    <a:pt x="72847" y="89001"/>
                  </a:lnTo>
                  <a:lnTo>
                    <a:pt x="72847" y="0"/>
                  </a:lnTo>
                  <a:lnTo>
                    <a:pt x="15488" y="0"/>
                  </a:lnTo>
                  <a:lnTo>
                    <a:pt x="15488" y="89001"/>
                  </a:lnTo>
                  <a:lnTo>
                    <a:pt x="0" y="89001"/>
                  </a:lnTo>
                  <a:lnTo>
                    <a:pt x="0" y="107619"/>
                  </a:lnTo>
                  <a:lnTo>
                    <a:pt x="165363" y="107619"/>
                  </a:lnTo>
                  <a:lnTo>
                    <a:pt x="165363" y="89001"/>
                  </a:lnTo>
                  <a:close/>
                  <a:moveTo>
                    <a:pt x="54097" y="89001"/>
                  </a:moveTo>
                  <a:lnTo>
                    <a:pt x="35442" y="89001"/>
                  </a:lnTo>
                  <a:lnTo>
                    <a:pt x="35442" y="18617"/>
                  </a:lnTo>
                  <a:lnTo>
                    <a:pt x="54097" y="18617"/>
                  </a:lnTo>
                  <a:close/>
                  <a:moveTo>
                    <a:pt x="130111" y="89001"/>
                  </a:moveTo>
                  <a:lnTo>
                    <a:pt x="111456" y="89001"/>
                  </a:lnTo>
                  <a:lnTo>
                    <a:pt x="111456" y="47683"/>
                  </a:lnTo>
                  <a:lnTo>
                    <a:pt x="130111" y="47683"/>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9" name="Google Shape;547;p75">
              <a:extLst>
                <a:ext uri="{FF2B5EF4-FFF2-40B4-BE49-F238E27FC236}">
                  <a16:creationId xmlns:a16="http://schemas.microsoft.com/office/drawing/2014/main" id="{C94D2851-A09C-5CD8-3038-C27E54895B2D}"/>
                </a:ext>
              </a:extLst>
            </p:cNvPr>
            <p:cNvSpPr/>
            <p:nvPr/>
          </p:nvSpPr>
          <p:spPr>
            <a:xfrm>
              <a:off x="4680274" y="2535496"/>
              <a:ext cx="57327" cy="54141"/>
            </a:xfrm>
            <a:custGeom>
              <a:avLst/>
              <a:gdLst/>
              <a:ahLst/>
              <a:cxnLst/>
              <a:rect l="l" t="t" r="r" b="b"/>
              <a:pathLst>
                <a:path w="57327" h="54141" extrusionOk="0">
                  <a:moveTo>
                    <a:pt x="0" y="54142"/>
                  </a:moveTo>
                  <a:lnTo>
                    <a:pt x="57327" y="54142"/>
                  </a:lnTo>
                  <a:lnTo>
                    <a:pt x="57327" y="0"/>
                  </a:lnTo>
                  <a:lnTo>
                    <a:pt x="0" y="0"/>
                  </a:lnTo>
                  <a:close/>
                  <a:moveTo>
                    <a:pt x="19415" y="19314"/>
                  </a:moveTo>
                  <a:lnTo>
                    <a:pt x="37912" y="19314"/>
                  </a:lnTo>
                  <a:lnTo>
                    <a:pt x="37912" y="34638"/>
                  </a:lnTo>
                  <a:lnTo>
                    <a:pt x="19415" y="34638"/>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60" name="Google Shape;548;p75">
              <a:extLst>
                <a:ext uri="{FF2B5EF4-FFF2-40B4-BE49-F238E27FC236}">
                  <a16:creationId xmlns:a16="http://schemas.microsoft.com/office/drawing/2014/main" id="{AFB2AA07-4042-DCB7-D2DA-8DD7800F926F}"/>
                </a:ext>
              </a:extLst>
            </p:cNvPr>
            <p:cNvSpPr/>
            <p:nvPr/>
          </p:nvSpPr>
          <p:spPr>
            <a:xfrm>
              <a:off x="4597576" y="2608255"/>
              <a:ext cx="57327" cy="54173"/>
            </a:xfrm>
            <a:custGeom>
              <a:avLst/>
              <a:gdLst/>
              <a:ahLst/>
              <a:cxnLst/>
              <a:rect l="l" t="t" r="r" b="b"/>
              <a:pathLst>
                <a:path w="57327" h="54173" extrusionOk="0">
                  <a:moveTo>
                    <a:pt x="0" y="54173"/>
                  </a:moveTo>
                  <a:lnTo>
                    <a:pt x="57327" y="54173"/>
                  </a:lnTo>
                  <a:lnTo>
                    <a:pt x="57327" y="0"/>
                  </a:lnTo>
                  <a:lnTo>
                    <a:pt x="0" y="0"/>
                  </a:lnTo>
                  <a:close/>
                  <a:moveTo>
                    <a:pt x="19415" y="19345"/>
                  </a:moveTo>
                  <a:lnTo>
                    <a:pt x="37912" y="19345"/>
                  </a:lnTo>
                  <a:lnTo>
                    <a:pt x="37912" y="34701"/>
                  </a:lnTo>
                  <a:lnTo>
                    <a:pt x="19415" y="34701"/>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61" name="Google Shape;549;p75">
              <a:extLst>
                <a:ext uri="{FF2B5EF4-FFF2-40B4-BE49-F238E27FC236}">
                  <a16:creationId xmlns:a16="http://schemas.microsoft.com/office/drawing/2014/main" id="{1145924E-87AB-7E89-B7AA-1947B23D61F4}"/>
                </a:ext>
              </a:extLst>
            </p:cNvPr>
            <p:cNvSpPr/>
            <p:nvPr/>
          </p:nvSpPr>
          <p:spPr>
            <a:xfrm>
              <a:off x="4680274" y="2608255"/>
              <a:ext cx="57327" cy="54173"/>
            </a:xfrm>
            <a:custGeom>
              <a:avLst/>
              <a:gdLst/>
              <a:ahLst/>
              <a:cxnLst/>
              <a:rect l="l" t="t" r="r" b="b"/>
              <a:pathLst>
                <a:path w="57327" h="54173" extrusionOk="0">
                  <a:moveTo>
                    <a:pt x="0" y="54173"/>
                  </a:moveTo>
                  <a:lnTo>
                    <a:pt x="57327" y="54173"/>
                  </a:lnTo>
                  <a:lnTo>
                    <a:pt x="57327" y="0"/>
                  </a:lnTo>
                  <a:lnTo>
                    <a:pt x="0" y="0"/>
                  </a:lnTo>
                  <a:close/>
                  <a:moveTo>
                    <a:pt x="19415" y="19345"/>
                  </a:moveTo>
                  <a:lnTo>
                    <a:pt x="37912" y="19345"/>
                  </a:lnTo>
                  <a:lnTo>
                    <a:pt x="37912" y="34701"/>
                  </a:lnTo>
                  <a:lnTo>
                    <a:pt x="19415" y="34701"/>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62" name="Google Shape;550;p75">
              <a:extLst>
                <a:ext uri="{FF2B5EF4-FFF2-40B4-BE49-F238E27FC236}">
                  <a16:creationId xmlns:a16="http://schemas.microsoft.com/office/drawing/2014/main" id="{CAA051BA-F460-9E2D-0B9F-D7EDFD62A8A2}"/>
                </a:ext>
              </a:extLst>
            </p:cNvPr>
            <p:cNvSpPr/>
            <p:nvPr/>
          </p:nvSpPr>
          <p:spPr>
            <a:xfrm>
              <a:off x="4322721" y="2242308"/>
              <a:ext cx="456085" cy="455929"/>
            </a:xfrm>
            <a:custGeom>
              <a:avLst/>
              <a:gdLst/>
              <a:ahLst/>
              <a:cxnLst/>
              <a:rect l="l" t="t" r="r" b="b"/>
              <a:pathLst>
                <a:path w="456085" h="455929" extrusionOk="0">
                  <a:moveTo>
                    <a:pt x="0" y="0"/>
                  </a:moveTo>
                  <a:lnTo>
                    <a:pt x="0" y="455930"/>
                  </a:lnTo>
                  <a:lnTo>
                    <a:pt x="456086" y="455930"/>
                  </a:lnTo>
                  <a:lnTo>
                    <a:pt x="456086" y="0"/>
                  </a:lnTo>
                  <a:close/>
                  <a:moveTo>
                    <a:pt x="254078" y="436458"/>
                  </a:moveTo>
                  <a:lnTo>
                    <a:pt x="253856" y="202382"/>
                  </a:lnTo>
                  <a:lnTo>
                    <a:pt x="436670" y="202382"/>
                  </a:lnTo>
                  <a:lnTo>
                    <a:pt x="436892" y="436458"/>
                  </a:lnTo>
                  <a:close/>
                  <a:moveTo>
                    <a:pt x="234409" y="182910"/>
                  </a:moveTo>
                  <a:lnTo>
                    <a:pt x="234409" y="436458"/>
                  </a:lnTo>
                  <a:lnTo>
                    <a:pt x="19479" y="436458"/>
                  </a:lnTo>
                  <a:lnTo>
                    <a:pt x="19479" y="19440"/>
                  </a:lnTo>
                  <a:lnTo>
                    <a:pt x="436670" y="19440"/>
                  </a:lnTo>
                  <a:lnTo>
                    <a:pt x="436670" y="182910"/>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63" name="Google Shape;551;p75">
              <a:extLst>
                <a:ext uri="{FF2B5EF4-FFF2-40B4-BE49-F238E27FC236}">
                  <a16:creationId xmlns:a16="http://schemas.microsoft.com/office/drawing/2014/main" id="{E4F4160E-E65F-AF21-F58A-34DF79FD79A0}"/>
                </a:ext>
              </a:extLst>
            </p:cNvPr>
            <p:cNvSpPr/>
            <p:nvPr/>
          </p:nvSpPr>
          <p:spPr>
            <a:xfrm>
              <a:off x="4597576" y="2535496"/>
              <a:ext cx="57327" cy="54141"/>
            </a:xfrm>
            <a:custGeom>
              <a:avLst/>
              <a:gdLst/>
              <a:ahLst/>
              <a:cxnLst/>
              <a:rect l="l" t="t" r="r" b="b"/>
              <a:pathLst>
                <a:path w="57327" h="54141" extrusionOk="0">
                  <a:moveTo>
                    <a:pt x="0" y="54142"/>
                  </a:moveTo>
                  <a:lnTo>
                    <a:pt x="57327" y="54142"/>
                  </a:lnTo>
                  <a:lnTo>
                    <a:pt x="57327" y="0"/>
                  </a:lnTo>
                  <a:lnTo>
                    <a:pt x="0" y="0"/>
                  </a:lnTo>
                  <a:close/>
                  <a:moveTo>
                    <a:pt x="19415" y="19314"/>
                  </a:moveTo>
                  <a:lnTo>
                    <a:pt x="37912" y="19314"/>
                  </a:lnTo>
                  <a:lnTo>
                    <a:pt x="37912" y="34638"/>
                  </a:lnTo>
                  <a:lnTo>
                    <a:pt x="19415" y="34638"/>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4032" name="Google Shape;552;p75">
              <a:extLst>
                <a:ext uri="{FF2B5EF4-FFF2-40B4-BE49-F238E27FC236}">
                  <a16:creationId xmlns:a16="http://schemas.microsoft.com/office/drawing/2014/main" id="{5D27369E-7B8B-E322-F025-CD6285829502}"/>
                </a:ext>
              </a:extLst>
            </p:cNvPr>
            <p:cNvSpPr/>
            <p:nvPr/>
          </p:nvSpPr>
          <p:spPr>
            <a:xfrm>
              <a:off x="4377642" y="2623390"/>
              <a:ext cx="19066" cy="18458"/>
            </a:xfrm>
            <a:custGeom>
              <a:avLst/>
              <a:gdLst/>
              <a:ahLst/>
              <a:cxnLst/>
              <a:rect l="l" t="t" r="r" b="b"/>
              <a:pathLst>
                <a:path w="19066" h="18458" extrusionOk="0">
                  <a:moveTo>
                    <a:pt x="0" y="0"/>
                  </a:moveTo>
                  <a:lnTo>
                    <a:pt x="19067" y="0"/>
                  </a:lnTo>
                  <a:lnTo>
                    <a:pt x="19067" y="18459"/>
                  </a:lnTo>
                  <a:lnTo>
                    <a:pt x="0" y="1845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4033" name="Google Shape;553;p75">
              <a:extLst>
                <a:ext uri="{FF2B5EF4-FFF2-40B4-BE49-F238E27FC236}">
                  <a16:creationId xmlns:a16="http://schemas.microsoft.com/office/drawing/2014/main" id="{7831F519-11E1-3A82-DCA0-DE9E67E141E1}"/>
                </a:ext>
              </a:extLst>
            </p:cNvPr>
            <p:cNvSpPr/>
            <p:nvPr/>
          </p:nvSpPr>
          <p:spPr>
            <a:xfrm>
              <a:off x="4420843" y="2493893"/>
              <a:ext cx="108130" cy="18458"/>
            </a:xfrm>
            <a:custGeom>
              <a:avLst/>
              <a:gdLst/>
              <a:ahLst/>
              <a:cxnLst/>
              <a:rect l="l" t="t" r="r" b="b"/>
              <a:pathLst>
                <a:path w="108130" h="18458" extrusionOk="0">
                  <a:moveTo>
                    <a:pt x="0" y="0"/>
                  </a:moveTo>
                  <a:lnTo>
                    <a:pt x="108130" y="0"/>
                  </a:lnTo>
                  <a:lnTo>
                    <a:pt x="108130" y="18459"/>
                  </a:lnTo>
                  <a:lnTo>
                    <a:pt x="0" y="1845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4034" name="Google Shape;554;p75">
              <a:extLst>
                <a:ext uri="{FF2B5EF4-FFF2-40B4-BE49-F238E27FC236}">
                  <a16:creationId xmlns:a16="http://schemas.microsoft.com/office/drawing/2014/main" id="{DE4E7A8E-BC37-2519-C6CC-AD5A8A3E9954}"/>
                </a:ext>
              </a:extLst>
            </p:cNvPr>
            <p:cNvSpPr/>
            <p:nvPr/>
          </p:nvSpPr>
          <p:spPr>
            <a:xfrm>
              <a:off x="4420843" y="2580234"/>
              <a:ext cx="108130" cy="18458"/>
            </a:xfrm>
            <a:custGeom>
              <a:avLst/>
              <a:gdLst/>
              <a:ahLst/>
              <a:cxnLst/>
              <a:rect l="l" t="t" r="r" b="b"/>
              <a:pathLst>
                <a:path w="108130" h="18458" extrusionOk="0">
                  <a:moveTo>
                    <a:pt x="0" y="0"/>
                  </a:moveTo>
                  <a:lnTo>
                    <a:pt x="108130" y="0"/>
                  </a:lnTo>
                  <a:lnTo>
                    <a:pt x="108130" y="18459"/>
                  </a:lnTo>
                  <a:lnTo>
                    <a:pt x="0" y="1845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4036" name="Google Shape;555;p75">
              <a:extLst>
                <a:ext uri="{FF2B5EF4-FFF2-40B4-BE49-F238E27FC236}">
                  <a16:creationId xmlns:a16="http://schemas.microsoft.com/office/drawing/2014/main" id="{831F45F6-979E-2697-27C6-4816ACEA2DAF}"/>
                </a:ext>
              </a:extLst>
            </p:cNvPr>
            <p:cNvSpPr/>
            <p:nvPr/>
          </p:nvSpPr>
          <p:spPr>
            <a:xfrm>
              <a:off x="4420843" y="2537079"/>
              <a:ext cx="108130" cy="18458"/>
            </a:xfrm>
            <a:custGeom>
              <a:avLst/>
              <a:gdLst/>
              <a:ahLst/>
              <a:cxnLst/>
              <a:rect l="l" t="t" r="r" b="b"/>
              <a:pathLst>
                <a:path w="108130" h="18458" extrusionOk="0">
                  <a:moveTo>
                    <a:pt x="0" y="0"/>
                  </a:moveTo>
                  <a:lnTo>
                    <a:pt x="108130" y="0"/>
                  </a:lnTo>
                  <a:lnTo>
                    <a:pt x="108130" y="18459"/>
                  </a:lnTo>
                  <a:lnTo>
                    <a:pt x="0" y="1845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4037" name="Google Shape;556;p75">
              <a:extLst>
                <a:ext uri="{FF2B5EF4-FFF2-40B4-BE49-F238E27FC236}">
                  <a16:creationId xmlns:a16="http://schemas.microsoft.com/office/drawing/2014/main" id="{5AFFDDCC-CB82-AAB8-D4D6-4B43F1C7DE86}"/>
                </a:ext>
              </a:extLst>
            </p:cNvPr>
            <p:cNvSpPr/>
            <p:nvPr/>
          </p:nvSpPr>
          <p:spPr>
            <a:xfrm>
              <a:off x="4367095" y="2290941"/>
              <a:ext cx="168941" cy="168884"/>
            </a:xfrm>
            <a:custGeom>
              <a:avLst/>
              <a:gdLst/>
              <a:ahLst/>
              <a:cxnLst/>
              <a:rect l="l" t="t" r="r" b="b"/>
              <a:pathLst>
                <a:path w="168941" h="168884" extrusionOk="0">
                  <a:moveTo>
                    <a:pt x="84439" y="0"/>
                  </a:moveTo>
                  <a:cubicBezTo>
                    <a:pt x="37785" y="19"/>
                    <a:pt x="-32" y="37839"/>
                    <a:pt x="0" y="84474"/>
                  </a:cubicBezTo>
                  <a:cubicBezTo>
                    <a:pt x="32" y="131108"/>
                    <a:pt x="37849" y="168903"/>
                    <a:pt x="84502" y="168884"/>
                  </a:cubicBezTo>
                  <a:cubicBezTo>
                    <a:pt x="131156" y="168865"/>
                    <a:pt x="168942" y="131067"/>
                    <a:pt x="168942" y="84442"/>
                  </a:cubicBezTo>
                  <a:cubicBezTo>
                    <a:pt x="168878" y="37817"/>
                    <a:pt x="131093" y="35"/>
                    <a:pt x="84439" y="0"/>
                  </a:cubicBezTo>
                  <a:close/>
                  <a:moveTo>
                    <a:pt x="75223" y="18997"/>
                  </a:moveTo>
                  <a:lnTo>
                    <a:pt x="75223" y="64527"/>
                  </a:lnTo>
                  <a:lnTo>
                    <a:pt x="38672" y="36854"/>
                  </a:lnTo>
                  <a:cubicBezTo>
                    <a:pt x="48617" y="27175"/>
                    <a:pt x="61445" y="20995"/>
                    <a:pt x="75223" y="19250"/>
                  </a:cubicBezTo>
                  <a:close/>
                  <a:moveTo>
                    <a:pt x="24546" y="56421"/>
                  </a:moveTo>
                  <a:cubicBezTo>
                    <a:pt x="25402" y="54585"/>
                    <a:pt x="26288" y="52875"/>
                    <a:pt x="27238" y="51229"/>
                  </a:cubicBezTo>
                  <a:lnTo>
                    <a:pt x="73259" y="86310"/>
                  </a:lnTo>
                  <a:lnTo>
                    <a:pt x="48427" y="139597"/>
                  </a:lnTo>
                  <a:cubicBezTo>
                    <a:pt x="20999" y="121629"/>
                    <a:pt x="10895" y="86307"/>
                    <a:pt x="24610" y="56548"/>
                  </a:cubicBezTo>
                  <a:close/>
                  <a:moveTo>
                    <a:pt x="84376" y="150330"/>
                  </a:moveTo>
                  <a:cubicBezTo>
                    <a:pt x="77851" y="150435"/>
                    <a:pt x="71327" y="149494"/>
                    <a:pt x="65087" y="147544"/>
                  </a:cubicBezTo>
                  <a:lnTo>
                    <a:pt x="93592" y="86437"/>
                  </a:lnTo>
                  <a:lnTo>
                    <a:pt x="93592" y="19250"/>
                  </a:lnTo>
                  <a:cubicBezTo>
                    <a:pt x="129699" y="24411"/>
                    <a:pt x="154784" y="57852"/>
                    <a:pt x="149621" y="93947"/>
                  </a:cubicBezTo>
                  <a:cubicBezTo>
                    <a:pt x="144966" y="126426"/>
                    <a:pt x="117157" y="150564"/>
                    <a:pt x="84344" y="150615"/>
                  </a:cubicBez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4038" name="Google Shape;557;p75">
              <a:extLst>
                <a:ext uri="{FF2B5EF4-FFF2-40B4-BE49-F238E27FC236}">
                  <a16:creationId xmlns:a16="http://schemas.microsoft.com/office/drawing/2014/main" id="{0A193FAF-1117-810F-2825-BAAFBA5110F8}"/>
                </a:ext>
              </a:extLst>
            </p:cNvPr>
            <p:cNvSpPr/>
            <p:nvPr/>
          </p:nvSpPr>
          <p:spPr>
            <a:xfrm>
              <a:off x="4377642" y="2537079"/>
              <a:ext cx="19066" cy="18458"/>
            </a:xfrm>
            <a:custGeom>
              <a:avLst/>
              <a:gdLst/>
              <a:ahLst/>
              <a:cxnLst/>
              <a:rect l="l" t="t" r="r" b="b"/>
              <a:pathLst>
                <a:path w="19066" h="18458" extrusionOk="0">
                  <a:moveTo>
                    <a:pt x="0" y="0"/>
                  </a:moveTo>
                  <a:lnTo>
                    <a:pt x="19067" y="0"/>
                  </a:lnTo>
                  <a:lnTo>
                    <a:pt x="19067" y="18459"/>
                  </a:lnTo>
                  <a:lnTo>
                    <a:pt x="0" y="1845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4039" name="Google Shape;558;p75">
              <a:extLst>
                <a:ext uri="{FF2B5EF4-FFF2-40B4-BE49-F238E27FC236}">
                  <a16:creationId xmlns:a16="http://schemas.microsoft.com/office/drawing/2014/main" id="{58667B94-1317-B278-334C-B891AA09D445}"/>
                </a:ext>
              </a:extLst>
            </p:cNvPr>
            <p:cNvSpPr/>
            <p:nvPr/>
          </p:nvSpPr>
          <p:spPr>
            <a:xfrm>
              <a:off x="4597576" y="2460331"/>
              <a:ext cx="140752" cy="56547"/>
            </a:xfrm>
            <a:custGeom>
              <a:avLst/>
              <a:gdLst/>
              <a:ahLst/>
              <a:cxnLst/>
              <a:rect l="l" t="t" r="r" b="b"/>
              <a:pathLst>
                <a:path w="140752" h="56547" extrusionOk="0">
                  <a:moveTo>
                    <a:pt x="0" y="56548"/>
                  </a:moveTo>
                  <a:lnTo>
                    <a:pt x="140753" y="56548"/>
                  </a:lnTo>
                  <a:lnTo>
                    <a:pt x="140753" y="0"/>
                  </a:lnTo>
                  <a:lnTo>
                    <a:pt x="31" y="0"/>
                  </a:lnTo>
                  <a:close/>
                  <a:moveTo>
                    <a:pt x="19415" y="19440"/>
                  </a:moveTo>
                  <a:lnTo>
                    <a:pt x="121306" y="19440"/>
                  </a:lnTo>
                  <a:lnTo>
                    <a:pt x="121306" y="37139"/>
                  </a:lnTo>
                  <a:lnTo>
                    <a:pt x="19415" y="3713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4040" name="Google Shape;559;p75">
              <a:extLst>
                <a:ext uri="{FF2B5EF4-FFF2-40B4-BE49-F238E27FC236}">
                  <a16:creationId xmlns:a16="http://schemas.microsoft.com/office/drawing/2014/main" id="{A25ECAB4-631C-360B-5E33-96D72043B297}"/>
                </a:ext>
              </a:extLst>
            </p:cNvPr>
            <p:cNvSpPr/>
            <p:nvPr/>
          </p:nvSpPr>
          <p:spPr>
            <a:xfrm>
              <a:off x="4420843" y="2623390"/>
              <a:ext cx="108130" cy="18458"/>
            </a:xfrm>
            <a:custGeom>
              <a:avLst/>
              <a:gdLst/>
              <a:ahLst/>
              <a:cxnLst/>
              <a:rect l="l" t="t" r="r" b="b"/>
              <a:pathLst>
                <a:path w="108130" h="18458" extrusionOk="0">
                  <a:moveTo>
                    <a:pt x="0" y="0"/>
                  </a:moveTo>
                  <a:lnTo>
                    <a:pt x="108130" y="0"/>
                  </a:lnTo>
                  <a:lnTo>
                    <a:pt x="108130" y="18459"/>
                  </a:lnTo>
                  <a:lnTo>
                    <a:pt x="0" y="1845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4041" name="Google Shape;560;p75">
              <a:extLst>
                <a:ext uri="{FF2B5EF4-FFF2-40B4-BE49-F238E27FC236}">
                  <a16:creationId xmlns:a16="http://schemas.microsoft.com/office/drawing/2014/main" id="{C9107E19-F955-4181-C2A9-11B28DAF6EB6}"/>
                </a:ext>
              </a:extLst>
            </p:cNvPr>
            <p:cNvSpPr/>
            <p:nvPr/>
          </p:nvSpPr>
          <p:spPr>
            <a:xfrm>
              <a:off x="4377642" y="2580234"/>
              <a:ext cx="19066" cy="18458"/>
            </a:xfrm>
            <a:custGeom>
              <a:avLst/>
              <a:gdLst/>
              <a:ahLst/>
              <a:cxnLst/>
              <a:rect l="l" t="t" r="r" b="b"/>
              <a:pathLst>
                <a:path w="19066" h="18458" extrusionOk="0">
                  <a:moveTo>
                    <a:pt x="0" y="0"/>
                  </a:moveTo>
                  <a:lnTo>
                    <a:pt x="19067" y="0"/>
                  </a:lnTo>
                  <a:lnTo>
                    <a:pt x="19067" y="18459"/>
                  </a:lnTo>
                  <a:lnTo>
                    <a:pt x="0" y="1845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4042" name="Google Shape;561;p75">
              <a:extLst>
                <a:ext uri="{FF2B5EF4-FFF2-40B4-BE49-F238E27FC236}">
                  <a16:creationId xmlns:a16="http://schemas.microsoft.com/office/drawing/2014/main" id="{353F73BC-DC27-2D6F-D8EC-626A95BDDA27}"/>
                </a:ext>
              </a:extLst>
            </p:cNvPr>
            <p:cNvSpPr/>
            <p:nvPr/>
          </p:nvSpPr>
          <p:spPr>
            <a:xfrm>
              <a:off x="4377642" y="2493893"/>
              <a:ext cx="19066" cy="18458"/>
            </a:xfrm>
            <a:custGeom>
              <a:avLst/>
              <a:gdLst/>
              <a:ahLst/>
              <a:cxnLst/>
              <a:rect l="l" t="t" r="r" b="b"/>
              <a:pathLst>
                <a:path w="19066" h="18458" extrusionOk="0">
                  <a:moveTo>
                    <a:pt x="0" y="0"/>
                  </a:moveTo>
                  <a:lnTo>
                    <a:pt x="19067" y="0"/>
                  </a:lnTo>
                  <a:lnTo>
                    <a:pt x="19067" y="18459"/>
                  </a:lnTo>
                  <a:lnTo>
                    <a:pt x="0" y="1845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sp>
        <p:nvSpPr>
          <p:cNvPr id="44043" name="Rectangle 44042">
            <a:extLst>
              <a:ext uri="{FF2B5EF4-FFF2-40B4-BE49-F238E27FC236}">
                <a16:creationId xmlns:a16="http://schemas.microsoft.com/office/drawing/2014/main" id="{A722B25B-EA9D-0189-AD99-865D04E54309}"/>
              </a:ext>
            </a:extLst>
          </p:cNvPr>
          <p:cNvSpPr/>
          <p:nvPr/>
        </p:nvSpPr>
        <p:spPr>
          <a:xfrm>
            <a:off x="8218488" y="5644953"/>
            <a:ext cx="3530600" cy="527244"/>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4044" name="Freeform 50">
            <a:extLst>
              <a:ext uri="{FF2B5EF4-FFF2-40B4-BE49-F238E27FC236}">
                <a16:creationId xmlns:a16="http://schemas.microsoft.com/office/drawing/2014/main" id="{029DBEBD-BC82-55DF-FB29-3B1AF459A727}"/>
              </a:ext>
            </a:extLst>
          </p:cNvPr>
          <p:cNvSpPr>
            <a:spLocks noChangeAspect="1"/>
          </p:cNvSpPr>
          <p:nvPr/>
        </p:nvSpPr>
        <p:spPr bwMode="auto">
          <a:xfrm>
            <a:off x="8349088" y="576696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4045" name="Google Shape;2685;p25">
            <a:extLst>
              <a:ext uri="{FF2B5EF4-FFF2-40B4-BE49-F238E27FC236}">
                <a16:creationId xmlns:a16="http://schemas.microsoft.com/office/drawing/2014/main" id="{68646772-BC1F-947C-C2AF-5525EBAD3B35}"/>
              </a:ext>
            </a:extLst>
          </p:cNvPr>
          <p:cNvSpPr txBox="1"/>
          <p:nvPr/>
        </p:nvSpPr>
        <p:spPr>
          <a:xfrm>
            <a:off x="8808721" y="5816242"/>
            <a:ext cx="2698540" cy="184666"/>
          </a:xfrm>
          <a:prstGeom prst="rect">
            <a:avLst/>
          </a:prstGeom>
          <a:noFill/>
          <a:ln>
            <a:noFill/>
          </a:ln>
        </p:spPr>
        <p:txBody>
          <a:bodyPr spcFirstLastPara="1" wrap="square" lIns="0" tIns="0" rIns="72000" bIns="0" anchor="ctr" anchorCtr="0">
            <a:spAutoFit/>
          </a:bodyPr>
          <a:lstStyle/>
          <a:p>
            <a:pPr>
              <a:lnSpc>
                <a:spcPct val="100000"/>
              </a:lnSpc>
              <a:buSzPct val="100000"/>
            </a:pPr>
            <a:r>
              <a:rPr lang="lv-LV" sz="1200" i="0">
                <a:effectLst/>
                <a:latin typeface="Arial" panose="020B0604020202020204" pitchFamily="34" charset="0"/>
                <a:hlinkClick r:id="rId4">
                  <a:extLst>
                    <a:ext uri="{A12FA001-AC4F-418D-AE19-62706E023703}">
                      <ahyp:hlinkClr xmlns:ahyp="http://schemas.microsoft.com/office/drawing/2018/hyperlinkcolor" val="tx"/>
                    </a:ext>
                  </a:extLst>
                </a:hlinkClick>
              </a:rPr>
              <a:t>Par valsts civilās aizsardzības plānu</a:t>
            </a:r>
            <a:endParaRPr lang="lv-LV" sz="1200"/>
          </a:p>
        </p:txBody>
      </p:sp>
      <p:sp>
        <p:nvSpPr>
          <p:cNvPr id="2" name="Rectangle 1">
            <a:extLst>
              <a:ext uri="{FF2B5EF4-FFF2-40B4-BE49-F238E27FC236}">
                <a16:creationId xmlns:a16="http://schemas.microsoft.com/office/drawing/2014/main" id="{189AAD48-35FC-8847-29DA-E65F60AECE6B}"/>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rgbClr val="A4A3B2"/>
                </a:solidFill>
                <a:effectLst/>
                <a:uLnTx/>
                <a:uFillTx/>
                <a:ea typeface="Georgia"/>
                <a:cs typeface="Georgia"/>
                <a:sym typeface="Georgia"/>
              </a:rPr>
              <a:t>2. CIVILĀS AIZSARDZĪBAS SISTĒMA UN NORMATĪVAIS UN POLITIKAS PLĀNOŠANAS IETVARS</a:t>
            </a:r>
          </a:p>
        </p:txBody>
      </p:sp>
      <p:grpSp>
        <p:nvGrpSpPr>
          <p:cNvPr id="3" name="Group 2">
            <a:extLst>
              <a:ext uri="{FF2B5EF4-FFF2-40B4-BE49-F238E27FC236}">
                <a16:creationId xmlns:a16="http://schemas.microsoft.com/office/drawing/2014/main" id="{DB2CD9FC-FA73-D3B1-C5A3-AF38C8F42AEE}"/>
              </a:ext>
            </a:extLst>
          </p:cNvPr>
          <p:cNvGrpSpPr/>
          <p:nvPr/>
        </p:nvGrpSpPr>
        <p:grpSpPr>
          <a:xfrm>
            <a:off x="6399569" y="132067"/>
            <a:ext cx="5349135" cy="224022"/>
            <a:chOff x="6167418" y="132067"/>
            <a:chExt cx="5349135" cy="224022"/>
          </a:xfrm>
        </p:grpSpPr>
        <p:sp>
          <p:nvSpPr>
            <p:cNvPr id="13" name="Rectangle 12">
              <a:extLst>
                <a:ext uri="{FF2B5EF4-FFF2-40B4-BE49-F238E27FC236}">
                  <a16:creationId xmlns:a16="http://schemas.microsoft.com/office/drawing/2014/main" id="{9F4EB62A-491F-C087-B4BC-9A0434BA4222}"/>
                </a:ext>
              </a:extLst>
            </p:cNvPr>
            <p:cNvSpPr/>
            <p:nvPr/>
          </p:nvSpPr>
          <p:spPr>
            <a:xfrm>
              <a:off x="6167418" y="13860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4" name="Rectangle 13">
              <a:extLst>
                <a:ext uri="{FF2B5EF4-FFF2-40B4-BE49-F238E27FC236}">
                  <a16:creationId xmlns:a16="http://schemas.microsoft.com/office/drawing/2014/main" id="{741E16A7-F2E6-0CAF-0DB0-29AF09EC9A42}"/>
                </a:ext>
              </a:extLst>
            </p:cNvPr>
            <p:cNvSpPr/>
            <p:nvPr/>
          </p:nvSpPr>
          <p:spPr>
            <a:xfrm>
              <a:off x="6409245" y="13860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38" name="Rectangle 37">
              <a:extLst>
                <a:ext uri="{FF2B5EF4-FFF2-40B4-BE49-F238E27FC236}">
                  <a16:creationId xmlns:a16="http://schemas.microsoft.com/office/drawing/2014/main" id="{5CB98F3D-8E53-B8FA-6471-A457187F0CC8}"/>
                </a:ext>
              </a:extLst>
            </p:cNvPr>
            <p:cNvSpPr/>
            <p:nvPr/>
          </p:nvSpPr>
          <p:spPr>
            <a:xfrm>
              <a:off x="6651072" y="138601"/>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9" name="Rectangle 38">
              <a:extLst>
                <a:ext uri="{FF2B5EF4-FFF2-40B4-BE49-F238E27FC236}">
                  <a16:creationId xmlns:a16="http://schemas.microsoft.com/office/drawing/2014/main" id="{BD48E147-344C-0952-A0FB-910046066CBF}"/>
                </a:ext>
              </a:extLst>
            </p:cNvPr>
            <p:cNvSpPr/>
            <p:nvPr/>
          </p:nvSpPr>
          <p:spPr>
            <a:xfrm>
              <a:off x="7134726" y="138601"/>
              <a:ext cx="414000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600"/>
                </a:spcAft>
              </a:pPr>
              <a:r>
                <a:rPr lang="lv-LV" sz="800" b="1">
                  <a:latin typeface="Arial"/>
                  <a:cs typeface="Arial"/>
                </a:rPr>
                <a:t>Civilās aizsardzības pasākumu plānošana</a:t>
              </a:r>
              <a:endParaRPr lang="en-US" sz="800" b="1">
                <a:latin typeface="Arial"/>
                <a:cs typeface="Arial"/>
              </a:endParaRPr>
            </a:p>
          </p:txBody>
        </p:sp>
        <p:sp>
          <p:nvSpPr>
            <p:cNvPr id="40" name="Rectangle 39">
              <a:extLst>
                <a:ext uri="{FF2B5EF4-FFF2-40B4-BE49-F238E27FC236}">
                  <a16:creationId xmlns:a16="http://schemas.microsoft.com/office/drawing/2014/main" id="{11AB965C-104D-A9D8-378D-2183539A2A62}"/>
                </a:ext>
              </a:extLst>
            </p:cNvPr>
            <p:cNvSpPr/>
            <p:nvPr/>
          </p:nvSpPr>
          <p:spPr>
            <a:xfrm>
              <a:off x="6892899" y="138601"/>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4</a:t>
              </a:r>
            </a:p>
          </p:txBody>
        </p:sp>
        <p:sp>
          <p:nvSpPr>
            <p:cNvPr id="41" name="Rectangle 40">
              <a:extLst>
                <a:ext uri="{FF2B5EF4-FFF2-40B4-BE49-F238E27FC236}">
                  <a16:creationId xmlns:a16="http://schemas.microsoft.com/office/drawing/2014/main" id="{FB992A79-4143-CAF8-DE7F-37636BB92036}"/>
                </a:ext>
              </a:extLst>
            </p:cNvPr>
            <p:cNvSpPr/>
            <p:nvPr/>
          </p:nvSpPr>
          <p:spPr>
            <a:xfrm>
              <a:off x="1130055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7025378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C965B053-827E-47AA-AA76-4F52A75CD6C7}"/>
              </a:ext>
            </a:extLst>
          </p:cNvPr>
          <p:cNvGraphicFramePr>
            <a:graphicFrameLocks noChangeAspect="1"/>
          </p:cNvGraphicFramePr>
          <p:nvPr>
            <p:custDataLst>
              <p:tags r:id="rId1"/>
            </p:custDataLst>
            <p:extLst>
              <p:ext uri="{D42A27DB-BD31-4B8C-83A1-F6EECF244321}">
                <p14:modId xmlns:p14="http://schemas.microsoft.com/office/powerpoint/2010/main" val="2783415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1" name="think-cell data - do not delete" hidden="1">
                        <a:extLst>
                          <a:ext uri="{FF2B5EF4-FFF2-40B4-BE49-F238E27FC236}">
                            <a16:creationId xmlns:a16="http://schemas.microsoft.com/office/drawing/2014/main" id="{C965B053-827E-47AA-AA76-4F52A75CD6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646673C4-B9B9-74BB-E212-CD6427C9067F}"/>
              </a:ext>
            </a:extLst>
          </p:cNvPr>
          <p:cNvSpPr/>
          <p:nvPr/>
        </p:nvSpPr>
        <p:spPr>
          <a:xfrm>
            <a:off x="442913" y="1286066"/>
            <a:ext cx="11306175" cy="488613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A25D6607-36FE-CCD1-92AE-34D0595FAF6F}"/>
              </a:ext>
            </a:extLst>
          </p:cNvPr>
          <p:cNvSpPr>
            <a:spLocks noGrp="1"/>
          </p:cNvSpPr>
          <p:nvPr>
            <p:ph type="title"/>
          </p:nvPr>
        </p:nvSpPr>
        <p:spPr>
          <a:xfrm>
            <a:off x="442913" y="432001"/>
            <a:ext cx="11306175" cy="1387274"/>
          </a:xfrm>
        </p:spPr>
        <p:txBody>
          <a:bodyPr vert="horz"/>
          <a:lstStyle/>
          <a:p>
            <a:r>
              <a:rPr lang="lv-LV"/>
              <a:t>Valsts civilās aizsardzības plāna izstrādes process</a:t>
            </a:r>
          </a:p>
        </p:txBody>
      </p:sp>
      <p:sp>
        <p:nvSpPr>
          <p:cNvPr id="4" name="Slide Number Placeholder 3">
            <a:extLst>
              <a:ext uri="{FF2B5EF4-FFF2-40B4-BE49-F238E27FC236}">
                <a16:creationId xmlns:a16="http://schemas.microsoft.com/office/drawing/2014/main" id="{1CBBA691-149B-4E75-5E23-EF33D7F3479C}"/>
              </a:ext>
            </a:extLst>
          </p:cNvPr>
          <p:cNvSpPr>
            <a:spLocks noGrp="1"/>
          </p:cNvSpPr>
          <p:nvPr>
            <p:ph type="sldNum" sz="quarter" idx="11"/>
          </p:nvPr>
        </p:nvSpPr>
        <p:spPr>
          <a:xfrm>
            <a:off x="9984296" y="6492240"/>
            <a:ext cx="1764792" cy="137160"/>
          </a:xfrm>
        </p:spPr>
        <p:txBody>
          <a:bodyPr/>
          <a:lstStyle/>
          <a:p>
            <a:pPr lvl="0"/>
            <a:fld id="{7870704B-CE94-48CC-AF30-84932A1262A7}" type="slidenum">
              <a:rPr lang="en-GB" noProof="0" smtClean="0"/>
              <a:pPr lvl="0"/>
              <a:t>22</a:t>
            </a:fld>
            <a:endParaRPr lang="en-GB" noProof="0"/>
          </a:p>
        </p:txBody>
      </p:sp>
      <p:grpSp>
        <p:nvGrpSpPr>
          <p:cNvPr id="50" name="Group 49">
            <a:extLst>
              <a:ext uri="{FF2B5EF4-FFF2-40B4-BE49-F238E27FC236}">
                <a16:creationId xmlns:a16="http://schemas.microsoft.com/office/drawing/2014/main" id="{35EBB9EC-EE3B-02CA-F3CD-1BDA4B3D07E0}"/>
              </a:ext>
            </a:extLst>
          </p:cNvPr>
          <p:cNvGrpSpPr/>
          <p:nvPr/>
        </p:nvGrpSpPr>
        <p:grpSpPr>
          <a:xfrm flipH="1">
            <a:off x="480396" y="1488483"/>
            <a:ext cx="11277984" cy="4445300"/>
            <a:chOff x="390278" y="1989064"/>
            <a:chExt cx="10934695" cy="4483464"/>
          </a:xfrm>
        </p:grpSpPr>
        <p:sp>
          <p:nvSpPr>
            <p:cNvPr id="86" name="Freeform 6">
              <a:extLst>
                <a:ext uri="{FF2B5EF4-FFF2-40B4-BE49-F238E27FC236}">
                  <a16:creationId xmlns:a16="http://schemas.microsoft.com/office/drawing/2014/main" id="{648F3B61-9E01-3FED-9478-2DF9456AD92A}"/>
                </a:ext>
              </a:extLst>
            </p:cNvPr>
            <p:cNvSpPr>
              <a:spLocks/>
            </p:cNvSpPr>
            <p:nvPr/>
          </p:nvSpPr>
          <p:spPr bwMode="auto">
            <a:xfrm>
              <a:off x="447804" y="1989064"/>
              <a:ext cx="10725201" cy="4483464"/>
            </a:xfrm>
            <a:custGeom>
              <a:avLst/>
              <a:gdLst>
                <a:gd name="T0" fmla="*/ 1488 w 13838"/>
                <a:gd name="T1" fmla="*/ 2738 h 6349"/>
                <a:gd name="T2" fmla="*/ 1686 w 13838"/>
                <a:gd name="T3" fmla="*/ 2800 h 6349"/>
                <a:gd name="T4" fmla="*/ 1854 w 13838"/>
                <a:gd name="T5" fmla="*/ 2914 h 6349"/>
                <a:gd name="T6" fmla="*/ 1984 w 13838"/>
                <a:gd name="T7" fmla="*/ 3070 h 6349"/>
                <a:gd name="T8" fmla="*/ 2064 w 13838"/>
                <a:gd name="T9" fmla="*/ 3259 h 6349"/>
                <a:gd name="T10" fmla="*/ 2086 w 13838"/>
                <a:gd name="T11" fmla="*/ 5643 h 6349"/>
                <a:gd name="T12" fmla="*/ 2110 w 13838"/>
                <a:gd name="T13" fmla="*/ 5819 h 6349"/>
                <a:gd name="T14" fmla="*/ 2190 w 13838"/>
                <a:gd name="T15" fmla="*/ 6009 h 6349"/>
                <a:gd name="T16" fmla="*/ 2320 w 13838"/>
                <a:gd name="T17" fmla="*/ 6165 h 6349"/>
                <a:gd name="T18" fmla="*/ 2488 w 13838"/>
                <a:gd name="T19" fmla="*/ 6279 h 6349"/>
                <a:gd name="T20" fmla="*/ 2686 w 13838"/>
                <a:gd name="T21" fmla="*/ 6341 h 6349"/>
                <a:gd name="T22" fmla="*/ 3876 w 13838"/>
                <a:gd name="T23" fmla="*/ 6349 h 6349"/>
                <a:gd name="T24" fmla="*/ 4082 w 13838"/>
                <a:gd name="T25" fmla="*/ 6307 h 6349"/>
                <a:gd name="T26" fmla="*/ 4262 w 13838"/>
                <a:gd name="T27" fmla="*/ 6209 h 6349"/>
                <a:gd name="T28" fmla="*/ 4406 w 13838"/>
                <a:gd name="T29" fmla="*/ 6065 h 6349"/>
                <a:gd name="T30" fmla="*/ 4504 w 13838"/>
                <a:gd name="T31" fmla="*/ 5885 h 6349"/>
                <a:gd name="T32" fmla="*/ 4546 w 13838"/>
                <a:gd name="T33" fmla="*/ 5679 h 6349"/>
                <a:gd name="T34" fmla="*/ 4556 w 13838"/>
                <a:gd name="T35" fmla="*/ 1794 h 6349"/>
                <a:gd name="T36" fmla="*/ 4618 w 13838"/>
                <a:gd name="T37" fmla="*/ 1594 h 6349"/>
                <a:gd name="T38" fmla="*/ 4732 w 13838"/>
                <a:gd name="T39" fmla="*/ 1426 h 6349"/>
                <a:gd name="T40" fmla="*/ 4888 w 13838"/>
                <a:gd name="T41" fmla="*/ 1296 h 6349"/>
                <a:gd name="T42" fmla="*/ 5078 w 13838"/>
                <a:gd name="T43" fmla="*/ 1216 h 6349"/>
                <a:gd name="T44" fmla="*/ 6258 w 13838"/>
                <a:gd name="T45" fmla="*/ 1194 h 6349"/>
                <a:gd name="T46" fmla="*/ 6434 w 13838"/>
                <a:gd name="T47" fmla="*/ 1216 h 6349"/>
                <a:gd name="T48" fmla="*/ 6624 w 13838"/>
                <a:gd name="T49" fmla="*/ 1296 h 6349"/>
                <a:gd name="T50" fmla="*/ 6780 w 13838"/>
                <a:gd name="T51" fmla="*/ 1426 h 6349"/>
                <a:gd name="T52" fmla="*/ 6894 w 13838"/>
                <a:gd name="T53" fmla="*/ 1594 h 6349"/>
                <a:gd name="T54" fmla="*/ 6956 w 13838"/>
                <a:gd name="T55" fmla="*/ 1794 h 6349"/>
                <a:gd name="T56" fmla="*/ 6966 w 13838"/>
                <a:gd name="T57" fmla="*/ 4495 h 6349"/>
                <a:gd name="T58" fmla="*/ 7008 w 13838"/>
                <a:gd name="T59" fmla="*/ 4701 h 6349"/>
                <a:gd name="T60" fmla="*/ 7106 w 13838"/>
                <a:gd name="T61" fmla="*/ 4881 h 6349"/>
                <a:gd name="T62" fmla="*/ 7248 w 13838"/>
                <a:gd name="T63" fmla="*/ 5025 h 6349"/>
                <a:gd name="T64" fmla="*/ 7428 w 13838"/>
                <a:gd name="T65" fmla="*/ 5123 h 6349"/>
                <a:gd name="T66" fmla="*/ 7634 w 13838"/>
                <a:gd name="T67" fmla="*/ 5165 h 6349"/>
                <a:gd name="T68" fmla="*/ 8812 w 13838"/>
                <a:gd name="T69" fmla="*/ 5157 h 6349"/>
                <a:gd name="T70" fmla="*/ 9010 w 13838"/>
                <a:gd name="T71" fmla="*/ 5095 h 6349"/>
                <a:gd name="T72" fmla="*/ 9178 w 13838"/>
                <a:gd name="T73" fmla="*/ 4981 h 6349"/>
                <a:gd name="T74" fmla="*/ 9308 w 13838"/>
                <a:gd name="T75" fmla="*/ 4825 h 6349"/>
                <a:gd name="T76" fmla="*/ 9388 w 13838"/>
                <a:gd name="T77" fmla="*/ 4635 h 6349"/>
                <a:gd name="T78" fmla="*/ 9410 w 13838"/>
                <a:gd name="T79" fmla="*/ 706 h 6349"/>
                <a:gd name="T80" fmla="*/ 9434 w 13838"/>
                <a:gd name="T81" fmla="*/ 530 h 6349"/>
                <a:gd name="T82" fmla="*/ 9514 w 13838"/>
                <a:gd name="T83" fmla="*/ 340 h 6349"/>
                <a:gd name="T84" fmla="*/ 9644 w 13838"/>
                <a:gd name="T85" fmla="*/ 184 h 6349"/>
                <a:gd name="T86" fmla="*/ 9812 w 13838"/>
                <a:gd name="T87" fmla="*/ 68 h 6349"/>
                <a:gd name="T88" fmla="*/ 10010 w 13838"/>
                <a:gd name="T89" fmla="*/ 8 h 6349"/>
                <a:gd name="T90" fmla="*/ 11144 w 13838"/>
                <a:gd name="T91" fmla="*/ 0 h 6349"/>
                <a:gd name="T92" fmla="*/ 11350 w 13838"/>
                <a:gd name="T93" fmla="*/ 42 h 6349"/>
                <a:gd name="T94" fmla="*/ 11530 w 13838"/>
                <a:gd name="T95" fmla="*/ 140 h 6349"/>
                <a:gd name="T96" fmla="*/ 11674 w 13838"/>
                <a:gd name="T97" fmla="*/ 284 h 6349"/>
                <a:gd name="T98" fmla="*/ 11772 w 13838"/>
                <a:gd name="T99" fmla="*/ 464 h 6349"/>
                <a:gd name="T100" fmla="*/ 11814 w 13838"/>
                <a:gd name="T101" fmla="*/ 670 h 6349"/>
                <a:gd name="T102" fmla="*/ 11822 w 13838"/>
                <a:gd name="T103" fmla="*/ 2456 h 6349"/>
                <a:gd name="T104" fmla="*/ 11884 w 13838"/>
                <a:gd name="T105" fmla="*/ 2656 h 6349"/>
                <a:gd name="T106" fmla="*/ 11998 w 13838"/>
                <a:gd name="T107" fmla="*/ 2824 h 6349"/>
                <a:gd name="T108" fmla="*/ 12156 w 13838"/>
                <a:gd name="T109" fmla="*/ 2954 h 6349"/>
                <a:gd name="T110" fmla="*/ 12346 w 13838"/>
                <a:gd name="T111" fmla="*/ 3034 h 6349"/>
                <a:gd name="T112" fmla="*/ 13838 w 13838"/>
                <a:gd name="T113" fmla="*/ 3056 h 6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38" h="6349">
                  <a:moveTo>
                    <a:pt x="0" y="2730"/>
                  </a:moveTo>
                  <a:lnTo>
                    <a:pt x="1380" y="2730"/>
                  </a:lnTo>
                  <a:lnTo>
                    <a:pt x="1380" y="2730"/>
                  </a:lnTo>
                  <a:lnTo>
                    <a:pt x="1416" y="2730"/>
                  </a:lnTo>
                  <a:lnTo>
                    <a:pt x="1452" y="2734"/>
                  </a:lnTo>
                  <a:lnTo>
                    <a:pt x="1488" y="2738"/>
                  </a:lnTo>
                  <a:lnTo>
                    <a:pt x="1522" y="2744"/>
                  </a:lnTo>
                  <a:lnTo>
                    <a:pt x="1556" y="2752"/>
                  </a:lnTo>
                  <a:lnTo>
                    <a:pt x="1590" y="2762"/>
                  </a:lnTo>
                  <a:lnTo>
                    <a:pt x="1622" y="2772"/>
                  </a:lnTo>
                  <a:lnTo>
                    <a:pt x="1654" y="2786"/>
                  </a:lnTo>
                  <a:lnTo>
                    <a:pt x="1686" y="2800"/>
                  </a:lnTo>
                  <a:lnTo>
                    <a:pt x="1716" y="2816"/>
                  </a:lnTo>
                  <a:lnTo>
                    <a:pt x="1746" y="2832"/>
                  </a:lnTo>
                  <a:lnTo>
                    <a:pt x="1774" y="2850"/>
                  </a:lnTo>
                  <a:lnTo>
                    <a:pt x="1802" y="2870"/>
                  </a:lnTo>
                  <a:lnTo>
                    <a:pt x="1830" y="2892"/>
                  </a:lnTo>
                  <a:lnTo>
                    <a:pt x="1854" y="2914"/>
                  </a:lnTo>
                  <a:lnTo>
                    <a:pt x="1880" y="2938"/>
                  </a:lnTo>
                  <a:lnTo>
                    <a:pt x="1902" y="2962"/>
                  </a:lnTo>
                  <a:lnTo>
                    <a:pt x="1924" y="2988"/>
                  </a:lnTo>
                  <a:lnTo>
                    <a:pt x="1946" y="3014"/>
                  </a:lnTo>
                  <a:lnTo>
                    <a:pt x="1966" y="3042"/>
                  </a:lnTo>
                  <a:lnTo>
                    <a:pt x="1984" y="3070"/>
                  </a:lnTo>
                  <a:lnTo>
                    <a:pt x="2002" y="3100"/>
                  </a:lnTo>
                  <a:lnTo>
                    <a:pt x="2016" y="3130"/>
                  </a:lnTo>
                  <a:lnTo>
                    <a:pt x="2032" y="3162"/>
                  </a:lnTo>
                  <a:lnTo>
                    <a:pt x="2044" y="3193"/>
                  </a:lnTo>
                  <a:lnTo>
                    <a:pt x="2054" y="3225"/>
                  </a:lnTo>
                  <a:lnTo>
                    <a:pt x="2064" y="3259"/>
                  </a:lnTo>
                  <a:lnTo>
                    <a:pt x="2072" y="3293"/>
                  </a:lnTo>
                  <a:lnTo>
                    <a:pt x="2078" y="3329"/>
                  </a:lnTo>
                  <a:lnTo>
                    <a:pt x="2084" y="3363"/>
                  </a:lnTo>
                  <a:lnTo>
                    <a:pt x="2086" y="3399"/>
                  </a:lnTo>
                  <a:lnTo>
                    <a:pt x="2086" y="3435"/>
                  </a:lnTo>
                  <a:lnTo>
                    <a:pt x="2086" y="5643"/>
                  </a:lnTo>
                  <a:lnTo>
                    <a:pt x="2086" y="5643"/>
                  </a:lnTo>
                  <a:lnTo>
                    <a:pt x="2088" y="5679"/>
                  </a:lnTo>
                  <a:lnTo>
                    <a:pt x="2090" y="5715"/>
                  </a:lnTo>
                  <a:lnTo>
                    <a:pt x="2096" y="5751"/>
                  </a:lnTo>
                  <a:lnTo>
                    <a:pt x="2102" y="5785"/>
                  </a:lnTo>
                  <a:lnTo>
                    <a:pt x="2110" y="5819"/>
                  </a:lnTo>
                  <a:lnTo>
                    <a:pt x="2118" y="5853"/>
                  </a:lnTo>
                  <a:lnTo>
                    <a:pt x="2130" y="5885"/>
                  </a:lnTo>
                  <a:lnTo>
                    <a:pt x="2142" y="5917"/>
                  </a:lnTo>
                  <a:lnTo>
                    <a:pt x="2156" y="5949"/>
                  </a:lnTo>
                  <a:lnTo>
                    <a:pt x="2172" y="5979"/>
                  </a:lnTo>
                  <a:lnTo>
                    <a:pt x="2190" y="6009"/>
                  </a:lnTo>
                  <a:lnTo>
                    <a:pt x="2208" y="6037"/>
                  </a:lnTo>
                  <a:lnTo>
                    <a:pt x="2228" y="6065"/>
                  </a:lnTo>
                  <a:lnTo>
                    <a:pt x="2248" y="6093"/>
                  </a:lnTo>
                  <a:lnTo>
                    <a:pt x="2272" y="6117"/>
                  </a:lnTo>
                  <a:lnTo>
                    <a:pt x="2294" y="6143"/>
                  </a:lnTo>
                  <a:lnTo>
                    <a:pt x="2320" y="6165"/>
                  </a:lnTo>
                  <a:lnTo>
                    <a:pt x="2344" y="6187"/>
                  </a:lnTo>
                  <a:lnTo>
                    <a:pt x="2372" y="6209"/>
                  </a:lnTo>
                  <a:lnTo>
                    <a:pt x="2400" y="6229"/>
                  </a:lnTo>
                  <a:lnTo>
                    <a:pt x="2428" y="6247"/>
                  </a:lnTo>
                  <a:lnTo>
                    <a:pt x="2458" y="6265"/>
                  </a:lnTo>
                  <a:lnTo>
                    <a:pt x="2488" y="6279"/>
                  </a:lnTo>
                  <a:lnTo>
                    <a:pt x="2520" y="6295"/>
                  </a:lnTo>
                  <a:lnTo>
                    <a:pt x="2552" y="6307"/>
                  </a:lnTo>
                  <a:lnTo>
                    <a:pt x="2584" y="6317"/>
                  </a:lnTo>
                  <a:lnTo>
                    <a:pt x="2618" y="6327"/>
                  </a:lnTo>
                  <a:lnTo>
                    <a:pt x="2652" y="6335"/>
                  </a:lnTo>
                  <a:lnTo>
                    <a:pt x="2686" y="6341"/>
                  </a:lnTo>
                  <a:lnTo>
                    <a:pt x="2722" y="6347"/>
                  </a:lnTo>
                  <a:lnTo>
                    <a:pt x="2758" y="6349"/>
                  </a:lnTo>
                  <a:lnTo>
                    <a:pt x="2794" y="6349"/>
                  </a:lnTo>
                  <a:lnTo>
                    <a:pt x="3840" y="6349"/>
                  </a:lnTo>
                  <a:lnTo>
                    <a:pt x="3840" y="6349"/>
                  </a:lnTo>
                  <a:lnTo>
                    <a:pt x="3876" y="6349"/>
                  </a:lnTo>
                  <a:lnTo>
                    <a:pt x="3912" y="6347"/>
                  </a:lnTo>
                  <a:lnTo>
                    <a:pt x="3948" y="6341"/>
                  </a:lnTo>
                  <a:lnTo>
                    <a:pt x="3982" y="6335"/>
                  </a:lnTo>
                  <a:lnTo>
                    <a:pt x="4016" y="6327"/>
                  </a:lnTo>
                  <a:lnTo>
                    <a:pt x="4050" y="6317"/>
                  </a:lnTo>
                  <a:lnTo>
                    <a:pt x="4082" y="6307"/>
                  </a:lnTo>
                  <a:lnTo>
                    <a:pt x="4114" y="6295"/>
                  </a:lnTo>
                  <a:lnTo>
                    <a:pt x="4146" y="6279"/>
                  </a:lnTo>
                  <a:lnTo>
                    <a:pt x="4176" y="6265"/>
                  </a:lnTo>
                  <a:lnTo>
                    <a:pt x="4206" y="6247"/>
                  </a:lnTo>
                  <a:lnTo>
                    <a:pt x="4234" y="6229"/>
                  </a:lnTo>
                  <a:lnTo>
                    <a:pt x="4262" y="6209"/>
                  </a:lnTo>
                  <a:lnTo>
                    <a:pt x="4290" y="6187"/>
                  </a:lnTo>
                  <a:lnTo>
                    <a:pt x="4314" y="6165"/>
                  </a:lnTo>
                  <a:lnTo>
                    <a:pt x="4340" y="6143"/>
                  </a:lnTo>
                  <a:lnTo>
                    <a:pt x="4362" y="6117"/>
                  </a:lnTo>
                  <a:lnTo>
                    <a:pt x="4386" y="6093"/>
                  </a:lnTo>
                  <a:lnTo>
                    <a:pt x="4406" y="6065"/>
                  </a:lnTo>
                  <a:lnTo>
                    <a:pt x="4426" y="6037"/>
                  </a:lnTo>
                  <a:lnTo>
                    <a:pt x="4444" y="6009"/>
                  </a:lnTo>
                  <a:lnTo>
                    <a:pt x="4462" y="5979"/>
                  </a:lnTo>
                  <a:lnTo>
                    <a:pt x="4478" y="5949"/>
                  </a:lnTo>
                  <a:lnTo>
                    <a:pt x="4492" y="5917"/>
                  </a:lnTo>
                  <a:lnTo>
                    <a:pt x="4504" y="5885"/>
                  </a:lnTo>
                  <a:lnTo>
                    <a:pt x="4516" y="5853"/>
                  </a:lnTo>
                  <a:lnTo>
                    <a:pt x="4524" y="5819"/>
                  </a:lnTo>
                  <a:lnTo>
                    <a:pt x="4532" y="5785"/>
                  </a:lnTo>
                  <a:lnTo>
                    <a:pt x="4538" y="5751"/>
                  </a:lnTo>
                  <a:lnTo>
                    <a:pt x="4544" y="5715"/>
                  </a:lnTo>
                  <a:lnTo>
                    <a:pt x="4546" y="5679"/>
                  </a:lnTo>
                  <a:lnTo>
                    <a:pt x="4548" y="5643"/>
                  </a:lnTo>
                  <a:lnTo>
                    <a:pt x="4548" y="1900"/>
                  </a:lnTo>
                  <a:lnTo>
                    <a:pt x="4548" y="1900"/>
                  </a:lnTo>
                  <a:lnTo>
                    <a:pt x="4548" y="1864"/>
                  </a:lnTo>
                  <a:lnTo>
                    <a:pt x="4550" y="1828"/>
                  </a:lnTo>
                  <a:lnTo>
                    <a:pt x="4556" y="1794"/>
                  </a:lnTo>
                  <a:lnTo>
                    <a:pt x="4562" y="1758"/>
                  </a:lnTo>
                  <a:lnTo>
                    <a:pt x="4570" y="1724"/>
                  </a:lnTo>
                  <a:lnTo>
                    <a:pt x="4578" y="1692"/>
                  </a:lnTo>
                  <a:lnTo>
                    <a:pt x="4590" y="1658"/>
                  </a:lnTo>
                  <a:lnTo>
                    <a:pt x="4602" y="1626"/>
                  </a:lnTo>
                  <a:lnTo>
                    <a:pt x="4618" y="1594"/>
                  </a:lnTo>
                  <a:lnTo>
                    <a:pt x="4632" y="1564"/>
                  </a:lnTo>
                  <a:lnTo>
                    <a:pt x="4650" y="1534"/>
                  </a:lnTo>
                  <a:lnTo>
                    <a:pt x="4668" y="1506"/>
                  </a:lnTo>
                  <a:lnTo>
                    <a:pt x="4688" y="1478"/>
                  </a:lnTo>
                  <a:lnTo>
                    <a:pt x="4708" y="1452"/>
                  </a:lnTo>
                  <a:lnTo>
                    <a:pt x="4732" y="1426"/>
                  </a:lnTo>
                  <a:lnTo>
                    <a:pt x="4754" y="1402"/>
                  </a:lnTo>
                  <a:lnTo>
                    <a:pt x="4780" y="1378"/>
                  </a:lnTo>
                  <a:lnTo>
                    <a:pt x="4804" y="1356"/>
                  </a:lnTo>
                  <a:lnTo>
                    <a:pt x="4832" y="1334"/>
                  </a:lnTo>
                  <a:lnTo>
                    <a:pt x="4860" y="1316"/>
                  </a:lnTo>
                  <a:lnTo>
                    <a:pt x="4888" y="1296"/>
                  </a:lnTo>
                  <a:lnTo>
                    <a:pt x="4918" y="1280"/>
                  </a:lnTo>
                  <a:lnTo>
                    <a:pt x="4948" y="1264"/>
                  </a:lnTo>
                  <a:lnTo>
                    <a:pt x="4980" y="1250"/>
                  </a:lnTo>
                  <a:lnTo>
                    <a:pt x="5012" y="1238"/>
                  </a:lnTo>
                  <a:lnTo>
                    <a:pt x="5044" y="1226"/>
                  </a:lnTo>
                  <a:lnTo>
                    <a:pt x="5078" y="1216"/>
                  </a:lnTo>
                  <a:lnTo>
                    <a:pt x="5112" y="1208"/>
                  </a:lnTo>
                  <a:lnTo>
                    <a:pt x="5146" y="1202"/>
                  </a:lnTo>
                  <a:lnTo>
                    <a:pt x="5182" y="1198"/>
                  </a:lnTo>
                  <a:lnTo>
                    <a:pt x="5218" y="1194"/>
                  </a:lnTo>
                  <a:lnTo>
                    <a:pt x="5254" y="1194"/>
                  </a:lnTo>
                  <a:lnTo>
                    <a:pt x="6258" y="1194"/>
                  </a:lnTo>
                  <a:lnTo>
                    <a:pt x="6258" y="1194"/>
                  </a:lnTo>
                  <a:lnTo>
                    <a:pt x="6294" y="1194"/>
                  </a:lnTo>
                  <a:lnTo>
                    <a:pt x="6330" y="1198"/>
                  </a:lnTo>
                  <a:lnTo>
                    <a:pt x="6364" y="1202"/>
                  </a:lnTo>
                  <a:lnTo>
                    <a:pt x="6400" y="1208"/>
                  </a:lnTo>
                  <a:lnTo>
                    <a:pt x="6434" y="1216"/>
                  </a:lnTo>
                  <a:lnTo>
                    <a:pt x="6468" y="1226"/>
                  </a:lnTo>
                  <a:lnTo>
                    <a:pt x="6500" y="1238"/>
                  </a:lnTo>
                  <a:lnTo>
                    <a:pt x="6532" y="1250"/>
                  </a:lnTo>
                  <a:lnTo>
                    <a:pt x="6564" y="1264"/>
                  </a:lnTo>
                  <a:lnTo>
                    <a:pt x="6594" y="1280"/>
                  </a:lnTo>
                  <a:lnTo>
                    <a:pt x="6624" y="1296"/>
                  </a:lnTo>
                  <a:lnTo>
                    <a:pt x="6652" y="1316"/>
                  </a:lnTo>
                  <a:lnTo>
                    <a:pt x="6680" y="1334"/>
                  </a:lnTo>
                  <a:lnTo>
                    <a:pt x="6706" y="1356"/>
                  </a:lnTo>
                  <a:lnTo>
                    <a:pt x="6732" y="1378"/>
                  </a:lnTo>
                  <a:lnTo>
                    <a:pt x="6756" y="1402"/>
                  </a:lnTo>
                  <a:lnTo>
                    <a:pt x="6780" y="1426"/>
                  </a:lnTo>
                  <a:lnTo>
                    <a:pt x="6802" y="1452"/>
                  </a:lnTo>
                  <a:lnTo>
                    <a:pt x="6824" y="1478"/>
                  </a:lnTo>
                  <a:lnTo>
                    <a:pt x="6844" y="1506"/>
                  </a:lnTo>
                  <a:lnTo>
                    <a:pt x="6862" y="1534"/>
                  </a:lnTo>
                  <a:lnTo>
                    <a:pt x="6878" y="1564"/>
                  </a:lnTo>
                  <a:lnTo>
                    <a:pt x="6894" y="1594"/>
                  </a:lnTo>
                  <a:lnTo>
                    <a:pt x="6908" y="1626"/>
                  </a:lnTo>
                  <a:lnTo>
                    <a:pt x="6922" y="1658"/>
                  </a:lnTo>
                  <a:lnTo>
                    <a:pt x="6932" y="1692"/>
                  </a:lnTo>
                  <a:lnTo>
                    <a:pt x="6942" y="1724"/>
                  </a:lnTo>
                  <a:lnTo>
                    <a:pt x="6950" y="1758"/>
                  </a:lnTo>
                  <a:lnTo>
                    <a:pt x="6956" y="1794"/>
                  </a:lnTo>
                  <a:lnTo>
                    <a:pt x="6960" y="1828"/>
                  </a:lnTo>
                  <a:lnTo>
                    <a:pt x="6964" y="1864"/>
                  </a:lnTo>
                  <a:lnTo>
                    <a:pt x="6964" y="1900"/>
                  </a:lnTo>
                  <a:lnTo>
                    <a:pt x="6964" y="4459"/>
                  </a:lnTo>
                  <a:lnTo>
                    <a:pt x="6964" y="4459"/>
                  </a:lnTo>
                  <a:lnTo>
                    <a:pt x="6966" y="4495"/>
                  </a:lnTo>
                  <a:lnTo>
                    <a:pt x="6968" y="4531"/>
                  </a:lnTo>
                  <a:lnTo>
                    <a:pt x="6972" y="4567"/>
                  </a:lnTo>
                  <a:lnTo>
                    <a:pt x="6978" y="4601"/>
                  </a:lnTo>
                  <a:lnTo>
                    <a:pt x="6986" y="4635"/>
                  </a:lnTo>
                  <a:lnTo>
                    <a:pt x="6996" y="4669"/>
                  </a:lnTo>
                  <a:lnTo>
                    <a:pt x="7008" y="4701"/>
                  </a:lnTo>
                  <a:lnTo>
                    <a:pt x="7020" y="4733"/>
                  </a:lnTo>
                  <a:lnTo>
                    <a:pt x="7034" y="4765"/>
                  </a:lnTo>
                  <a:lnTo>
                    <a:pt x="7050" y="4795"/>
                  </a:lnTo>
                  <a:lnTo>
                    <a:pt x="7068" y="4825"/>
                  </a:lnTo>
                  <a:lnTo>
                    <a:pt x="7086" y="4853"/>
                  </a:lnTo>
                  <a:lnTo>
                    <a:pt x="7106" y="4881"/>
                  </a:lnTo>
                  <a:lnTo>
                    <a:pt x="7126" y="4907"/>
                  </a:lnTo>
                  <a:lnTo>
                    <a:pt x="7148" y="4933"/>
                  </a:lnTo>
                  <a:lnTo>
                    <a:pt x="7172" y="4957"/>
                  </a:lnTo>
                  <a:lnTo>
                    <a:pt x="7196" y="4981"/>
                  </a:lnTo>
                  <a:lnTo>
                    <a:pt x="7222" y="5003"/>
                  </a:lnTo>
                  <a:lnTo>
                    <a:pt x="7248" y="5025"/>
                  </a:lnTo>
                  <a:lnTo>
                    <a:pt x="7276" y="5045"/>
                  </a:lnTo>
                  <a:lnTo>
                    <a:pt x="7306" y="5063"/>
                  </a:lnTo>
                  <a:lnTo>
                    <a:pt x="7334" y="5079"/>
                  </a:lnTo>
                  <a:lnTo>
                    <a:pt x="7366" y="5095"/>
                  </a:lnTo>
                  <a:lnTo>
                    <a:pt x="7396" y="5109"/>
                  </a:lnTo>
                  <a:lnTo>
                    <a:pt x="7428" y="5123"/>
                  </a:lnTo>
                  <a:lnTo>
                    <a:pt x="7462" y="5133"/>
                  </a:lnTo>
                  <a:lnTo>
                    <a:pt x="7496" y="5143"/>
                  </a:lnTo>
                  <a:lnTo>
                    <a:pt x="7530" y="5151"/>
                  </a:lnTo>
                  <a:lnTo>
                    <a:pt x="7564" y="5157"/>
                  </a:lnTo>
                  <a:lnTo>
                    <a:pt x="7600" y="5161"/>
                  </a:lnTo>
                  <a:lnTo>
                    <a:pt x="7634" y="5165"/>
                  </a:lnTo>
                  <a:lnTo>
                    <a:pt x="7672" y="5165"/>
                  </a:lnTo>
                  <a:lnTo>
                    <a:pt x="8704" y="5165"/>
                  </a:lnTo>
                  <a:lnTo>
                    <a:pt x="8704" y="5165"/>
                  </a:lnTo>
                  <a:lnTo>
                    <a:pt x="8740" y="5165"/>
                  </a:lnTo>
                  <a:lnTo>
                    <a:pt x="8776" y="5161"/>
                  </a:lnTo>
                  <a:lnTo>
                    <a:pt x="8812" y="5157"/>
                  </a:lnTo>
                  <a:lnTo>
                    <a:pt x="8846" y="5151"/>
                  </a:lnTo>
                  <a:lnTo>
                    <a:pt x="8880" y="5143"/>
                  </a:lnTo>
                  <a:lnTo>
                    <a:pt x="8914" y="5133"/>
                  </a:lnTo>
                  <a:lnTo>
                    <a:pt x="8946" y="5123"/>
                  </a:lnTo>
                  <a:lnTo>
                    <a:pt x="8978" y="5109"/>
                  </a:lnTo>
                  <a:lnTo>
                    <a:pt x="9010" y="5095"/>
                  </a:lnTo>
                  <a:lnTo>
                    <a:pt x="9040" y="5079"/>
                  </a:lnTo>
                  <a:lnTo>
                    <a:pt x="9070" y="5063"/>
                  </a:lnTo>
                  <a:lnTo>
                    <a:pt x="9098" y="5045"/>
                  </a:lnTo>
                  <a:lnTo>
                    <a:pt x="9126" y="5025"/>
                  </a:lnTo>
                  <a:lnTo>
                    <a:pt x="9154" y="5003"/>
                  </a:lnTo>
                  <a:lnTo>
                    <a:pt x="9178" y="4981"/>
                  </a:lnTo>
                  <a:lnTo>
                    <a:pt x="9204" y="4957"/>
                  </a:lnTo>
                  <a:lnTo>
                    <a:pt x="9226" y="4933"/>
                  </a:lnTo>
                  <a:lnTo>
                    <a:pt x="9250" y="4907"/>
                  </a:lnTo>
                  <a:lnTo>
                    <a:pt x="9270" y="4881"/>
                  </a:lnTo>
                  <a:lnTo>
                    <a:pt x="9290" y="4853"/>
                  </a:lnTo>
                  <a:lnTo>
                    <a:pt x="9308" y="4825"/>
                  </a:lnTo>
                  <a:lnTo>
                    <a:pt x="9326" y="4795"/>
                  </a:lnTo>
                  <a:lnTo>
                    <a:pt x="9340" y="4765"/>
                  </a:lnTo>
                  <a:lnTo>
                    <a:pt x="9356" y="4733"/>
                  </a:lnTo>
                  <a:lnTo>
                    <a:pt x="9368" y="4701"/>
                  </a:lnTo>
                  <a:lnTo>
                    <a:pt x="9378" y="4669"/>
                  </a:lnTo>
                  <a:lnTo>
                    <a:pt x="9388" y="4635"/>
                  </a:lnTo>
                  <a:lnTo>
                    <a:pt x="9396" y="4601"/>
                  </a:lnTo>
                  <a:lnTo>
                    <a:pt x="9402" y="4567"/>
                  </a:lnTo>
                  <a:lnTo>
                    <a:pt x="9408" y="4531"/>
                  </a:lnTo>
                  <a:lnTo>
                    <a:pt x="9410" y="4495"/>
                  </a:lnTo>
                  <a:lnTo>
                    <a:pt x="9410" y="4459"/>
                  </a:lnTo>
                  <a:lnTo>
                    <a:pt x="9410" y="706"/>
                  </a:lnTo>
                  <a:lnTo>
                    <a:pt x="9410" y="706"/>
                  </a:lnTo>
                  <a:lnTo>
                    <a:pt x="9412" y="670"/>
                  </a:lnTo>
                  <a:lnTo>
                    <a:pt x="9414" y="634"/>
                  </a:lnTo>
                  <a:lnTo>
                    <a:pt x="9420" y="598"/>
                  </a:lnTo>
                  <a:lnTo>
                    <a:pt x="9426" y="564"/>
                  </a:lnTo>
                  <a:lnTo>
                    <a:pt x="9434" y="530"/>
                  </a:lnTo>
                  <a:lnTo>
                    <a:pt x="9442" y="496"/>
                  </a:lnTo>
                  <a:lnTo>
                    <a:pt x="9454" y="464"/>
                  </a:lnTo>
                  <a:lnTo>
                    <a:pt x="9466" y="432"/>
                  </a:lnTo>
                  <a:lnTo>
                    <a:pt x="9480" y="400"/>
                  </a:lnTo>
                  <a:lnTo>
                    <a:pt x="9496" y="370"/>
                  </a:lnTo>
                  <a:lnTo>
                    <a:pt x="9514" y="340"/>
                  </a:lnTo>
                  <a:lnTo>
                    <a:pt x="9532" y="312"/>
                  </a:lnTo>
                  <a:lnTo>
                    <a:pt x="9552" y="284"/>
                  </a:lnTo>
                  <a:lnTo>
                    <a:pt x="9572" y="256"/>
                  </a:lnTo>
                  <a:lnTo>
                    <a:pt x="9596" y="232"/>
                  </a:lnTo>
                  <a:lnTo>
                    <a:pt x="9618" y="206"/>
                  </a:lnTo>
                  <a:lnTo>
                    <a:pt x="9644" y="184"/>
                  </a:lnTo>
                  <a:lnTo>
                    <a:pt x="9668" y="160"/>
                  </a:lnTo>
                  <a:lnTo>
                    <a:pt x="9696" y="140"/>
                  </a:lnTo>
                  <a:lnTo>
                    <a:pt x="9724" y="120"/>
                  </a:lnTo>
                  <a:lnTo>
                    <a:pt x="9752" y="102"/>
                  </a:lnTo>
                  <a:lnTo>
                    <a:pt x="9782" y="84"/>
                  </a:lnTo>
                  <a:lnTo>
                    <a:pt x="9812" y="68"/>
                  </a:lnTo>
                  <a:lnTo>
                    <a:pt x="9844" y="54"/>
                  </a:lnTo>
                  <a:lnTo>
                    <a:pt x="9876" y="42"/>
                  </a:lnTo>
                  <a:lnTo>
                    <a:pt x="9908" y="30"/>
                  </a:lnTo>
                  <a:lnTo>
                    <a:pt x="9942" y="22"/>
                  </a:lnTo>
                  <a:lnTo>
                    <a:pt x="9976" y="14"/>
                  </a:lnTo>
                  <a:lnTo>
                    <a:pt x="10010" y="8"/>
                  </a:lnTo>
                  <a:lnTo>
                    <a:pt x="10046" y="2"/>
                  </a:lnTo>
                  <a:lnTo>
                    <a:pt x="10082" y="0"/>
                  </a:lnTo>
                  <a:lnTo>
                    <a:pt x="10118" y="0"/>
                  </a:lnTo>
                  <a:lnTo>
                    <a:pt x="11108" y="0"/>
                  </a:lnTo>
                  <a:lnTo>
                    <a:pt x="11108" y="0"/>
                  </a:lnTo>
                  <a:lnTo>
                    <a:pt x="11144" y="0"/>
                  </a:lnTo>
                  <a:lnTo>
                    <a:pt x="11180" y="2"/>
                  </a:lnTo>
                  <a:lnTo>
                    <a:pt x="11216" y="8"/>
                  </a:lnTo>
                  <a:lnTo>
                    <a:pt x="11250" y="14"/>
                  </a:lnTo>
                  <a:lnTo>
                    <a:pt x="11284" y="22"/>
                  </a:lnTo>
                  <a:lnTo>
                    <a:pt x="11318" y="30"/>
                  </a:lnTo>
                  <a:lnTo>
                    <a:pt x="11350" y="42"/>
                  </a:lnTo>
                  <a:lnTo>
                    <a:pt x="11382" y="54"/>
                  </a:lnTo>
                  <a:lnTo>
                    <a:pt x="11414" y="68"/>
                  </a:lnTo>
                  <a:lnTo>
                    <a:pt x="11444" y="84"/>
                  </a:lnTo>
                  <a:lnTo>
                    <a:pt x="11474" y="102"/>
                  </a:lnTo>
                  <a:lnTo>
                    <a:pt x="11502" y="120"/>
                  </a:lnTo>
                  <a:lnTo>
                    <a:pt x="11530" y="140"/>
                  </a:lnTo>
                  <a:lnTo>
                    <a:pt x="11556" y="160"/>
                  </a:lnTo>
                  <a:lnTo>
                    <a:pt x="11582" y="184"/>
                  </a:lnTo>
                  <a:lnTo>
                    <a:pt x="11606" y="206"/>
                  </a:lnTo>
                  <a:lnTo>
                    <a:pt x="11630" y="232"/>
                  </a:lnTo>
                  <a:lnTo>
                    <a:pt x="11652" y="256"/>
                  </a:lnTo>
                  <a:lnTo>
                    <a:pt x="11674" y="284"/>
                  </a:lnTo>
                  <a:lnTo>
                    <a:pt x="11694" y="312"/>
                  </a:lnTo>
                  <a:lnTo>
                    <a:pt x="11712" y="340"/>
                  </a:lnTo>
                  <a:lnTo>
                    <a:pt x="11728" y="370"/>
                  </a:lnTo>
                  <a:lnTo>
                    <a:pt x="11744" y="400"/>
                  </a:lnTo>
                  <a:lnTo>
                    <a:pt x="11758" y="432"/>
                  </a:lnTo>
                  <a:lnTo>
                    <a:pt x="11772" y="464"/>
                  </a:lnTo>
                  <a:lnTo>
                    <a:pt x="11782" y="496"/>
                  </a:lnTo>
                  <a:lnTo>
                    <a:pt x="11792" y="530"/>
                  </a:lnTo>
                  <a:lnTo>
                    <a:pt x="11800" y="564"/>
                  </a:lnTo>
                  <a:lnTo>
                    <a:pt x="11806" y="598"/>
                  </a:lnTo>
                  <a:lnTo>
                    <a:pt x="11810" y="634"/>
                  </a:lnTo>
                  <a:lnTo>
                    <a:pt x="11814" y="670"/>
                  </a:lnTo>
                  <a:lnTo>
                    <a:pt x="11814" y="706"/>
                  </a:lnTo>
                  <a:lnTo>
                    <a:pt x="11814" y="2350"/>
                  </a:lnTo>
                  <a:lnTo>
                    <a:pt x="11814" y="2350"/>
                  </a:lnTo>
                  <a:lnTo>
                    <a:pt x="11816" y="2386"/>
                  </a:lnTo>
                  <a:lnTo>
                    <a:pt x="11818" y="2422"/>
                  </a:lnTo>
                  <a:lnTo>
                    <a:pt x="11822" y="2456"/>
                  </a:lnTo>
                  <a:lnTo>
                    <a:pt x="11828" y="2492"/>
                  </a:lnTo>
                  <a:lnTo>
                    <a:pt x="11836" y="2526"/>
                  </a:lnTo>
                  <a:lnTo>
                    <a:pt x="11846" y="2560"/>
                  </a:lnTo>
                  <a:lnTo>
                    <a:pt x="11858" y="2592"/>
                  </a:lnTo>
                  <a:lnTo>
                    <a:pt x="11870" y="2624"/>
                  </a:lnTo>
                  <a:lnTo>
                    <a:pt x="11884" y="2656"/>
                  </a:lnTo>
                  <a:lnTo>
                    <a:pt x="11900" y="2686"/>
                  </a:lnTo>
                  <a:lnTo>
                    <a:pt x="11918" y="2716"/>
                  </a:lnTo>
                  <a:lnTo>
                    <a:pt x="11936" y="2744"/>
                  </a:lnTo>
                  <a:lnTo>
                    <a:pt x="11956" y="2772"/>
                  </a:lnTo>
                  <a:lnTo>
                    <a:pt x="11976" y="2798"/>
                  </a:lnTo>
                  <a:lnTo>
                    <a:pt x="11998" y="2824"/>
                  </a:lnTo>
                  <a:lnTo>
                    <a:pt x="12022" y="2848"/>
                  </a:lnTo>
                  <a:lnTo>
                    <a:pt x="12046" y="2872"/>
                  </a:lnTo>
                  <a:lnTo>
                    <a:pt x="12072" y="2894"/>
                  </a:lnTo>
                  <a:lnTo>
                    <a:pt x="12100" y="2916"/>
                  </a:lnTo>
                  <a:lnTo>
                    <a:pt x="12126" y="2936"/>
                  </a:lnTo>
                  <a:lnTo>
                    <a:pt x="12156" y="2954"/>
                  </a:lnTo>
                  <a:lnTo>
                    <a:pt x="12186" y="2970"/>
                  </a:lnTo>
                  <a:lnTo>
                    <a:pt x="12216" y="2986"/>
                  </a:lnTo>
                  <a:lnTo>
                    <a:pt x="12246" y="3000"/>
                  </a:lnTo>
                  <a:lnTo>
                    <a:pt x="12278" y="3014"/>
                  </a:lnTo>
                  <a:lnTo>
                    <a:pt x="12312" y="3024"/>
                  </a:lnTo>
                  <a:lnTo>
                    <a:pt x="12346" y="3034"/>
                  </a:lnTo>
                  <a:lnTo>
                    <a:pt x="12380" y="3042"/>
                  </a:lnTo>
                  <a:lnTo>
                    <a:pt x="12414" y="3048"/>
                  </a:lnTo>
                  <a:lnTo>
                    <a:pt x="12450" y="3052"/>
                  </a:lnTo>
                  <a:lnTo>
                    <a:pt x="12486" y="3056"/>
                  </a:lnTo>
                  <a:lnTo>
                    <a:pt x="12522" y="3056"/>
                  </a:lnTo>
                  <a:lnTo>
                    <a:pt x="13838" y="3056"/>
                  </a:lnTo>
                </a:path>
              </a:pathLst>
            </a:custGeom>
            <a:noFill/>
            <a:ln w="76200">
              <a:solidFill>
                <a:srgbClr val="525A7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8191" tIns="39096" rIns="78191" bIns="390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lv-LV" sz="900"/>
            </a:p>
          </p:txBody>
        </p:sp>
        <p:sp>
          <p:nvSpPr>
            <p:cNvPr id="87" name="Oval 86">
              <a:extLst>
                <a:ext uri="{FF2B5EF4-FFF2-40B4-BE49-F238E27FC236}">
                  <a16:creationId xmlns:a16="http://schemas.microsoft.com/office/drawing/2014/main" id="{42505ED0-AC34-45B6-C247-BB91AC54A687}"/>
                </a:ext>
              </a:extLst>
            </p:cNvPr>
            <p:cNvSpPr/>
            <p:nvPr/>
          </p:nvSpPr>
          <p:spPr bwMode="ltGray">
            <a:xfrm>
              <a:off x="390278" y="3838973"/>
              <a:ext cx="151968" cy="151968"/>
            </a:xfrm>
            <a:prstGeom prst="ellipse">
              <a:avLst/>
            </a:prstGeom>
            <a:solidFill>
              <a:schemeClr val="bg1"/>
            </a:solidFill>
            <a:ln w="57150">
              <a:solidFill>
                <a:srgbClr val="525A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lv-LV" sz="900">
                <a:solidFill>
                  <a:schemeClr val="bg1"/>
                </a:solidFill>
              </a:endParaRPr>
            </a:p>
          </p:txBody>
        </p:sp>
        <p:sp>
          <p:nvSpPr>
            <p:cNvPr id="88" name="Oval 87">
              <a:extLst>
                <a:ext uri="{FF2B5EF4-FFF2-40B4-BE49-F238E27FC236}">
                  <a16:creationId xmlns:a16="http://schemas.microsoft.com/office/drawing/2014/main" id="{B91EEFEC-A7F9-6A62-0B87-F926087694FF}"/>
                </a:ext>
              </a:extLst>
            </p:cNvPr>
            <p:cNvSpPr/>
            <p:nvPr/>
          </p:nvSpPr>
          <p:spPr bwMode="ltGray">
            <a:xfrm>
              <a:off x="11173005" y="4071208"/>
              <a:ext cx="151968" cy="151968"/>
            </a:xfrm>
            <a:prstGeom prst="ellipse">
              <a:avLst/>
            </a:prstGeom>
            <a:solidFill>
              <a:schemeClr val="bg1"/>
            </a:solidFill>
            <a:ln w="57150">
              <a:solidFill>
                <a:srgbClr val="525A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lv-LV" sz="900">
                <a:solidFill>
                  <a:schemeClr val="bg1"/>
                </a:solidFill>
              </a:endParaRPr>
            </a:p>
          </p:txBody>
        </p:sp>
      </p:grpSp>
      <p:sp>
        <p:nvSpPr>
          <p:cNvPr id="51" name="Rectangle 50">
            <a:extLst>
              <a:ext uri="{FF2B5EF4-FFF2-40B4-BE49-F238E27FC236}">
                <a16:creationId xmlns:a16="http://schemas.microsoft.com/office/drawing/2014/main" id="{2F6DC4B8-9940-E974-DFE7-A68FEC09CF64}"/>
              </a:ext>
            </a:extLst>
          </p:cNvPr>
          <p:cNvSpPr>
            <a:spLocks noChangeArrowheads="1"/>
          </p:cNvSpPr>
          <p:nvPr/>
        </p:nvSpPr>
        <p:spPr bwMode="auto">
          <a:xfrm>
            <a:off x="8405579" y="2676453"/>
            <a:ext cx="1598293" cy="258532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2749" eaLnBrk="0" hangingPunct="0">
              <a:defRPr/>
            </a:pPr>
            <a:r>
              <a:rPr lang="lv-LV" sz="1400" kern="0"/>
              <a:t>Iekšlietu ministrija</a:t>
            </a:r>
          </a:p>
          <a:p>
            <a:pPr defTabSz="682749" eaLnBrk="0" hangingPunct="0">
              <a:defRPr/>
            </a:pPr>
            <a:r>
              <a:rPr lang="lv-LV" sz="1400" kern="0"/>
              <a:t>izvērtē Valsts civilās aizsardzības plāna izpildi un iesniedz MK </a:t>
            </a:r>
            <a:r>
              <a:rPr lang="lv-LV" sz="1400"/>
              <a:t>informatīvo ziņojumu</a:t>
            </a:r>
            <a:r>
              <a:rPr lang="en-GB" sz="1400"/>
              <a:t> </a:t>
            </a:r>
            <a:r>
              <a:rPr lang="lv-LV" sz="1400" kern="0"/>
              <a:t>un, ja nepieciešams,</a:t>
            </a:r>
          </a:p>
          <a:p>
            <a:pPr defTabSz="682749" eaLnBrk="0" hangingPunct="0">
              <a:defRPr/>
            </a:pPr>
            <a:r>
              <a:rPr lang="lv-LV" sz="1400" kern="0"/>
              <a:t>Valsts civilās aizsardzības grozījumu</a:t>
            </a:r>
          </a:p>
          <a:p>
            <a:pPr defTabSz="682749" eaLnBrk="0" hangingPunct="0">
              <a:defRPr/>
            </a:pPr>
            <a:r>
              <a:rPr lang="lv-LV" sz="1400"/>
              <a:t>projektu</a:t>
            </a:r>
            <a:r>
              <a:rPr lang="lv-LV" sz="1400" kern="0"/>
              <a:t> līdz </a:t>
            </a:r>
            <a:r>
              <a:rPr lang="lv-LV" sz="1400" b="1" kern="0">
                <a:solidFill>
                  <a:srgbClr val="A8192D"/>
                </a:solidFill>
              </a:rPr>
              <a:t>1.</a:t>
            </a:r>
            <a:r>
              <a:rPr lang="lv-LV" sz="1400" b="1">
                <a:solidFill>
                  <a:srgbClr val="A8192D"/>
                </a:solidFill>
              </a:rPr>
              <a:t>maijam</a:t>
            </a:r>
            <a:endParaRPr lang="lv-LV" sz="1400" b="1" kern="0">
              <a:solidFill>
                <a:srgbClr val="A8192D"/>
              </a:solidFill>
            </a:endParaRPr>
          </a:p>
        </p:txBody>
      </p:sp>
      <p:sp>
        <p:nvSpPr>
          <p:cNvPr id="52" name="Rectangle 51">
            <a:extLst>
              <a:ext uri="{FF2B5EF4-FFF2-40B4-BE49-F238E27FC236}">
                <a16:creationId xmlns:a16="http://schemas.microsoft.com/office/drawing/2014/main" id="{754EAF21-8364-40B5-103F-C971798338FA}"/>
              </a:ext>
            </a:extLst>
          </p:cNvPr>
          <p:cNvSpPr>
            <a:spLocks noChangeArrowheads="1"/>
          </p:cNvSpPr>
          <p:nvPr/>
        </p:nvSpPr>
        <p:spPr bwMode="auto">
          <a:xfrm>
            <a:off x="6360890" y="2995723"/>
            <a:ext cx="1673977" cy="1656515"/>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2749" eaLnBrk="0" hangingPunct="0">
              <a:defRPr/>
            </a:pPr>
            <a:r>
              <a:rPr lang="lv-LV" sz="1400" kern="0"/>
              <a:t>Katastrofu pārvaldīšanas subjekti</a:t>
            </a:r>
            <a:r>
              <a:rPr lang="lv-LV" sz="1400"/>
              <a:t> </a:t>
            </a:r>
            <a:r>
              <a:rPr lang="lv-LV" sz="1400" kern="0"/>
              <a:t>sniedz priekšlikumus</a:t>
            </a:r>
            <a:r>
              <a:rPr lang="lv-LV" sz="1400"/>
              <a:t> </a:t>
            </a:r>
            <a:r>
              <a:rPr lang="lv-LV" sz="1400" kern="0"/>
              <a:t>par nepieciešamajiem</a:t>
            </a:r>
          </a:p>
          <a:p>
            <a:pPr defTabSz="682749" eaLnBrk="0" hangingPunct="0">
              <a:defRPr/>
            </a:pPr>
            <a:r>
              <a:rPr lang="lv-LV" sz="1400" kern="0"/>
              <a:t>grozījumiem Valsts civilās aizsardzības plānā Iekšlietu ministrijai</a:t>
            </a:r>
          </a:p>
          <a:p>
            <a:pPr defTabSz="682749" eaLnBrk="0" hangingPunct="0">
              <a:defRPr/>
            </a:pPr>
            <a:r>
              <a:rPr lang="lv-LV" sz="1400" b="1" kern="0">
                <a:solidFill>
                  <a:srgbClr val="A8192D"/>
                </a:solidFill>
              </a:rPr>
              <a:t>līdz </a:t>
            </a:r>
            <a:r>
              <a:rPr lang="lv-LV" sz="1400" b="1">
                <a:solidFill>
                  <a:srgbClr val="A8192D"/>
                </a:solidFill>
              </a:rPr>
              <a:t>20.janvārim</a:t>
            </a:r>
            <a:endParaRPr lang="lv-LV" sz="1400" b="1" kern="0">
              <a:solidFill>
                <a:srgbClr val="A8192D"/>
              </a:solidFill>
              <a:cs typeface="Arial" charset="0"/>
            </a:endParaRPr>
          </a:p>
        </p:txBody>
      </p:sp>
      <p:sp>
        <p:nvSpPr>
          <p:cNvPr id="53" name="Rectangle 52">
            <a:extLst>
              <a:ext uri="{FF2B5EF4-FFF2-40B4-BE49-F238E27FC236}">
                <a16:creationId xmlns:a16="http://schemas.microsoft.com/office/drawing/2014/main" id="{6E6AD103-92DC-77F5-2DD7-C9640CA704CA}"/>
              </a:ext>
            </a:extLst>
          </p:cNvPr>
          <p:cNvSpPr>
            <a:spLocks noChangeArrowheads="1"/>
          </p:cNvSpPr>
          <p:nvPr/>
        </p:nvSpPr>
        <p:spPr bwMode="auto">
          <a:xfrm>
            <a:off x="2457238" y="2560032"/>
            <a:ext cx="1510454" cy="64633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2749" eaLnBrk="0" hangingPunct="0">
              <a:defRPr/>
            </a:pPr>
            <a:r>
              <a:rPr lang="lv-LV" sz="1400" kern="0">
                <a:cs typeface="Arial" charset="0"/>
              </a:rPr>
              <a:t>Valsts civilās aizsardzības plānu</a:t>
            </a:r>
          </a:p>
          <a:p>
            <a:pPr defTabSz="682749" eaLnBrk="0" hangingPunct="0">
              <a:defRPr/>
            </a:pPr>
            <a:r>
              <a:rPr lang="lv-LV" sz="1400" kern="0">
                <a:cs typeface="Arial" charset="0"/>
              </a:rPr>
              <a:t>apstiprina MK</a:t>
            </a:r>
          </a:p>
        </p:txBody>
      </p:sp>
      <p:sp>
        <p:nvSpPr>
          <p:cNvPr id="54" name="Rectangle 53">
            <a:extLst>
              <a:ext uri="{FF2B5EF4-FFF2-40B4-BE49-F238E27FC236}">
                <a16:creationId xmlns:a16="http://schemas.microsoft.com/office/drawing/2014/main" id="{4CD0B799-859D-8D06-4ACC-37DFFC5D70E2}"/>
              </a:ext>
            </a:extLst>
          </p:cNvPr>
          <p:cNvSpPr>
            <a:spLocks noChangeArrowheads="1"/>
          </p:cNvSpPr>
          <p:nvPr/>
        </p:nvSpPr>
        <p:spPr bwMode="auto">
          <a:xfrm>
            <a:off x="558765" y="1594519"/>
            <a:ext cx="1539495" cy="1471085"/>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2749" eaLnBrk="0" hangingPunct="0">
              <a:defRPr/>
            </a:pPr>
            <a:r>
              <a:rPr lang="lv-LV" sz="1400" kern="0">
                <a:solidFill>
                  <a:schemeClr val="tx1"/>
                </a:solidFill>
              </a:rPr>
              <a:t>Iekšlietu ministrijas</a:t>
            </a:r>
          </a:p>
          <a:p>
            <a:pPr defTabSz="682749" eaLnBrk="0" hangingPunct="0">
              <a:defRPr/>
            </a:pPr>
            <a:r>
              <a:rPr lang="lv-LV" sz="1400" kern="0">
                <a:solidFill>
                  <a:schemeClr val="tx1"/>
                </a:solidFill>
              </a:rPr>
              <a:t>pakļautības iestāde</a:t>
            </a:r>
          </a:p>
          <a:p>
            <a:pPr defTabSz="682749" eaLnBrk="0" hangingPunct="0">
              <a:defRPr/>
            </a:pPr>
            <a:r>
              <a:rPr lang="lv-LV" sz="1400" kern="0">
                <a:solidFill>
                  <a:schemeClr val="tx1"/>
                </a:solidFill>
              </a:rPr>
              <a:t>VUGD, sadarbība ar</a:t>
            </a:r>
            <a:r>
              <a:rPr lang="en-GB" sz="1400" kern="0">
                <a:solidFill>
                  <a:schemeClr val="tx1"/>
                </a:solidFill>
              </a:rPr>
              <a:t> </a:t>
            </a:r>
            <a:r>
              <a:rPr lang="lv-LV" sz="1400" kern="0">
                <a:solidFill>
                  <a:schemeClr val="tx1"/>
                </a:solidFill>
              </a:rPr>
              <a:t>citām iestādēm izstrādā </a:t>
            </a:r>
            <a:r>
              <a:rPr lang="lv-LV" sz="1400" kern="0"/>
              <a:t>Valsts civilās aizsardzības plānu</a:t>
            </a:r>
            <a:r>
              <a:rPr lang="lv-LV" sz="1400" kern="0">
                <a:solidFill>
                  <a:schemeClr val="tx1"/>
                </a:solidFill>
              </a:rPr>
              <a:t>.</a:t>
            </a:r>
          </a:p>
        </p:txBody>
      </p:sp>
      <p:grpSp>
        <p:nvGrpSpPr>
          <p:cNvPr id="55" name="Group 54">
            <a:extLst>
              <a:ext uri="{FF2B5EF4-FFF2-40B4-BE49-F238E27FC236}">
                <a16:creationId xmlns:a16="http://schemas.microsoft.com/office/drawing/2014/main" id="{5A08E9D9-732E-C3C0-E6FC-71325A279E1C}"/>
              </a:ext>
            </a:extLst>
          </p:cNvPr>
          <p:cNvGrpSpPr/>
          <p:nvPr/>
        </p:nvGrpSpPr>
        <p:grpSpPr>
          <a:xfrm rot="16200000" flipH="1">
            <a:off x="6150015" y="2963702"/>
            <a:ext cx="108000" cy="249855"/>
            <a:chOff x="1056677" y="3860957"/>
            <a:chExt cx="108000" cy="252000"/>
          </a:xfrm>
        </p:grpSpPr>
        <p:cxnSp>
          <p:nvCxnSpPr>
            <p:cNvPr id="84" name="Straight Connector 83">
              <a:extLst>
                <a:ext uri="{FF2B5EF4-FFF2-40B4-BE49-F238E27FC236}">
                  <a16:creationId xmlns:a16="http://schemas.microsoft.com/office/drawing/2014/main" id="{EAFBB775-E192-4493-6DD2-71A33AE19A62}"/>
                </a:ext>
              </a:extLst>
            </p:cNvPr>
            <p:cNvCxnSpPr/>
            <p:nvPr/>
          </p:nvCxnSpPr>
          <p:spPr>
            <a:xfrm flipV="1">
              <a:off x="1110677" y="3968957"/>
              <a:ext cx="0" cy="144000"/>
            </a:xfrm>
            <a:prstGeom prst="line">
              <a:avLst/>
            </a:prstGeom>
            <a:ln w="19050" cap="rnd">
              <a:solidFill>
                <a:srgbClr val="A8192D"/>
              </a:solidFill>
              <a:prstDash val="sysDot"/>
            </a:ln>
          </p:spPr>
          <p:style>
            <a:lnRef idx="1">
              <a:schemeClr val="accent1"/>
            </a:lnRef>
            <a:fillRef idx="0">
              <a:schemeClr val="accent1"/>
            </a:fillRef>
            <a:effectRef idx="0">
              <a:schemeClr val="accent1"/>
            </a:effectRef>
            <a:fontRef idx="minor">
              <a:schemeClr val="tx1"/>
            </a:fontRef>
          </p:style>
        </p:cxnSp>
        <p:sp>
          <p:nvSpPr>
            <p:cNvPr id="85" name="Oval 84">
              <a:extLst>
                <a:ext uri="{FF2B5EF4-FFF2-40B4-BE49-F238E27FC236}">
                  <a16:creationId xmlns:a16="http://schemas.microsoft.com/office/drawing/2014/main" id="{C56A56B5-3B29-08D0-76E3-EAA99ED17DDB}"/>
                </a:ext>
              </a:extLst>
            </p:cNvPr>
            <p:cNvSpPr/>
            <p:nvPr/>
          </p:nvSpPr>
          <p:spPr bwMode="ltGray">
            <a:xfrm>
              <a:off x="1056677" y="3860957"/>
              <a:ext cx="108000" cy="108000"/>
            </a:xfrm>
            <a:prstGeom prst="ellipse">
              <a:avLst/>
            </a:prstGeom>
            <a:solidFill>
              <a:schemeClr val="bg1"/>
            </a:solidFill>
            <a:ln w="28575">
              <a:solidFill>
                <a:srgbClr val="A819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lv-LV" sz="900">
                <a:solidFill>
                  <a:schemeClr val="bg1"/>
                </a:solidFill>
              </a:endParaRPr>
            </a:p>
          </p:txBody>
        </p:sp>
      </p:grpSp>
      <p:grpSp>
        <p:nvGrpSpPr>
          <p:cNvPr id="56" name="Group 55">
            <a:extLst>
              <a:ext uri="{FF2B5EF4-FFF2-40B4-BE49-F238E27FC236}">
                <a16:creationId xmlns:a16="http://schemas.microsoft.com/office/drawing/2014/main" id="{AA7B7E6B-8319-0E2B-CC1C-1DB84B6C9107}"/>
              </a:ext>
            </a:extLst>
          </p:cNvPr>
          <p:cNvGrpSpPr/>
          <p:nvPr/>
        </p:nvGrpSpPr>
        <p:grpSpPr>
          <a:xfrm rot="5400000" flipH="1">
            <a:off x="2150820" y="1707754"/>
            <a:ext cx="108000" cy="249855"/>
            <a:chOff x="1056677" y="3860957"/>
            <a:chExt cx="108000" cy="252000"/>
          </a:xfrm>
        </p:grpSpPr>
        <p:cxnSp>
          <p:nvCxnSpPr>
            <p:cNvPr id="82" name="Straight Connector 81">
              <a:extLst>
                <a:ext uri="{FF2B5EF4-FFF2-40B4-BE49-F238E27FC236}">
                  <a16:creationId xmlns:a16="http://schemas.microsoft.com/office/drawing/2014/main" id="{6A8DF144-E4C6-4901-AF51-E70962D2E0EF}"/>
                </a:ext>
              </a:extLst>
            </p:cNvPr>
            <p:cNvCxnSpPr/>
            <p:nvPr/>
          </p:nvCxnSpPr>
          <p:spPr>
            <a:xfrm flipV="1">
              <a:off x="1110677" y="3968957"/>
              <a:ext cx="0" cy="144000"/>
            </a:xfrm>
            <a:prstGeom prst="line">
              <a:avLst/>
            </a:prstGeom>
            <a:ln w="19050" cap="rnd">
              <a:solidFill>
                <a:srgbClr val="A8192D"/>
              </a:solidFill>
              <a:prstDash val="sysDot"/>
            </a:ln>
          </p:spPr>
          <p:style>
            <a:lnRef idx="1">
              <a:schemeClr val="accent1"/>
            </a:lnRef>
            <a:fillRef idx="0">
              <a:schemeClr val="accent1"/>
            </a:fillRef>
            <a:effectRef idx="0">
              <a:schemeClr val="accent1"/>
            </a:effectRef>
            <a:fontRef idx="minor">
              <a:schemeClr val="tx1"/>
            </a:fontRef>
          </p:style>
        </p:cxnSp>
        <p:sp>
          <p:nvSpPr>
            <p:cNvPr id="83" name="Oval 82">
              <a:extLst>
                <a:ext uri="{FF2B5EF4-FFF2-40B4-BE49-F238E27FC236}">
                  <a16:creationId xmlns:a16="http://schemas.microsoft.com/office/drawing/2014/main" id="{098B0DEF-9C4C-D9EB-9ABE-77BB1C18543C}"/>
                </a:ext>
              </a:extLst>
            </p:cNvPr>
            <p:cNvSpPr/>
            <p:nvPr/>
          </p:nvSpPr>
          <p:spPr bwMode="ltGray">
            <a:xfrm>
              <a:off x="1056677" y="3860957"/>
              <a:ext cx="108000" cy="108000"/>
            </a:xfrm>
            <a:prstGeom prst="ellipse">
              <a:avLst/>
            </a:prstGeom>
            <a:solidFill>
              <a:schemeClr val="bg1"/>
            </a:solidFill>
            <a:ln w="28575">
              <a:solidFill>
                <a:srgbClr val="A819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lv-LV" sz="900">
                <a:solidFill>
                  <a:schemeClr val="bg1"/>
                </a:solidFill>
              </a:endParaRPr>
            </a:p>
          </p:txBody>
        </p:sp>
      </p:grpSp>
      <p:grpSp>
        <p:nvGrpSpPr>
          <p:cNvPr id="57" name="Group 56">
            <a:extLst>
              <a:ext uri="{FF2B5EF4-FFF2-40B4-BE49-F238E27FC236}">
                <a16:creationId xmlns:a16="http://schemas.microsoft.com/office/drawing/2014/main" id="{BA1ACCB5-893B-3A37-D18B-1A8EB31DFE03}"/>
              </a:ext>
            </a:extLst>
          </p:cNvPr>
          <p:cNvGrpSpPr/>
          <p:nvPr/>
        </p:nvGrpSpPr>
        <p:grpSpPr>
          <a:xfrm rot="16200000" flipH="1">
            <a:off x="8130085" y="2570492"/>
            <a:ext cx="108000" cy="349686"/>
            <a:chOff x="1056677" y="3860957"/>
            <a:chExt cx="108000" cy="352688"/>
          </a:xfrm>
        </p:grpSpPr>
        <p:cxnSp>
          <p:nvCxnSpPr>
            <p:cNvPr id="80" name="Straight Connector 79">
              <a:extLst>
                <a:ext uri="{FF2B5EF4-FFF2-40B4-BE49-F238E27FC236}">
                  <a16:creationId xmlns:a16="http://schemas.microsoft.com/office/drawing/2014/main" id="{C6EB53F4-DA12-4D3A-CEB6-63A8A0497EF2}"/>
                </a:ext>
              </a:extLst>
            </p:cNvPr>
            <p:cNvCxnSpPr/>
            <p:nvPr/>
          </p:nvCxnSpPr>
          <p:spPr>
            <a:xfrm flipV="1">
              <a:off x="1110678" y="3968957"/>
              <a:ext cx="0" cy="244688"/>
            </a:xfrm>
            <a:prstGeom prst="line">
              <a:avLst/>
            </a:prstGeom>
            <a:ln w="19050" cap="rnd">
              <a:solidFill>
                <a:srgbClr val="A8192D"/>
              </a:solidFill>
              <a:prstDash val="sysDot"/>
            </a:ln>
          </p:spPr>
          <p:style>
            <a:lnRef idx="1">
              <a:schemeClr val="accent1"/>
            </a:lnRef>
            <a:fillRef idx="0">
              <a:schemeClr val="accent1"/>
            </a:fillRef>
            <a:effectRef idx="0">
              <a:schemeClr val="accent1"/>
            </a:effectRef>
            <a:fontRef idx="minor">
              <a:schemeClr val="tx1"/>
            </a:fontRef>
          </p:style>
        </p:cxnSp>
        <p:sp>
          <p:nvSpPr>
            <p:cNvPr id="81" name="Oval 80">
              <a:extLst>
                <a:ext uri="{FF2B5EF4-FFF2-40B4-BE49-F238E27FC236}">
                  <a16:creationId xmlns:a16="http://schemas.microsoft.com/office/drawing/2014/main" id="{9DDD3AB8-FD12-B219-052F-DDA5F0DD77D3}"/>
                </a:ext>
              </a:extLst>
            </p:cNvPr>
            <p:cNvSpPr/>
            <p:nvPr/>
          </p:nvSpPr>
          <p:spPr bwMode="ltGray">
            <a:xfrm>
              <a:off x="1056677" y="3860957"/>
              <a:ext cx="108000" cy="108000"/>
            </a:xfrm>
            <a:prstGeom prst="ellipse">
              <a:avLst/>
            </a:prstGeom>
            <a:solidFill>
              <a:schemeClr val="bg1"/>
            </a:solidFill>
            <a:ln w="28575">
              <a:solidFill>
                <a:srgbClr val="A819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lv-LV" sz="900">
                <a:solidFill>
                  <a:schemeClr val="bg1"/>
                </a:solidFill>
              </a:endParaRPr>
            </a:p>
          </p:txBody>
        </p:sp>
      </p:grpSp>
      <p:grpSp>
        <p:nvGrpSpPr>
          <p:cNvPr id="58" name="Group 57">
            <a:extLst>
              <a:ext uri="{FF2B5EF4-FFF2-40B4-BE49-F238E27FC236}">
                <a16:creationId xmlns:a16="http://schemas.microsoft.com/office/drawing/2014/main" id="{6EC27B63-BDDA-61E7-C413-9296D3BA9668}"/>
              </a:ext>
            </a:extLst>
          </p:cNvPr>
          <p:cNvGrpSpPr/>
          <p:nvPr/>
        </p:nvGrpSpPr>
        <p:grpSpPr>
          <a:xfrm rot="5400000" flipH="1">
            <a:off x="4053172" y="2636573"/>
            <a:ext cx="108000" cy="249855"/>
            <a:chOff x="1056677" y="3860957"/>
            <a:chExt cx="108000" cy="252000"/>
          </a:xfrm>
        </p:grpSpPr>
        <p:cxnSp>
          <p:nvCxnSpPr>
            <p:cNvPr id="78" name="Straight Connector 77">
              <a:extLst>
                <a:ext uri="{FF2B5EF4-FFF2-40B4-BE49-F238E27FC236}">
                  <a16:creationId xmlns:a16="http://schemas.microsoft.com/office/drawing/2014/main" id="{8C1E9DCB-DC1F-5B4F-C68B-DC05F7ACA2E9}"/>
                </a:ext>
              </a:extLst>
            </p:cNvPr>
            <p:cNvCxnSpPr/>
            <p:nvPr/>
          </p:nvCxnSpPr>
          <p:spPr>
            <a:xfrm flipV="1">
              <a:off x="1110677" y="3968957"/>
              <a:ext cx="0" cy="144000"/>
            </a:xfrm>
            <a:prstGeom prst="line">
              <a:avLst/>
            </a:prstGeom>
            <a:ln w="19050" cap="rnd">
              <a:solidFill>
                <a:srgbClr val="A8192D"/>
              </a:solidFill>
              <a:prstDash val="sysDot"/>
            </a:ln>
          </p:spPr>
          <p:style>
            <a:lnRef idx="1">
              <a:schemeClr val="accent1"/>
            </a:lnRef>
            <a:fillRef idx="0">
              <a:schemeClr val="accent1"/>
            </a:fillRef>
            <a:effectRef idx="0">
              <a:schemeClr val="accent1"/>
            </a:effectRef>
            <a:fontRef idx="minor">
              <a:schemeClr val="tx1"/>
            </a:fontRef>
          </p:style>
        </p:cxnSp>
        <p:sp>
          <p:nvSpPr>
            <p:cNvPr id="79" name="Oval 78">
              <a:extLst>
                <a:ext uri="{FF2B5EF4-FFF2-40B4-BE49-F238E27FC236}">
                  <a16:creationId xmlns:a16="http://schemas.microsoft.com/office/drawing/2014/main" id="{937035FB-F9C7-E609-9E8C-BB770159949E}"/>
                </a:ext>
              </a:extLst>
            </p:cNvPr>
            <p:cNvSpPr/>
            <p:nvPr/>
          </p:nvSpPr>
          <p:spPr bwMode="ltGray">
            <a:xfrm>
              <a:off x="1056677" y="3860957"/>
              <a:ext cx="108000" cy="108000"/>
            </a:xfrm>
            <a:prstGeom prst="ellipse">
              <a:avLst/>
            </a:prstGeom>
            <a:solidFill>
              <a:schemeClr val="bg1"/>
            </a:solidFill>
            <a:ln w="28575">
              <a:solidFill>
                <a:srgbClr val="A819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lv-LV" sz="900">
                <a:solidFill>
                  <a:schemeClr val="bg1"/>
                </a:solidFill>
              </a:endParaRPr>
            </a:p>
          </p:txBody>
        </p:sp>
      </p:grpSp>
      <p:sp>
        <p:nvSpPr>
          <p:cNvPr id="59" name="Google Shape;1117;p86">
            <a:extLst>
              <a:ext uri="{FF2B5EF4-FFF2-40B4-BE49-F238E27FC236}">
                <a16:creationId xmlns:a16="http://schemas.microsoft.com/office/drawing/2014/main" id="{CE37DEFD-F7E1-1D17-896D-4B833690D0B7}"/>
              </a:ext>
            </a:extLst>
          </p:cNvPr>
          <p:cNvSpPr/>
          <p:nvPr/>
        </p:nvSpPr>
        <p:spPr>
          <a:xfrm>
            <a:off x="2942464" y="1748797"/>
            <a:ext cx="540000" cy="540000"/>
          </a:xfrm>
          <a:custGeom>
            <a:avLst/>
            <a:gdLst/>
            <a:ahLst/>
            <a:cxnLst/>
            <a:rect l="l" t="t" r="r" b="b"/>
            <a:pathLst>
              <a:path w="456085" h="455929" extrusionOk="0">
                <a:moveTo>
                  <a:pt x="456086" y="0"/>
                </a:moveTo>
                <a:lnTo>
                  <a:pt x="0" y="0"/>
                </a:lnTo>
                <a:lnTo>
                  <a:pt x="0" y="455930"/>
                </a:lnTo>
                <a:lnTo>
                  <a:pt x="126184" y="455930"/>
                </a:lnTo>
                <a:lnTo>
                  <a:pt x="126184" y="455930"/>
                </a:lnTo>
                <a:lnTo>
                  <a:pt x="126184" y="455930"/>
                </a:lnTo>
                <a:lnTo>
                  <a:pt x="455864" y="455930"/>
                </a:lnTo>
                <a:close/>
                <a:moveTo>
                  <a:pt x="19447" y="432785"/>
                </a:moveTo>
                <a:cubicBezTo>
                  <a:pt x="35283" y="417144"/>
                  <a:pt x="132487" y="320829"/>
                  <a:pt x="141609" y="311679"/>
                </a:cubicBezTo>
                <a:cubicBezTo>
                  <a:pt x="143667" y="309621"/>
                  <a:pt x="145409" y="307784"/>
                  <a:pt x="146929" y="306138"/>
                </a:cubicBezTo>
                <a:cubicBezTo>
                  <a:pt x="152377" y="300281"/>
                  <a:pt x="152852" y="299806"/>
                  <a:pt x="157920" y="299806"/>
                </a:cubicBezTo>
                <a:lnTo>
                  <a:pt x="254711" y="299806"/>
                </a:lnTo>
                <a:lnTo>
                  <a:pt x="255915" y="299806"/>
                </a:lnTo>
                <a:cubicBezTo>
                  <a:pt x="255915" y="299806"/>
                  <a:pt x="269471" y="298507"/>
                  <a:pt x="272923" y="305156"/>
                </a:cubicBezTo>
                <a:cubicBezTo>
                  <a:pt x="275172" y="310194"/>
                  <a:pt x="274855" y="316001"/>
                  <a:pt x="272068" y="320766"/>
                </a:cubicBezTo>
                <a:cubicBezTo>
                  <a:pt x="271403" y="321899"/>
                  <a:pt x="270516" y="322881"/>
                  <a:pt x="269471" y="323647"/>
                </a:cubicBezTo>
                <a:cubicBezTo>
                  <a:pt x="265322" y="324689"/>
                  <a:pt x="261046" y="325053"/>
                  <a:pt x="256802" y="324723"/>
                </a:cubicBezTo>
                <a:lnTo>
                  <a:pt x="253033" y="324723"/>
                </a:lnTo>
                <a:lnTo>
                  <a:pt x="167232" y="324723"/>
                </a:lnTo>
                <a:lnTo>
                  <a:pt x="167232" y="344195"/>
                </a:lnTo>
                <a:lnTo>
                  <a:pt x="253033" y="344195"/>
                </a:lnTo>
                <a:lnTo>
                  <a:pt x="256200" y="344195"/>
                </a:lnTo>
                <a:cubicBezTo>
                  <a:pt x="259842" y="344373"/>
                  <a:pt x="263485" y="344265"/>
                  <a:pt x="267095" y="343879"/>
                </a:cubicBezTo>
                <a:cubicBezTo>
                  <a:pt x="270389" y="343863"/>
                  <a:pt x="273620" y="343151"/>
                  <a:pt x="276597" y="341789"/>
                </a:cubicBezTo>
                <a:cubicBezTo>
                  <a:pt x="287303" y="338370"/>
                  <a:pt x="299750" y="330518"/>
                  <a:pt x="315523" y="313009"/>
                </a:cubicBezTo>
                <a:cubicBezTo>
                  <a:pt x="341494" y="284260"/>
                  <a:pt x="370316" y="257727"/>
                  <a:pt x="381180" y="247754"/>
                </a:cubicBezTo>
                <a:lnTo>
                  <a:pt x="383904" y="245221"/>
                </a:lnTo>
                <a:cubicBezTo>
                  <a:pt x="387198" y="242308"/>
                  <a:pt x="391474" y="240737"/>
                  <a:pt x="395876" y="240820"/>
                </a:cubicBezTo>
                <a:cubicBezTo>
                  <a:pt x="398442" y="240946"/>
                  <a:pt x="400849" y="242197"/>
                  <a:pt x="402401" y="244239"/>
                </a:cubicBezTo>
                <a:cubicBezTo>
                  <a:pt x="408514" y="251711"/>
                  <a:pt x="402401" y="260830"/>
                  <a:pt x="400881" y="262286"/>
                </a:cubicBezTo>
                <a:cubicBezTo>
                  <a:pt x="398220" y="265009"/>
                  <a:pt x="383968" y="278877"/>
                  <a:pt x="367466" y="294961"/>
                </a:cubicBezTo>
                <a:cubicBezTo>
                  <a:pt x="339436" y="322222"/>
                  <a:pt x="304564" y="356132"/>
                  <a:pt x="298071" y="362939"/>
                </a:cubicBezTo>
                <a:lnTo>
                  <a:pt x="297818" y="363224"/>
                </a:lnTo>
                <a:cubicBezTo>
                  <a:pt x="292497" y="368828"/>
                  <a:pt x="284420" y="377282"/>
                  <a:pt x="268267" y="377282"/>
                </a:cubicBezTo>
                <a:lnTo>
                  <a:pt x="178697" y="377282"/>
                </a:lnTo>
                <a:lnTo>
                  <a:pt x="118519" y="436521"/>
                </a:lnTo>
                <a:lnTo>
                  <a:pt x="19574" y="436521"/>
                </a:lnTo>
                <a:close/>
                <a:moveTo>
                  <a:pt x="436639" y="436395"/>
                </a:moveTo>
                <a:lnTo>
                  <a:pt x="146169" y="436395"/>
                </a:lnTo>
                <a:lnTo>
                  <a:pt x="186647" y="396627"/>
                </a:lnTo>
                <a:lnTo>
                  <a:pt x="268489" y="396627"/>
                </a:lnTo>
                <a:cubicBezTo>
                  <a:pt x="285307" y="396691"/>
                  <a:pt x="301270" y="389332"/>
                  <a:pt x="312166" y="376522"/>
                </a:cubicBezTo>
                <a:lnTo>
                  <a:pt x="312419" y="376237"/>
                </a:lnTo>
                <a:cubicBezTo>
                  <a:pt x="318753" y="369715"/>
                  <a:pt x="354829" y="334475"/>
                  <a:pt x="381275" y="308766"/>
                </a:cubicBezTo>
                <a:cubicBezTo>
                  <a:pt x="398537" y="291953"/>
                  <a:pt x="412188" y="278687"/>
                  <a:pt x="414975" y="275838"/>
                </a:cubicBezTo>
                <a:cubicBezTo>
                  <a:pt x="423780" y="266909"/>
                  <a:pt x="430431" y="247342"/>
                  <a:pt x="417699" y="231796"/>
                </a:cubicBezTo>
                <a:cubicBezTo>
                  <a:pt x="412726" y="225578"/>
                  <a:pt x="405378" y="221756"/>
                  <a:pt x="397428" y="221284"/>
                </a:cubicBezTo>
                <a:cubicBezTo>
                  <a:pt x="387673" y="220809"/>
                  <a:pt x="378140" y="224226"/>
                  <a:pt x="370887" y="230783"/>
                </a:cubicBezTo>
                <a:lnTo>
                  <a:pt x="368194" y="233252"/>
                </a:lnTo>
                <a:cubicBezTo>
                  <a:pt x="357172" y="243416"/>
                  <a:pt x="327843" y="270392"/>
                  <a:pt x="301302" y="299742"/>
                </a:cubicBezTo>
                <a:cubicBezTo>
                  <a:pt x="298610" y="302687"/>
                  <a:pt x="296076" y="305283"/>
                  <a:pt x="293701" y="307594"/>
                </a:cubicBezTo>
                <a:cubicBezTo>
                  <a:pt x="293289" y="303545"/>
                  <a:pt x="292148" y="299606"/>
                  <a:pt x="290311" y="295975"/>
                </a:cubicBezTo>
                <a:cubicBezTo>
                  <a:pt x="282583" y="281157"/>
                  <a:pt x="264340" y="279067"/>
                  <a:pt x="254205" y="280144"/>
                </a:cubicBezTo>
                <a:lnTo>
                  <a:pt x="157920" y="280144"/>
                </a:lnTo>
                <a:cubicBezTo>
                  <a:pt x="144364" y="280144"/>
                  <a:pt x="138916" y="285938"/>
                  <a:pt x="132582" y="292808"/>
                </a:cubicBezTo>
                <a:cubicBezTo>
                  <a:pt x="131188" y="294296"/>
                  <a:pt x="129636" y="295975"/>
                  <a:pt x="127768" y="297843"/>
                </a:cubicBezTo>
                <a:cubicBezTo>
                  <a:pt x="120134" y="305441"/>
                  <a:pt x="51151" y="373831"/>
                  <a:pt x="19352" y="405303"/>
                </a:cubicBezTo>
                <a:lnTo>
                  <a:pt x="19352" y="19440"/>
                </a:lnTo>
                <a:lnTo>
                  <a:pt x="436544" y="19440"/>
                </a:lnTo>
                <a:close/>
                <a:moveTo>
                  <a:pt x="235075" y="145486"/>
                </a:moveTo>
                <a:lnTo>
                  <a:pt x="235075" y="131618"/>
                </a:lnTo>
                <a:cubicBezTo>
                  <a:pt x="237165" y="132717"/>
                  <a:pt x="238622" y="134753"/>
                  <a:pt x="238970" y="137096"/>
                </a:cubicBezTo>
                <a:lnTo>
                  <a:pt x="238970" y="137539"/>
                </a:lnTo>
                <a:lnTo>
                  <a:pt x="250341" y="136146"/>
                </a:lnTo>
                <a:lnTo>
                  <a:pt x="250341" y="135639"/>
                </a:lnTo>
                <a:cubicBezTo>
                  <a:pt x="249770" y="131995"/>
                  <a:pt x="247965" y="128651"/>
                  <a:pt x="245273" y="126141"/>
                </a:cubicBezTo>
                <a:cubicBezTo>
                  <a:pt x="242391" y="123731"/>
                  <a:pt x="238812" y="122249"/>
                  <a:pt x="235075" y="121898"/>
                </a:cubicBezTo>
                <a:lnTo>
                  <a:pt x="235075" y="118035"/>
                </a:lnTo>
                <a:lnTo>
                  <a:pt x="228106" y="118035"/>
                </a:lnTo>
                <a:lnTo>
                  <a:pt x="228106" y="121898"/>
                </a:lnTo>
                <a:cubicBezTo>
                  <a:pt x="223926" y="122230"/>
                  <a:pt x="219967" y="124010"/>
                  <a:pt x="216957" y="126932"/>
                </a:cubicBezTo>
                <a:cubicBezTo>
                  <a:pt x="214076" y="129832"/>
                  <a:pt x="212492" y="133774"/>
                  <a:pt x="212587" y="137855"/>
                </a:cubicBezTo>
                <a:cubicBezTo>
                  <a:pt x="212492" y="141848"/>
                  <a:pt x="213854" y="145736"/>
                  <a:pt x="216451" y="148779"/>
                </a:cubicBezTo>
                <a:cubicBezTo>
                  <a:pt x="219618" y="152059"/>
                  <a:pt x="223672" y="154348"/>
                  <a:pt x="228106" y="155364"/>
                </a:cubicBezTo>
                <a:lnTo>
                  <a:pt x="228106" y="170277"/>
                </a:lnTo>
                <a:cubicBezTo>
                  <a:pt x="226903" y="169577"/>
                  <a:pt x="225826" y="168653"/>
                  <a:pt x="224939" y="167554"/>
                </a:cubicBezTo>
                <a:cubicBezTo>
                  <a:pt x="223767" y="166063"/>
                  <a:pt x="222944" y="164318"/>
                  <a:pt x="222564" y="162457"/>
                </a:cubicBezTo>
                <a:lnTo>
                  <a:pt x="222564" y="162013"/>
                </a:lnTo>
                <a:lnTo>
                  <a:pt x="210845" y="163217"/>
                </a:lnTo>
                <a:lnTo>
                  <a:pt x="210845" y="163723"/>
                </a:lnTo>
                <a:cubicBezTo>
                  <a:pt x="211383" y="168257"/>
                  <a:pt x="213410" y="172481"/>
                  <a:pt x="216641" y="175723"/>
                </a:cubicBezTo>
                <a:cubicBezTo>
                  <a:pt x="219808" y="178557"/>
                  <a:pt x="223767" y="180320"/>
                  <a:pt x="227980" y="180757"/>
                </a:cubicBezTo>
                <a:lnTo>
                  <a:pt x="227980" y="187818"/>
                </a:lnTo>
                <a:lnTo>
                  <a:pt x="234948" y="187818"/>
                </a:lnTo>
                <a:lnTo>
                  <a:pt x="234948" y="180567"/>
                </a:lnTo>
                <a:cubicBezTo>
                  <a:pt x="239635" y="180048"/>
                  <a:pt x="243974" y="177949"/>
                  <a:pt x="247300" y="174615"/>
                </a:cubicBezTo>
                <a:cubicBezTo>
                  <a:pt x="250341" y="171347"/>
                  <a:pt x="251988" y="167019"/>
                  <a:pt x="251892" y="162552"/>
                </a:cubicBezTo>
                <a:cubicBezTo>
                  <a:pt x="252051" y="158711"/>
                  <a:pt x="250721" y="154956"/>
                  <a:pt x="248218" y="152040"/>
                </a:cubicBezTo>
                <a:cubicBezTo>
                  <a:pt x="244513" y="148687"/>
                  <a:pt x="239984" y="146420"/>
                  <a:pt x="235075" y="145486"/>
                </a:cubicBezTo>
                <a:close/>
                <a:moveTo>
                  <a:pt x="228106" y="143270"/>
                </a:moveTo>
                <a:cubicBezTo>
                  <a:pt x="226934" y="142754"/>
                  <a:pt x="225889" y="141946"/>
                  <a:pt x="225098" y="140927"/>
                </a:cubicBezTo>
                <a:cubicBezTo>
                  <a:pt x="224306" y="139926"/>
                  <a:pt x="223862" y="138688"/>
                  <a:pt x="223862" y="137412"/>
                </a:cubicBezTo>
                <a:cubicBezTo>
                  <a:pt x="223862" y="136032"/>
                  <a:pt x="224337" y="134692"/>
                  <a:pt x="225193" y="133613"/>
                </a:cubicBezTo>
                <a:cubicBezTo>
                  <a:pt x="225984" y="132657"/>
                  <a:pt x="226966" y="131906"/>
                  <a:pt x="228106" y="131428"/>
                </a:cubicBezTo>
                <a:close/>
                <a:moveTo>
                  <a:pt x="239160" y="168599"/>
                </a:moveTo>
                <a:cubicBezTo>
                  <a:pt x="238083" y="169802"/>
                  <a:pt x="236658" y="170641"/>
                  <a:pt x="235075" y="171005"/>
                </a:cubicBezTo>
                <a:lnTo>
                  <a:pt x="235075" y="157264"/>
                </a:lnTo>
                <a:cubicBezTo>
                  <a:pt x="236721" y="157688"/>
                  <a:pt x="238242" y="158553"/>
                  <a:pt x="239445" y="159765"/>
                </a:cubicBezTo>
                <a:cubicBezTo>
                  <a:pt x="240459" y="160912"/>
                  <a:pt x="240997" y="162390"/>
                  <a:pt x="240966" y="163913"/>
                </a:cubicBezTo>
                <a:cubicBezTo>
                  <a:pt x="240997" y="165661"/>
                  <a:pt x="240364" y="167355"/>
                  <a:pt x="239160" y="168631"/>
                </a:cubicBezTo>
                <a:close/>
                <a:moveTo>
                  <a:pt x="263833" y="65793"/>
                </a:moveTo>
                <a:lnTo>
                  <a:pt x="225224" y="104389"/>
                </a:lnTo>
                <a:lnTo>
                  <a:pt x="211446" y="90616"/>
                </a:lnTo>
                <a:lnTo>
                  <a:pt x="224559" y="77508"/>
                </a:lnTo>
                <a:cubicBezTo>
                  <a:pt x="186457" y="82112"/>
                  <a:pt x="157762" y="114397"/>
                  <a:pt x="157666" y="152768"/>
                </a:cubicBezTo>
                <a:cubicBezTo>
                  <a:pt x="157730" y="174349"/>
                  <a:pt x="167137" y="194844"/>
                  <a:pt x="183448" y="208968"/>
                </a:cubicBezTo>
                <a:lnTo>
                  <a:pt x="172204" y="225147"/>
                </a:lnTo>
                <a:cubicBezTo>
                  <a:pt x="150635" y="207296"/>
                  <a:pt x="138156" y="180764"/>
                  <a:pt x="138124" y="152768"/>
                </a:cubicBezTo>
                <a:cubicBezTo>
                  <a:pt x="138061" y="103062"/>
                  <a:pt x="176290" y="61687"/>
                  <a:pt x="225858" y="57783"/>
                </a:cubicBezTo>
                <a:lnTo>
                  <a:pt x="225573" y="55123"/>
                </a:lnTo>
                <a:lnTo>
                  <a:pt x="211446" y="40970"/>
                </a:lnTo>
                <a:lnTo>
                  <a:pt x="225224" y="27198"/>
                </a:lnTo>
                <a:close/>
                <a:moveTo>
                  <a:pt x="237830" y="247279"/>
                </a:moveTo>
                <a:lnTo>
                  <a:pt x="237830" y="248292"/>
                </a:lnTo>
                <a:lnTo>
                  <a:pt x="251861" y="262318"/>
                </a:lnTo>
                <a:lnTo>
                  <a:pt x="238083" y="276091"/>
                </a:lnTo>
                <a:lnTo>
                  <a:pt x="199475" y="237495"/>
                </a:lnTo>
                <a:lnTo>
                  <a:pt x="238083" y="198868"/>
                </a:lnTo>
                <a:lnTo>
                  <a:pt x="251861" y="212641"/>
                </a:lnTo>
                <a:lnTo>
                  <a:pt x="236753" y="227743"/>
                </a:lnTo>
                <a:cubicBezTo>
                  <a:pt x="278307" y="226208"/>
                  <a:pt x="310740" y="191288"/>
                  <a:pt x="309188" y="149751"/>
                </a:cubicBezTo>
                <a:cubicBezTo>
                  <a:pt x="308333" y="125932"/>
                  <a:pt x="296202" y="103936"/>
                  <a:pt x="276534" y="90458"/>
                </a:cubicBezTo>
                <a:lnTo>
                  <a:pt x="287651" y="74469"/>
                </a:lnTo>
                <a:cubicBezTo>
                  <a:pt x="330694" y="104465"/>
                  <a:pt x="341273" y="163669"/>
                  <a:pt x="311279" y="206707"/>
                </a:cubicBezTo>
                <a:cubicBezTo>
                  <a:pt x="294397" y="230922"/>
                  <a:pt x="267190" y="245917"/>
                  <a:pt x="237703" y="247279"/>
                </a:cubicBezTo>
                <a:close/>
              </a:path>
            </a:pathLst>
          </a:custGeom>
          <a:solidFill>
            <a:srgbClr val="A8192D"/>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lv-LV" sz="1800">
              <a:solidFill>
                <a:schemeClr val="dk1"/>
              </a:solidFill>
              <a:latin typeface="Arial"/>
              <a:ea typeface="Arial"/>
              <a:cs typeface="Arial"/>
              <a:sym typeface="Arial"/>
            </a:endParaRPr>
          </a:p>
        </p:txBody>
      </p:sp>
      <p:sp>
        <p:nvSpPr>
          <p:cNvPr id="60" name="Google Shape;1243;p88">
            <a:extLst>
              <a:ext uri="{FF2B5EF4-FFF2-40B4-BE49-F238E27FC236}">
                <a16:creationId xmlns:a16="http://schemas.microsoft.com/office/drawing/2014/main" id="{F3A9469B-C6D4-CEE4-8E04-A57D05ED614E}"/>
              </a:ext>
            </a:extLst>
          </p:cNvPr>
          <p:cNvSpPr/>
          <p:nvPr/>
        </p:nvSpPr>
        <p:spPr>
          <a:xfrm>
            <a:off x="4976910" y="5369517"/>
            <a:ext cx="540000" cy="540000"/>
          </a:xfrm>
          <a:custGeom>
            <a:avLst/>
            <a:gdLst/>
            <a:ahLst/>
            <a:cxnLst/>
            <a:rect l="l" t="t" r="r" b="b"/>
            <a:pathLst>
              <a:path w="704" h="706" extrusionOk="0">
                <a:moveTo>
                  <a:pt x="0" y="0"/>
                </a:moveTo>
                <a:lnTo>
                  <a:pt x="0" y="706"/>
                </a:lnTo>
                <a:lnTo>
                  <a:pt x="704" y="706"/>
                </a:lnTo>
                <a:lnTo>
                  <a:pt x="704" y="0"/>
                </a:lnTo>
                <a:lnTo>
                  <a:pt x="0" y="0"/>
                </a:lnTo>
                <a:close/>
                <a:moveTo>
                  <a:pt x="673" y="675"/>
                </a:moveTo>
                <a:lnTo>
                  <a:pt x="31" y="675"/>
                </a:lnTo>
                <a:lnTo>
                  <a:pt x="31" y="31"/>
                </a:lnTo>
                <a:lnTo>
                  <a:pt x="673" y="31"/>
                </a:lnTo>
                <a:lnTo>
                  <a:pt x="673" y="675"/>
                </a:lnTo>
                <a:close/>
                <a:moveTo>
                  <a:pt x="617" y="93"/>
                </a:moveTo>
                <a:lnTo>
                  <a:pt x="87" y="93"/>
                </a:lnTo>
                <a:lnTo>
                  <a:pt x="87" y="309"/>
                </a:lnTo>
                <a:lnTo>
                  <a:pt x="617" y="309"/>
                </a:lnTo>
                <a:lnTo>
                  <a:pt x="617" y="93"/>
                </a:lnTo>
                <a:close/>
                <a:moveTo>
                  <a:pt x="587" y="278"/>
                </a:moveTo>
                <a:lnTo>
                  <a:pt x="117" y="278"/>
                </a:lnTo>
                <a:lnTo>
                  <a:pt x="117" y="124"/>
                </a:lnTo>
                <a:lnTo>
                  <a:pt x="587" y="124"/>
                </a:lnTo>
                <a:lnTo>
                  <a:pt x="587" y="278"/>
                </a:lnTo>
                <a:close/>
                <a:moveTo>
                  <a:pt x="191" y="357"/>
                </a:moveTo>
                <a:lnTo>
                  <a:pt x="87" y="357"/>
                </a:lnTo>
                <a:lnTo>
                  <a:pt x="87" y="461"/>
                </a:lnTo>
                <a:lnTo>
                  <a:pt x="191" y="461"/>
                </a:lnTo>
                <a:lnTo>
                  <a:pt x="191" y="357"/>
                </a:lnTo>
                <a:close/>
                <a:moveTo>
                  <a:pt x="160" y="430"/>
                </a:moveTo>
                <a:lnTo>
                  <a:pt x="117" y="430"/>
                </a:lnTo>
                <a:lnTo>
                  <a:pt x="117" y="387"/>
                </a:lnTo>
                <a:lnTo>
                  <a:pt x="160" y="387"/>
                </a:lnTo>
                <a:lnTo>
                  <a:pt x="160" y="430"/>
                </a:lnTo>
                <a:close/>
                <a:moveTo>
                  <a:pt x="230" y="461"/>
                </a:moveTo>
                <a:lnTo>
                  <a:pt x="332" y="461"/>
                </a:lnTo>
                <a:lnTo>
                  <a:pt x="332" y="357"/>
                </a:lnTo>
                <a:lnTo>
                  <a:pt x="230" y="357"/>
                </a:lnTo>
                <a:lnTo>
                  <a:pt x="230" y="461"/>
                </a:lnTo>
                <a:close/>
                <a:moveTo>
                  <a:pt x="259" y="387"/>
                </a:moveTo>
                <a:lnTo>
                  <a:pt x="302" y="387"/>
                </a:lnTo>
                <a:lnTo>
                  <a:pt x="302" y="430"/>
                </a:lnTo>
                <a:lnTo>
                  <a:pt x="259" y="430"/>
                </a:lnTo>
                <a:lnTo>
                  <a:pt x="259" y="387"/>
                </a:lnTo>
                <a:close/>
                <a:moveTo>
                  <a:pt x="372" y="461"/>
                </a:moveTo>
                <a:lnTo>
                  <a:pt x="474" y="461"/>
                </a:lnTo>
                <a:lnTo>
                  <a:pt x="474" y="357"/>
                </a:lnTo>
                <a:lnTo>
                  <a:pt x="372" y="357"/>
                </a:lnTo>
                <a:lnTo>
                  <a:pt x="372" y="461"/>
                </a:lnTo>
                <a:close/>
                <a:moveTo>
                  <a:pt x="402" y="387"/>
                </a:moveTo>
                <a:lnTo>
                  <a:pt x="445" y="387"/>
                </a:lnTo>
                <a:lnTo>
                  <a:pt x="445" y="430"/>
                </a:lnTo>
                <a:lnTo>
                  <a:pt x="402" y="430"/>
                </a:lnTo>
                <a:lnTo>
                  <a:pt x="402" y="387"/>
                </a:lnTo>
                <a:close/>
                <a:moveTo>
                  <a:pt x="513" y="461"/>
                </a:moveTo>
                <a:lnTo>
                  <a:pt x="617" y="461"/>
                </a:lnTo>
                <a:lnTo>
                  <a:pt x="617" y="357"/>
                </a:lnTo>
                <a:lnTo>
                  <a:pt x="513" y="357"/>
                </a:lnTo>
                <a:lnTo>
                  <a:pt x="513" y="461"/>
                </a:lnTo>
                <a:close/>
                <a:moveTo>
                  <a:pt x="544" y="387"/>
                </a:moveTo>
                <a:lnTo>
                  <a:pt x="587" y="387"/>
                </a:lnTo>
                <a:lnTo>
                  <a:pt x="587" y="430"/>
                </a:lnTo>
                <a:lnTo>
                  <a:pt x="544" y="430"/>
                </a:lnTo>
                <a:lnTo>
                  <a:pt x="544" y="387"/>
                </a:lnTo>
                <a:close/>
                <a:moveTo>
                  <a:pt x="191" y="509"/>
                </a:moveTo>
                <a:lnTo>
                  <a:pt x="87" y="509"/>
                </a:lnTo>
                <a:lnTo>
                  <a:pt x="87" y="613"/>
                </a:lnTo>
                <a:lnTo>
                  <a:pt x="191" y="613"/>
                </a:lnTo>
                <a:lnTo>
                  <a:pt x="191" y="509"/>
                </a:lnTo>
                <a:close/>
                <a:moveTo>
                  <a:pt x="160" y="582"/>
                </a:moveTo>
                <a:lnTo>
                  <a:pt x="117" y="582"/>
                </a:lnTo>
                <a:lnTo>
                  <a:pt x="117" y="539"/>
                </a:lnTo>
                <a:lnTo>
                  <a:pt x="160" y="539"/>
                </a:lnTo>
                <a:lnTo>
                  <a:pt x="160" y="582"/>
                </a:lnTo>
                <a:close/>
                <a:moveTo>
                  <a:pt x="230" y="613"/>
                </a:moveTo>
                <a:lnTo>
                  <a:pt x="332" y="613"/>
                </a:lnTo>
                <a:lnTo>
                  <a:pt x="332" y="509"/>
                </a:lnTo>
                <a:lnTo>
                  <a:pt x="230" y="509"/>
                </a:lnTo>
                <a:lnTo>
                  <a:pt x="230" y="613"/>
                </a:lnTo>
                <a:close/>
                <a:moveTo>
                  <a:pt x="259" y="539"/>
                </a:moveTo>
                <a:lnTo>
                  <a:pt x="302" y="539"/>
                </a:lnTo>
                <a:lnTo>
                  <a:pt x="302" y="582"/>
                </a:lnTo>
                <a:lnTo>
                  <a:pt x="259" y="582"/>
                </a:lnTo>
                <a:lnTo>
                  <a:pt x="259" y="539"/>
                </a:lnTo>
                <a:close/>
                <a:moveTo>
                  <a:pt x="372" y="613"/>
                </a:moveTo>
                <a:lnTo>
                  <a:pt x="474" y="613"/>
                </a:lnTo>
                <a:lnTo>
                  <a:pt x="474" y="509"/>
                </a:lnTo>
                <a:lnTo>
                  <a:pt x="372" y="509"/>
                </a:lnTo>
                <a:lnTo>
                  <a:pt x="372" y="613"/>
                </a:lnTo>
                <a:close/>
                <a:moveTo>
                  <a:pt x="402" y="539"/>
                </a:moveTo>
                <a:lnTo>
                  <a:pt x="445" y="539"/>
                </a:lnTo>
                <a:lnTo>
                  <a:pt x="445" y="582"/>
                </a:lnTo>
                <a:lnTo>
                  <a:pt x="402" y="582"/>
                </a:lnTo>
                <a:lnTo>
                  <a:pt x="402" y="539"/>
                </a:lnTo>
                <a:close/>
                <a:moveTo>
                  <a:pt x="513" y="613"/>
                </a:moveTo>
                <a:lnTo>
                  <a:pt x="617" y="613"/>
                </a:lnTo>
                <a:lnTo>
                  <a:pt x="617" y="509"/>
                </a:lnTo>
                <a:lnTo>
                  <a:pt x="513" y="509"/>
                </a:lnTo>
                <a:lnTo>
                  <a:pt x="513" y="613"/>
                </a:lnTo>
                <a:close/>
                <a:moveTo>
                  <a:pt x="544" y="539"/>
                </a:moveTo>
                <a:lnTo>
                  <a:pt x="587" y="539"/>
                </a:lnTo>
                <a:lnTo>
                  <a:pt x="587" y="582"/>
                </a:lnTo>
                <a:lnTo>
                  <a:pt x="544" y="582"/>
                </a:lnTo>
                <a:lnTo>
                  <a:pt x="544" y="539"/>
                </a:lnTo>
                <a:close/>
              </a:path>
            </a:pathLst>
          </a:custGeom>
          <a:solidFill>
            <a:srgbClr val="A8192D"/>
          </a:solidFill>
          <a:ln>
            <a:noFill/>
          </a:ln>
        </p:spPr>
        <p:txBody>
          <a:bodyPr spcFirstLastPara="1" wrap="square" lIns="91425" tIns="45700" rIns="91425" bIns="4570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61" name="Google Shape;1922;p95">
            <a:extLst>
              <a:ext uri="{FF2B5EF4-FFF2-40B4-BE49-F238E27FC236}">
                <a16:creationId xmlns:a16="http://schemas.microsoft.com/office/drawing/2014/main" id="{9BADE996-6B0E-D4E1-5041-CC505899D892}"/>
              </a:ext>
            </a:extLst>
          </p:cNvPr>
          <p:cNvSpPr/>
          <p:nvPr/>
        </p:nvSpPr>
        <p:spPr>
          <a:xfrm>
            <a:off x="1059325" y="3895616"/>
            <a:ext cx="540000" cy="540000"/>
          </a:xfrm>
          <a:custGeom>
            <a:avLst/>
            <a:gdLst/>
            <a:ahLst/>
            <a:cxnLst/>
            <a:rect l="l" t="t" r="r" b="b"/>
            <a:pathLst>
              <a:path w="576" h="576" extrusionOk="0">
                <a:moveTo>
                  <a:pt x="127" y="486"/>
                </a:moveTo>
                <a:cubicBezTo>
                  <a:pt x="145" y="486"/>
                  <a:pt x="159" y="501"/>
                  <a:pt x="159" y="519"/>
                </a:cubicBezTo>
                <a:cubicBezTo>
                  <a:pt x="159" y="537"/>
                  <a:pt x="145" y="552"/>
                  <a:pt x="127" y="552"/>
                </a:cubicBezTo>
                <a:cubicBezTo>
                  <a:pt x="108" y="552"/>
                  <a:pt x="94" y="537"/>
                  <a:pt x="94" y="519"/>
                </a:cubicBezTo>
                <a:cubicBezTo>
                  <a:pt x="94" y="501"/>
                  <a:pt x="108" y="486"/>
                  <a:pt x="127" y="486"/>
                </a:cubicBezTo>
                <a:moveTo>
                  <a:pt x="127" y="461"/>
                </a:moveTo>
                <a:cubicBezTo>
                  <a:pt x="95" y="461"/>
                  <a:pt x="69" y="487"/>
                  <a:pt x="69" y="519"/>
                </a:cubicBezTo>
                <a:cubicBezTo>
                  <a:pt x="69" y="551"/>
                  <a:pt x="95" y="576"/>
                  <a:pt x="127" y="576"/>
                </a:cubicBezTo>
                <a:cubicBezTo>
                  <a:pt x="158" y="576"/>
                  <a:pt x="184" y="551"/>
                  <a:pt x="184" y="519"/>
                </a:cubicBezTo>
                <a:cubicBezTo>
                  <a:pt x="184" y="487"/>
                  <a:pt x="158" y="461"/>
                  <a:pt x="127" y="461"/>
                </a:cubicBezTo>
                <a:close/>
                <a:moveTo>
                  <a:pt x="441" y="486"/>
                </a:moveTo>
                <a:cubicBezTo>
                  <a:pt x="459" y="486"/>
                  <a:pt x="474" y="501"/>
                  <a:pt x="474" y="519"/>
                </a:cubicBezTo>
                <a:cubicBezTo>
                  <a:pt x="474" y="537"/>
                  <a:pt x="459" y="552"/>
                  <a:pt x="441" y="552"/>
                </a:cubicBezTo>
                <a:cubicBezTo>
                  <a:pt x="423" y="552"/>
                  <a:pt x="408" y="537"/>
                  <a:pt x="408" y="519"/>
                </a:cubicBezTo>
                <a:cubicBezTo>
                  <a:pt x="408" y="501"/>
                  <a:pt x="423" y="486"/>
                  <a:pt x="441" y="486"/>
                </a:cubicBezTo>
                <a:moveTo>
                  <a:pt x="441" y="461"/>
                </a:moveTo>
                <a:cubicBezTo>
                  <a:pt x="409" y="461"/>
                  <a:pt x="384" y="487"/>
                  <a:pt x="384" y="519"/>
                </a:cubicBezTo>
                <a:cubicBezTo>
                  <a:pt x="384" y="551"/>
                  <a:pt x="409" y="576"/>
                  <a:pt x="441" y="576"/>
                </a:cubicBezTo>
                <a:cubicBezTo>
                  <a:pt x="473" y="576"/>
                  <a:pt x="499" y="551"/>
                  <a:pt x="499" y="519"/>
                </a:cubicBezTo>
                <a:cubicBezTo>
                  <a:pt x="499" y="487"/>
                  <a:pt x="473" y="461"/>
                  <a:pt x="441" y="461"/>
                </a:cubicBezTo>
                <a:close/>
                <a:moveTo>
                  <a:pt x="576" y="421"/>
                </a:moveTo>
                <a:cubicBezTo>
                  <a:pt x="25" y="421"/>
                  <a:pt x="25" y="421"/>
                  <a:pt x="25" y="421"/>
                </a:cubicBezTo>
                <a:cubicBezTo>
                  <a:pt x="25" y="0"/>
                  <a:pt x="25" y="0"/>
                  <a:pt x="25" y="0"/>
                </a:cubicBezTo>
                <a:cubicBezTo>
                  <a:pt x="0" y="0"/>
                  <a:pt x="0" y="0"/>
                  <a:pt x="0" y="0"/>
                </a:cubicBezTo>
                <a:cubicBezTo>
                  <a:pt x="0" y="446"/>
                  <a:pt x="0" y="446"/>
                  <a:pt x="0" y="446"/>
                </a:cubicBezTo>
                <a:cubicBezTo>
                  <a:pt x="576" y="446"/>
                  <a:pt x="576" y="446"/>
                  <a:pt x="576" y="446"/>
                </a:cubicBezTo>
                <a:lnTo>
                  <a:pt x="576" y="421"/>
                </a:lnTo>
                <a:close/>
                <a:moveTo>
                  <a:pt x="404" y="25"/>
                </a:moveTo>
                <a:cubicBezTo>
                  <a:pt x="404" y="164"/>
                  <a:pt x="404" y="164"/>
                  <a:pt x="404" y="164"/>
                </a:cubicBezTo>
                <a:cubicBezTo>
                  <a:pt x="72" y="164"/>
                  <a:pt x="72" y="164"/>
                  <a:pt x="72" y="164"/>
                </a:cubicBezTo>
                <a:cubicBezTo>
                  <a:pt x="72" y="25"/>
                  <a:pt x="72" y="25"/>
                  <a:pt x="72" y="25"/>
                </a:cubicBezTo>
                <a:cubicBezTo>
                  <a:pt x="404" y="25"/>
                  <a:pt x="404" y="25"/>
                  <a:pt x="404" y="25"/>
                </a:cubicBezTo>
                <a:moveTo>
                  <a:pt x="429" y="0"/>
                </a:moveTo>
                <a:cubicBezTo>
                  <a:pt x="48" y="0"/>
                  <a:pt x="48" y="0"/>
                  <a:pt x="48" y="0"/>
                </a:cubicBezTo>
                <a:cubicBezTo>
                  <a:pt x="48" y="188"/>
                  <a:pt x="48" y="188"/>
                  <a:pt x="48" y="188"/>
                </a:cubicBezTo>
                <a:cubicBezTo>
                  <a:pt x="429" y="188"/>
                  <a:pt x="429" y="188"/>
                  <a:pt x="429" y="188"/>
                </a:cubicBezTo>
                <a:cubicBezTo>
                  <a:pt x="429" y="0"/>
                  <a:pt x="429" y="0"/>
                  <a:pt x="429" y="0"/>
                </a:cubicBezTo>
                <a:close/>
                <a:moveTo>
                  <a:pt x="494" y="236"/>
                </a:moveTo>
                <a:cubicBezTo>
                  <a:pt x="494" y="375"/>
                  <a:pt x="494" y="375"/>
                  <a:pt x="494" y="375"/>
                </a:cubicBezTo>
                <a:cubicBezTo>
                  <a:pt x="72" y="375"/>
                  <a:pt x="72" y="375"/>
                  <a:pt x="72" y="375"/>
                </a:cubicBezTo>
                <a:cubicBezTo>
                  <a:pt x="72" y="236"/>
                  <a:pt x="72" y="236"/>
                  <a:pt x="72" y="236"/>
                </a:cubicBezTo>
                <a:cubicBezTo>
                  <a:pt x="494" y="236"/>
                  <a:pt x="494" y="236"/>
                  <a:pt x="494" y="236"/>
                </a:cubicBezTo>
                <a:moveTo>
                  <a:pt x="519" y="211"/>
                </a:moveTo>
                <a:cubicBezTo>
                  <a:pt x="48" y="211"/>
                  <a:pt x="48" y="211"/>
                  <a:pt x="48" y="211"/>
                </a:cubicBezTo>
                <a:cubicBezTo>
                  <a:pt x="48" y="399"/>
                  <a:pt x="48" y="399"/>
                  <a:pt x="48" y="399"/>
                </a:cubicBezTo>
                <a:cubicBezTo>
                  <a:pt x="519" y="399"/>
                  <a:pt x="519" y="399"/>
                  <a:pt x="519" y="399"/>
                </a:cubicBezTo>
                <a:cubicBezTo>
                  <a:pt x="519" y="211"/>
                  <a:pt x="519" y="211"/>
                  <a:pt x="519" y="211"/>
                </a:cubicBezTo>
                <a:close/>
                <a:moveTo>
                  <a:pt x="145" y="119"/>
                </a:moveTo>
                <a:cubicBezTo>
                  <a:pt x="98" y="119"/>
                  <a:pt x="98" y="119"/>
                  <a:pt x="98" y="119"/>
                </a:cubicBezTo>
                <a:cubicBezTo>
                  <a:pt x="98" y="144"/>
                  <a:pt x="98" y="144"/>
                  <a:pt x="98" y="144"/>
                </a:cubicBezTo>
                <a:cubicBezTo>
                  <a:pt x="145" y="144"/>
                  <a:pt x="145" y="144"/>
                  <a:pt x="145" y="144"/>
                </a:cubicBezTo>
                <a:lnTo>
                  <a:pt x="145" y="119"/>
                </a:lnTo>
                <a:close/>
                <a:moveTo>
                  <a:pt x="145" y="330"/>
                </a:moveTo>
                <a:cubicBezTo>
                  <a:pt x="98" y="330"/>
                  <a:pt x="98" y="330"/>
                  <a:pt x="98" y="330"/>
                </a:cubicBezTo>
                <a:cubicBezTo>
                  <a:pt x="98" y="355"/>
                  <a:pt x="98" y="355"/>
                  <a:pt x="98" y="355"/>
                </a:cubicBezTo>
                <a:cubicBezTo>
                  <a:pt x="145" y="355"/>
                  <a:pt x="145" y="355"/>
                  <a:pt x="145" y="355"/>
                </a:cubicBezTo>
                <a:lnTo>
                  <a:pt x="145" y="330"/>
                </a:lnTo>
                <a:close/>
              </a:path>
            </a:pathLst>
          </a:custGeom>
          <a:solidFill>
            <a:srgbClr val="A8192D"/>
          </a:solidFill>
          <a:ln>
            <a:noFill/>
          </a:ln>
        </p:spPr>
        <p:txBody>
          <a:bodyPr spcFirstLastPara="1" wrap="square" lIns="91425" tIns="45700" rIns="91425" bIns="4570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sp>
        <p:nvSpPr>
          <p:cNvPr id="62" name="Rectangle 61">
            <a:extLst>
              <a:ext uri="{FF2B5EF4-FFF2-40B4-BE49-F238E27FC236}">
                <a16:creationId xmlns:a16="http://schemas.microsoft.com/office/drawing/2014/main" id="{5FAADB15-4E21-3C09-8DC6-C494DF454908}"/>
              </a:ext>
            </a:extLst>
          </p:cNvPr>
          <p:cNvSpPr>
            <a:spLocks noChangeArrowheads="1"/>
          </p:cNvSpPr>
          <p:nvPr/>
        </p:nvSpPr>
        <p:spPr bwMode="auto">
          <a:xfrm>
            <a:off x="4393044" y="3561305"/>
            <a:ext cx="1707735" cy="129266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2749" eaLnBrk="0" hangingPunct="0">
              <a:defRPr/>
            </a:pPr>
            <a:r>
              <a:rPr lang="lv-LV" sz="1400" kern="0">
                <a:cs typeface="Arial" charset="0"/>
              </a:rPr>
              <a:t>Katastrofu</a:t>
            </a:r>
          </a:p>
          <a:p>
            <a:pPr defTabSz="682749" eaLnBrk="0" hangingPunct="0">
              <a:defRPr/>
            </a:pPr>
            <a:r>
              <a:rPr lang="lv-LV" sz="1400" kern="0">
                <a:cs typeface="Arial" charset="0"/>
              </a:rPr>
              <a:t>Pārvaldīšanas</a:t>
            </a:r>
            <a:r>
              <a:rPr lang="en-US" sz="1400" kern="0">
                <a:cs typeface="Arial" charset="0"/>
              </a:rPr>
              <a:t> </a:t>
            </a:r>
            <a:r>
              <a:rPr lang="lv-LV" sz="1400" kern="0"/>
              <a:t>subjekti izvērtē</a:t>
            </a:r>
          </a:p>
          <a:p>
            <a:pPr defTabSz="682749" eaLnBrk="0" hangingPunct="0">
              <a:defRPr/>
            </a:pPr>
            <a:r>
              <a:rPr lang="lv-LV" sz="1400"/>
              <a:t>Valsts civilās aizsardzības plāna </a:t>
            </a:r>
            <a:r>
              <a:rPr lang="lv-LV" sz="1400" kern="0"/>
              <a:t>izpildi</a:t>
            </a:r>
          </a:p>
        </p:txBody>
      </p:sp>
      <p:grpSp>
        <p:nvGrpSpPr>
          <p:cNvPr id="63" name="Group 62">
            <a:extLst>
              <a:ext uri="{FF2B5EF4-FFF2-40B4-BE49-F238E27FC236}">
                <a16:creationId xmlns:a16="http://schemas.microsoft.com/office/drawing/2014/main" id="{1B8D2600-D139-04F3-5D68-144782AFE9F1}"/>
              </a:ext>
            </a:extLst>
          </p:cNvPr>
          <p:cNvGrpSpPr/>
          <p:nvPr/>
        </p:nvGrpSpPr>
        <p:grpSpPr>
          <a:xfrm rot="16200000" flipH="1">
            <a:off x="4199060" y="3521084"/>
            <a:ext cx="108000" cy="249855"/>
            <a:chOff x="1056677" y="3860957"/>
            <a:chExt cx="108000" cy="252000"/>
          </a:xfrm>
        </p:grpSpPr>
        <p:cxnSp>
          <p:nvCxnSpPr>
            <p:cNvPr id="76" name="Straight Connector 75">
              <a:extLst>
                <a:ext uri="{FF2B5EF4-FFF2-40B4-BE49-F238E27FC236}">
                  <a16:creationId xmlns:a16="http://schemas.microsoft.com/office/drawing/2014/main" id="{0F56C191-0EF8-22B4-FD0F-0002FE86B29A}"/>
                </a:ext>
              </a:extLst>
            </p:cNvPr>
            <p:cNvCxnSpPr/>
            <p:nvPr/>
          </p:nvCxnSpPr>
          <p:spPr>
            <a:xfrm flipV="1">
              <a:off x="1110677" y="3968957"/>
              <a:ext cx="0" cy="144000"/>
            </a:xfrm>
            <a:prstGeom prst="line">
              <a:avLst/>
            </a:prstGeom>
            <a:ln w="19050" cap="rnd">
              <a:solidFill>
                <a:srgbClr val="A8192D"/>
              </a:solidFill>
              <a:prstDash val="sysDot"/>
            </a:ln>
          </p:spPr>
          <p:style>
            <a:lnRef idx="1">
              <a:schemeClr val="accent1"/>
            </a:lnRef>
            <a:fillRef idx="0">
              <a:schemeClr val="accent1"/>
            </a:fillRef>
            <a:effectRef idx="0">
              <a:schemeClr val="accent1"/>
            </a:effectRef>
            <a:fontRef idx="minor">
              <a:schemeClr val="tx1"/>
            </a:fontRef>
          </p:style>
        </p:cxnSp>
        <p:sp>
          <p:nvSpPr>
            <p:cNvPr id="77" name="Oval 76">
              <a:extLst>
                <a:ext uri="{FF2B5EF4-FFF2-40B4-BE49-F238E27FC236}">
                  <a16:creationId xmlns:a16="http://schemas.microsoft.com/office/drawing/2014/main" id="{4C7DD389-13B5-118B-D106-622F87A38A04}"/>
                </a:ext>
              </a:extLst>
            </p:cNvPr>
            <p:cNvSpPr/>
            <p:nvPr/>
          </p:nvSpPr>
          <p:spPr bwMode="ltGray">
            <a:xfrm>
              <a:off x="1056677" y="3860957"/>
              <a:ext cx="108000" cy="108000"/>
            </a:xfrm>
            <a:prstGeom prst="ellipse">
              <a:avLst/>
            </a:prstGeom>
            <a:solidFill>
              <a:schemeClr val="bg1"/>
            </a:solidFill>
            <a:ln w="28575">
              <a:solidFill>
                <a:srgbClr val="A819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lv-LV" sz="900">
                <a:solidFill>
                  <a:schemeClr val="bg1"/>
                </a:solidFill>
              </a:endParaRPr>
            </a:p>
          </p:txBody>
        </p:sp>
      </p:grpSp>
      <p:grpSp>
        <p:nvGrpSpPr>
          <p:cNvPr id="64" name="Google Shape;1359;p89">
            <a:extLst>
              <a:ext uri="{FF2B5EF4-FFF2-40B4-BE49-F238E27FC236}">
                <a16:creationId xmlns:a16="http://schemas.microsoft.com/office/drawing/2014/main" id="{61A85F62-FF91-BD23-93B9-59A5FDE686AE}"/>
              </a:ext>
            </a:extLst>
          </p:cNvPr>
          <p:cNvGrpSpPr/>
          <p:nvPr/>
        </p:nvGrpSpPr>
        <p:grpSpPr>
          <a:xfrm>
            <a:off x="6838899" y="1518453"/>
            <a:ext cx="540000" cy="540000"/>
            <a:chOff x="3530517" y="5322517"/>
            <a:chExt cx="457200" cy="457200"/>
          </a:xfrm>
          <a:solidFill>
            <a:srgbClr val="A8192D"/>
          </a:solidFill>
        </p:grpSpPr>
        <p:sp>
          <p:nvSpPr>
            <p:cNvPr id="72" name="Google Shape;1360;p89">
              <a:extLst>
                <a:ext uri="{FF2B5EF4-FFF2-40B4-BE49-F238E27FC236}">
                  <a16:creationId xmlns:a16="http://schemas.microsoft.com/office/drawing/2014/main" id="{450C77C8-E24B-6C4B-992F-DDBCD1674E1B}"/>
                </a:ext>
              </a:extLst>
            </p:cNvPr>
            <p:cNvSpPr/>
            <p:nvPr/>
          </p:nvSpPr>
          <p:spPr>
            <a:xfrm>
              <a:off x="3530517" y="5322517"/>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73" name="Google Shape;1361;p89">
              <a:extLst>
                <a:ext uri="{FF2B5EF4-FFF2-40B4-BE49-F238E27FC236}">
                  <a16:creationId xmlns:a16="http://schemas.microsoft.com/office/drawing/2014/main" id="{E5E98DE4-279E-5BBE-74E5-9729F7F2F2FB}"/>
                </a:ext>
              </a:extLst>
            </p:cNvPr>
            <p:cNvSpPr/>
            <p:nvPr/>
          </p:nvSpPr>
          <p:spPr>
            <a:xfrm>
              <a:off x="3618337" y="5360165"/>
              <a:ext cx="142811" cy="181204"/>
            </a:xfrm>
            <a:custGeom>
              <a:avLst/>
              <a:gdLst/>
              <a:ahLst/>
              <a:cxnLst/>
              <a:rect l="l" t="t" r="r" b="b"/>
              <a:pathLst>
                <a:path w="142811" h="181204" extrusionOk="0">
                  <a:moveTo>
                    <a:pt x="5366" y="62714"/>
                  </a:moveTo>
                  <a:cubicBezTo>
                    <a:pt x="35985" y="22756"/>
                    <a:pt x="83616" y="-471"/>
                    <a:pt x="133953" y="7"/>
                  </a:cubicBezTo>
                  <a:lnTo>
                    <a:pt x="142812" y="7"/>
                  </a:lnTo>
                  <a:lnTo>
                    <a:pt x="142812" y="181205"/>
                  </a:lnTo>
                  <a:lnTo>
                    <a:pt x="121730" y="164822"/>
                  </a:lnTo>
                  <a:lnTo>
                    <a:pt x="0" y="69953"/>
                  </a:lnTo>
                  <a:close/>
                  <a:moveTo>
                    <a:pt x="25019" y="66809"/>
                  </a:moveTo>
                  <a:lnTo>
                    <a:pt x="125063" y="144978"/>
                  </a:lnTo>
                  <a:lnTo>
                    <a:pt x="125063" y="17978"/>
                  </a:lnTo>
                  <a:cubicBezTo>
                    <a:pt x="86472" y="20012"/>
                    <a:pt x="50364" y="37637"/>
                    <a:pt x="25019" y="66809"/>
                  </a:cubicBezTo>
                  <a:close/>
                </a:path>
              </a:pathLst>
            </a:custGeom>
            <a:grp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74" name="Google Shape;1362;p89">
              <a:extLst>
                <a:ext uri="{FF2B5EF4-FFF2-40B4-BE49-F238E27FC236}">
                  <a16:creationId xmlns:a16="http://schemas.microsoft.com/office/drawing/2014/main" id="{33DA4FEA-714D-2631-251A-8C9959A255E3}"/>
                </a:ext>
              </a:extLst>
            </p:cNvPr>
            <p:cNvSpPr/>
            <p:nvPr/>
          </p:nvSpPr>
          <p:spPr>
            <a:xfrm>
              <a:off x="3707809" y="5412274"/>
              <a:ext cx="240284" cy="326379"/>
            </a:xfrm>
            <a:custGeom>
              <a:avLst/>
              <a:gdLst/>
              <a:ahLst/>
              <a:cxnLst/>
              <a:rect l="l" t="t" r="r" b="b"/>
              <a:pathLst>
                <a:path w="240284" h="326379" extrusionOk="0">
                  <a:moveTo>
                    <a:pt x="0" y="307562"/>
                  </a:moveTo>
                  <a:lnTo>
                    <a:pt x="68231" y="161068"/>
                  </a:lnTo>
                  <a:lnTo>
                    <a:pt x="68231" y="0"/>
                  </a:lnTo>
                  <a:lnTo>
                    <a:pt x="77089" y="0"/>
                  </a:lnTo>
                  <a:cubicBezTo>
                    <a:pt x="151384" y="93"/>
                    <a:pt x="216281" y="50263"/>
                    <a:pt x="235077" y="122142"/>
                  </a:cubicBezTo>
                  <a:cubicBezTo>
                    <a:pt x="238516" y="135470"/>
                    <a:pt x="240265" y="149177"/>
                    <a:pt x="240284" y="162941"/>
                  </a:cubicBezTo>
                  <a:cubicBezTo>
                    <a:pt x="240271" y="175519"/>
                    <a:pt x="238833" y="188056"/>
                    <a:pt x="235998" y="200311"/>
                  </a:cubicBezTo>
                  <a:cubicBezTo>
                    <a:pt x="218732" y="274069"/>
                    <a:pt x="153000" y="326260"/>
                    <a:pt x="77248" y="326358"/>
                  </a:cubicBezTo>
                  <a:cubicBezTo>
                    <a:pt x="53377" y="326755"/>
                    <a:pt x="29749" y="321510"/>
                    <a:pt x="8287" y="311055"/>
                  </a:cubicBezTo>
                  <a:close/>
                  <a:moveTo>
                    <a:pt x="23781" y="298545"/>
                  </a:moveTo>
                  <a:cubicBezTo>
                    <a:pt x="40667" y="305537"/>
                    <a:pt x="58816" y="308962"/>
                    <a:pt x="77089" y="308610"/>
                  </a:cubicBezTo>
                  <a:cubicBezTo>
                    <a:pt x="157394" y="308556"/>
                    <a:pt x="222482" y="243469"/>
                    <a:pt x="222536" y="163163"/>
                  </a:cubicBezTo>
                  <a:cubicBezTo>
                    <a:pt x="222523" y="150836"/>
                    <a:pt x="220967" y="138559"/>
                    <a:pt x="217900" y="126619"/>
                  </a:cubicBezTo>
                  <a:cubicBezTo>
                    <a:pt x="201933" y="65795"/>
                    <a:pt x="148742" y="22079"/>
                    <a:pt x="85979" y="18193"/>
                  </a:cubicBezTo>
                  <a:lnTo>
                    <a:pt x="85979" y="163163"/>
                  </a:lnTo>
                  <a:cubicBezTo>
                    <a:pt x="85978" y="164457"/>
                    <a:pt x="85696" y="165735"/>
                    <a:pt x="85154" y="166910"/>
                  </a:cubicBezTo>
                  <a:close/>
                </a:path>
              </a:pathLst>
            </a:custGeom>
            <a:grp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75" name="Google Shape;1363;p89">
              <a:extLst>
                <a:ext uri="{FF2B5EF4-FFF2-40B4-BE49-F238E27FC236}">
                  <a16:creationId xmlns:a16="http://schemas.microsoft.com/office/drawing/2014/main" id="{8603E3C6-B991-762E-013E-4BF29BBDC9C8}"/>
                </a:ext>
              </a:extLst>
            </p:cNvPr>
            <p:cNvSpPr/>
            <p:nvPr/>
          </p:nvSpPr>
          <p:spPr>
            <a:xfrm>
              <a:off x="3571280" y="5447326"/>
              <a:ext cx="195837" cy="284003"/>
            </a:xfrm>
            <a:custGeom>
              <a:avLst/>
              <a:gdLst/>
              <a:ahLst/>
              <a:cxnLst/>
              <a:rect l="l" t="t" r="r" b="b"/>
              <a:pathLst>
                <a:path w="195837" h="284003" extrusionOk="0">
                  <a:moveTo>
                    <a:pt x="48137" y="0"/>
                  </a:moveTo>
                  <a:lnTo>
                    <a:pt x="36516" y="14033"/>
                  </a:lnTo>
                  <a:cubicBezTo>
                    <a:pt x="28402" y="24295"/>
                    <a:pt x="21538" y="35487"/>
                    <a:pt x="16069" y="47371"/>
                  </a:cubicBezTo>
                  <a:cubicBezTo>
                    <a:pt x="14672" y="50546"/>
                    <a:pt x="13307" y="53721"/>
                    <a:pt x="11815" y="57404"/>
                  </a:cubicBezTo>
                  <a:cubicBezTo>
                    <a:pt x="10926" y="59690"/>
                    <a:pt x="10037" y="62071"/>
                    <a:pt x="9084" y="64897"/>
                  </a:cubicBezTo>
                  <a:lnTo>
                    <a:pt x="8036" y="67024"/>
                  </a:lnTo>
                  <a:lnTo>
                    <a:pt x="8036" y="68104"/>
                  </a:lnTo>
                  <a:cubicBezTo>
                    <a:pt x="5329" y="76651"/>
                    <a:pt x="3301" y="85399"/>
                    <a:pt x="1972" y="94266"/>
                  </a:cubicBezTo>
                  <a:cubicBezTo>
                    <a:pt x="1432" y="97790"/>
                    <a:pt x="988" y="101537"/>
                    <a:pt x="607" y="106077"/>
                  </a:cubicBezTo>
                  <a:cubicBezTo>
                    <a:pt x="-26" y="113765"/>
                    <a:pt x="-164" y="121485"/>
                    <a:pt x="194" y="129191"/>
                  </a:cubicBezTo>
                  <a:cubicBezTo>
                    <a:pt x="448" y="133953"/>
                    <a:pt x="956" y="138970"/>
                    <a:pt x="1655" y="144113"/>
                  </a:cubicBezTo>
                  <a:cubicBezTo>
                    <a:pt x="3324" y="156274"/>
                    <a:pt x="6305" y="168218"/>
                    <a:pt x="10545" y="179737"/>
                  </a:cubicBezTo>
                  <a:cubicBezTo>
                    <a:pt x="12323" y="184594"/>
                    <a:pt x="14132" y="189008"/>
                    <a:pt x="16133" y="193262"/>
                  </a:cubicBezTo>
                  <a:cubicBezTo>
                    <a:pt x="19360" y="200181"/>
                    <a:pt x="23029" y="206883"/>
                    <a:pt x="27118" y="213328"/>
                  </a:cubicBezTo>
                  <a:cubicBezTo>
                    <a:pt x="29468" y="216980"/>
                    <a:pt x="31500" y="219964"/>
                    <a:pt x="33468" y="222853"/>
                  </a:cubicBezTo>
                  <a:cubicBezTo>
                    <a:pt x="39192" y="230597"/>
                    <a:pt x="45565" y="237842"/>
                    <a:pt x="52518" y="244507"/>
                  </a:cubicBezTo>
                  <a:lnTo>
                    <a:pt x="54391" y="246317"/>
                  </a:lnTo>
                  <a:lnTo>
                    <a:pt x="54391" y="246317"/>
                  </a:lnTo>
                  <a:cubicBezTo>
                    <a:pt x="56519" y="248348"/>
                    <a:pt x="58551" y="250158"/>
                    <a:pt x="60741" y="251905"/>
                  </a:cubicBezTo>
                  <a:cubicBezTo>
                    <a:pt x="72582" y="262020"/>
                    <a:pt x="85740" y="270478"/>
                    <a:pt x="99857" y="277051"/>
                  </a:cubicBezTo>
                  <a:lnTo>
                    <a:pt x="116463" y="284004"/>
                  </a:lnTo>
                  <a:lnTo>
                    <a:pt x="195838" y="114903"/>
                  </a:lnTo>
                  <a:close/>
                  <a:moveTo>
                    <a:pt x="29626" y="64389"/>
                  </a:moveTo>
                  <a:cubicBezTo>
                    <a:pt x="30992" y="60928"/>
                    <a:pt x="32198" y="58039"/>
                    <a:pt x="33436" y="55404"/>
                  </a:cubicBezTo>
                  <a:cubicBezTo>
                    <a:pt x="38182" y="45075"/>
                    <a:pt x="44117" y="35336"/>
                    <a:pt x="51121" y="26384"/>
                  </a:cubicBezTo>
                  <a:lnTo>
                    <a:pt x="72044" y="42704"/>
                  </a:lnTo>
                  <a:lnTo>
                    <a:pt x="27912" y="69024"/>
                  </a:lnTo>
                  <a:cubicBezTo>
                    <a:pt x="28515" y="67373"/>
                    <a:pt x="29087" y="65691"/>
                    <a:pt x="29626" y="64389"/>
                  </a:cubicBezTo>
                  <a:close/>
                  <a:moveTo>
                    <a:pt x="19244" y="128111"/>
                  </a:moveTo>
                  <a:cubicBezTo>
                    <a:pt x="18894" y="121328"/>
                    <a:pt x="19000" y="114529"/>
                    <a:pt x="19562" y="107759"/>
                  </a:cubicBezTo>
                  <a:cubicBezTo>
                    <a:pt x="19847" y="104584"/>
                    <a:pt x="20165" y="101409"/>
                    <a:pt x="20514" y="98965"/>
                  </a:cubicBezTo>
                  <a:lnTo>
                    <a:pt x="90618" y="57182"/>
                  </a:lnTo>
                  <a:lnTo>
                    <a:pt x="116399" y="77280"/>
                  </a:lnTo>
                  <a:lnTo>
                    <a:pt x="19752" y="134906"/>
                  </a:lnTo>
                  <a:cubicBezTo>
                    <a:pt x="19562" y="132588"/>
                    <a:pt x="19339" y="130302"/>
                    <a:pt x="19244" y="128111"/>
                  </a:cubicBezTo>
                  <a:close/>
                  <a:moveTo>
                    <a:pt x="33405" y="185261"/>
                  </a:moveTo>
                  <a:cubicBezTo>
                    <a:pt x="31658" y="181515"/>
                    <a:pt x="30039" y="177578"/>
                    <a:pt x="28452" y="173228"/>
                  </a:cubicBezTo>
                  <a:cubicBezTo>
                    <a:pt x="26630" y="168298"/>
                    <a:pt x="25072" y="163274"/>
                    <a:pt x="23784" y="158178"/>
                  </a:cubicBezTo>
                  <a:lnTo>
                    <a:pt x="134909" y="91884"/>
                  </a:lnTo>
                  <a:lnTo>
                    <a:pt x="160690" y="111982"/>
                  </a:lnTo>
                  <a:lnTo>
                    <a:pt x="34389" y="187198"/>
                  </a:lnTo>
                  <a:cubicBezTo>
                    <a:pt x="34071" y="186500"/>
                    <a:pt x="33722" y="185833"/>
                    <a:pt x="33405" y="185134"/>
                  </a:cubicBezTo>
                  <a:close/>
                  <a:moveTo>
                    <a:pt x="48899" y="211519"/>
                  </a:moveTo>
                  <a:cubicBezTo>
                    <a:pt x="47724" y="209931"/>
                    <a:pt x="46549" y="208344"/>
                    <a:pt x="45311" y="206375"/>
                  </a:cubicBezTo>
                  <a:lnTo>
                    <a:pt x="165358" y="134684"/>
                  </a:lnTo>
                  <a:lnTo>
                    <a:pt x="142180" y="183960"/>
                  </a:lnTo>
                  <a:lnTo>
                    <a:pt x="65059" y="229965"/>
                  </a:lnTo>
                  <a:cubicBezTo>
                    <a:pt x="59174" y="224225"/>
                    <a:pt x="53769" y="218015"/>
                    <a:pt x="48899" y="211392"/>
                  </a:cubicBezTo>
                  <a:close/>
                  <a:moveTo>
                    <a:pt x="106811" y="259144"/>
                  </a:moveTo>
                  <a:cubicBezTo>
                    <a:pt x="98404" y="255130"/>
                    <a:pt x="90380" y="250358"/>
                    <a:pt x="82839" y="244888"/>
                  </a:cubicBezTo>
                  <a:lnTo>
                    <a:pt x="125480" y="219488"/>
                  </a:lnTo>
                  <a:close/>
                </a:path>
              </a:pathLst>
            </a:custGeom>
            <a:grp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grpSp>
      <p:sp>
        <p:nvSpPr>
          <p:cNvPr id="70" name="Google Shape;663;p78">
            <a:extLst>
              <a:ext uri="{FF2B5EF4-FFF2-40B4-BE49-F238E27FC236}">
                <a16:creationId xmlns:a16="http://schemas.microsoft.com/office/drawing/2014/main" id="{3F316D1B-3703-9EE0-5513-9FC627F0D3C4}"/>
              </a:ext>
            </a:extLst>
          </p:cNvPr>
          <p:cNvSpPr/>
          <p:nvPr/>
        </p:nvSpPr>
        <p:spPr>
          <a:xfrm>
            <a:off x="10760553" y="3667636"/>
            <a:ext cx="540000" cy="540000"/>
          </a:xfrm>
          <a:custGeom>
            <a:avLst/>
            <a:gdLst/>
            <a:ahLst/>
            <a:cxnLst/>
            <a:rect l="l" t="t" r="r" b="b"/>
            <a:pathLst>
              <a:path w="704" h="705" extrusionOk="0">
                <a:moveTo>
                  <a:pt x="0" y="0"/>
                </a:moveTo>
                <a:lnTo>
                  <a:pt x="0" y="705"/>
                </a:lnTo>
                <a:lnTo>
                  <a:pt x="704" y="705"/>
                </a:lnTo>
                <a:lnTo>
                  <a:pt x="704" y="0"/>
                </a:lnTo>
                <a:lnTo>
                  <a:pt x="0" y="0"/>
                </a:lnTo>
                <a:close/>
                <a:moveTo>
                  <a:pt x="673" y="674"/>
                </a:moveTo>
                <a:lnTo>
                  <a:pt x="31" y="674"/>
                </a:lnTo>
                <a:lnTo>
                  <a:pt x="31" y="31"/>
                </a:lnTo>
                <a:lnTo>
                  <a:pt x="673" y="31"/>
                </a:lnTo>
                <a:lnTo>
                  <a:pt x="673" y="674"/>
                </a:lnTo>
                <a:close/>
                <a:moveTo>
                  <a:pt x="192" y="376"/>
                </a:moveTo>
                <a:lnTo>
                  <a:pt x="65" y="376"/>
                </a:lnTo>
                <a:lnTo>
                  <a:pt x="65" y="625"/>
                </a:lnTo>
                <a:lnTo>
                  <a:pt x="192" y="625"/>
                </a:lnTo>
                <a:lnTo>
                  <a:pt x="192" y="376"/>
                </a:lnTo>
                <a:close/>
                <a:moveTo>
                  <a:pt x="163" y="596"/>
                </a:moveTo>
                <a:lnTo>
                  <a:pt x="94" y="596"/>
                </a:lnTo>
                <a:lnTo>
                  <a:pt x="94" y="406"/>
                </a:lnTo>
                <a:lnTo>
                  <a:pt x="163" y="406"/>
                </a:lnTo>
                <a:lnTo>
                  <a:pt x="163" y="596"/>
                </a:lnTo>
                <a:close/>
                <a:moveTo>
                  <a:pt x="341" y="290"/>
                </a:moveTo>
                <a:lnTo>
                  <a:pt x="214" y="290"/>
                </a:lnTo>
                <a:lnTo>
                  <a:pt x="214" y="625"/>
                </a:lnTo>
                <a:lnTo>
                  <a:pt x="341" y="625"/>
                </a:lnTo>
                <a:lnTo>
                  <a:pt x="341" y="290"/>
                </a:lnTo>
                <a:close/>
                <a:moveTo>
                  <a:pt x="312" y="596"/>
                </a:moveTo>
                <a:lnTo>
                  <a:pt x="243" y="596"/>
                </a:lnTo>
                <a:lnTo>
                  <a:pt x="243" y="319"/>
                </a:lnTo>
                <a:lnTo>
                  <a:pt x="312" y="319"/>
                </a:lnTo>
                <a:lnTo>
                  <a:pt x="312" y="596"/>
                </a:lnTo>
                <a:close/>
                <a:moveTo>
                  <a:pt x="490" y="328"/>
                </a:moveTo>
                <a:lnTo>
                  <a:pt x="363" y="328"/>
                </a:lnTo>
                <a:lnTo>
                  <a:pt x="363" y="625"/>
                </a:lnTo>
                <a:lnTo>
                  <a:pt x="490" y="625"/>
                </a:lnTo>
                <a:lnTo>
                  <a:pt x="490" y="328"/>
                </a:lnTo>
                <a:close/>
                <a:moveTo>
                  <a:pt x="461" y="596"/>
                </a:moveTo>
                <a:lnTo>
                  <a:pt x="392" y="596"/>
                </a:lnTo>
                <a:lnTo>
                  <a:pt x="392" y="357"/>
                </a:lnTo>
                <a:lnTo>
                  <a:pt x="461" y="357"/>
                </a:lnTo>
                <a:lnTo>
                  <a:pt x="461" y="596"/>
                </a:lnTo>
                <a:close/>
                <a:moveTo>
                  <a:pt x="639" y="193"/>
                </a:moveTo>
                <a:lnTo>
                  <a:pt x="512" y="193"/>
                </a:lnTo>
                <a:lnTo>
                  <a:pt x="512" y="625"/>
                </a:lnTo>
                <a:lnTo>
                  <a:pt x="639" y="625"/>
                </a:lnTo>
                <a:lnTo>
                  <a:pt x="639" y="193"/>
                </a:lnTo>
                <a:close/>
                <a:moveTo>
                  <a:pt x="610" y="596"/>
                </a:moveTo>
                <a:lnTo>
                  <a:pt x="541" y="596"/>
                </a:lnTo>
                <a:lnTo>
                  <a:pt x="541" y="224"/>
                </a:lnTo>
                <a:lnTo>
                  <a:pt x="610" y="224"/>
                </a:lnTo>
                <a:lnTo>
                  <a:pt x="610" y="596"/>
                </a:lnTo>
                <a:close/>
              </a:path>
            </a:pathLst>
          </a:custGeom>
          <a:solidFill>
            <a:srgbClr val="A8192D"/>
          </a:solidFill>
          <a:ln>
            <a:noFill/>
          </a:ln>
        </p:spPr>
        <p:txBody>
          <a:bodyPr spcFirstLastPara="1" wrap="square" lIns="91425" tIns="45700" rIns="91425" bIns="4570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sp>
        <p:nvSpPr>
          <p:cNvPr id="16" name="Rectangle 15">
            <a:extLst>
              <a:ext uri="{FF2B5EF4-FFF2-40B4-BE49-F238E27FC236}">
                <a16:creationId xmlns:a16="http://schemas.microsoft.com/office/drawing/2014/main" id="{CB1D406E-674B-8D3A-DAA0-4B5BCC9F2219}"/>
              </a:ext>
            </a:extLst>
          </p:cNvPr>
          <p:cNvSpPr/>
          <p:nvPr/>
        </p:nvSpPr>
        <p:spPr>
          <a:xfrm>
            <a:off x="442913" y="1250066"/>
            <a:ext cx="11306174"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 name="Rectangle 2">
            <a:extLst>
              <a:ext uri="{FF2B5EF4-FFF2-40B4-BE49-F238E27FC236}">
                <a16:creationId xmlns:a16="http://schemas.microsoft.com/office/drawing/2014/main" id="{983E351E-2C66-EA47-8CE4-9A865EEAF3D4}"/>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rgbClr val="A4A3B2"/>
                </a:solidFill>
                <a:effectLst/>
                <a:uLnTx/>
                <a:uFillTx/>
                <a:ea typeface="Georgia"/>
                <a:cs typeface="Georgia"/>
                <a:sym typeface="Georgia"/>
              </a:rPr>
              <a:t>2. CIVILĀS AIZSARDZĪBAS SISTĒMA UN NORMATĪVAIS UN POLITIKAS PLĀNOŠANAS IETVARS</a:t>
            </a:r>
          </a:p>
        </p:txBody>
      </p:sp>
      <p:grpSp>
        <p:nvGrpSpPr>
          <p:cNvPr id="24" name="Group 23">
            <a:extLst>
              <a:ext uri="{FF2B5EF4-FFF2-40B4-BE49-F238E27FC236}">
                <a16:creationId xmlns:a16="http://schemas.microsoft.com/office/drawing/2014/main" id="{F563CE39-E9A0-FC8F-917A-CBE225CFC4D4}"/>
              </a:ext>
            </a:extLst>
          </p:cNvPr>
          <p:cNvGrpSpPr/>
          <p:nvPr/>
        </p:nvGrpSpPr>
        <p:grpSpPr>
          <a:xfrm>
            <a:off x="6167418" y="132067"/>
            <a:ext cx="5590962" cy="224022"/>
            <a:chOff x="5385234" y="125533"/>
            <a:chExt cx="5590962" cy="224022"/>
          </a:xfrm>
        </p:grpSpPr>
        <p:sp>
          <p:nvSpPr>
            <p:cNvPr id="7" name="Rectangle 6">
              <a:extLst>
                <a:ext uri="{FF2B5EF4-FFF2-40B4-BE49-F238E27FC236}">
                  <a16:creationId xmlns:a16="http://schemas.microsoft.com/office/drawing/2014/main" id="{69F62C33-1927-0A6F-00AE-03AC8D3D3CFA}"/>
                </a:ext>
              </a:extLst>
            </p:cNvPr>
            <p:cNvSpPr/>
            <p:nvPr/>
          </p:nvSpPr>
          <p:spPr>
            <a:xfrm>
              <a:off x="538523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8" name="Rectangle 7">
              <a:extLst>
                <a:ext uri="{FF2B5EF4-FFF2-40B4-BE49-F238E27FC236}">
                  <a16:creationId xmlns:a16="http://schemas.microsoft.com/office/drawing/2014/main" id="{CC744963-2690-9B00-17FB-3C9BCBF182CD}"/>
                </a:ext>
              </a:extLst>
            </p:cNvPr>
            <p:cNvSpPr/>
            <p:nvPr/>
          </p:nvSpPr>
          <p:spPr>
            <a:xfrm>
              <a:off x="5627061"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9" name="Rectangle 8">
              <a:extLst>
                <a:ext uri="{FF2B5EF4-FFF2-40B4-BE49-F238E27FC236}">
                  <a16:creationId xmlns:a16="http://schemas.microsoft.com/office/drawing/2014/main" id="{53B78FAE-3A9E-B758-4657-DD543A3F5269}"/>
                </a:ext>
              </a:extLst>
            </p:cNvPr>
            <p:cNvSpPr/>
            <p:nvPr/>
          </p:nvSpPr>
          <p:spPr>
            <a:xfrm>
              <a:off x="5868888" y="132067"/>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0" name="Rectangle 9">
              <a:extLst>
                <a:ext uri="{FF2B5EF4-FFF2-40B4-BE49-F238E27FC236}">
                  <a16:creationId xmlns:a16="http://schemas.microsoft.com/office/drawing/2014/main" id="{7610D19B-EB2C-1658-E6CA-6B8C44EAC1A8}"/>
                </a:ext>
              </a:extLst>
            </p:cNvPr>
            <p:cNvSpPr/>
            <p:nvPr/>
          </p:nvSpPr>
          <p:spPr>
            <a:xfrm>
              <a:off x="6352542" y="132067"/>
              <a:ext cx="414000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600"/>
                </a:spcAft>
              </a:pPr>
              <a:r>
                <a:rPr lang="lv-LV" sz="800" b="1">
                  <a:latin typeface="Arial"/>
                  <a:cs typeface="Arial"/>
                </a:rPr>
                <a:t>Civilās aizsardzības pasākumu plānošana</a:t>
              </a:r>
              <a:endParaRPr lang="en-US" sz="800" b="1">
                <a:latin typeface="Arial"/>
                <a:cs typeface="Arial"/>
              </a:endParaRPr>
            </a:p>
          </p:txBody>
        </p:sp>
        <p:sp>
          <p:nvSpPr>
            <p:cNvPr id="11" name="Rectangle 10">
              <a:extLst>
                <a:ext uri="{FF2B5EF4-FFF2-40B4-BE49-F238E27FC236}">
                  <a16:creationId xmlns:a16="http://schemas.microsoft.com/office/drawing/2014/main" id="{3265433B-5271-AD1F-1645-FD906F9C8D99}"/>
                </a:ext>
              </a:extLst>
            </p:cNvPr>
            <p:cNvSpPr/>
            <p:nvPr/>
          </p:nvSpPr>
          <p:spPr>
            <a:xfrm>
              <a:off x="6110715"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4</a:t>
              </a:r>
            </a:p>
          </p:txBody>
        </p:sp>
        <p:sp>
          <p:nvSpPr>
            <p:cNvPr id="12" name="Rectangle 11">
              <a:extLst>
                <a:ext uri="{FF2B5EF4-FFF2-40B4-BE49-F238E27FC236}">
                  <a16:creationId xmlns:a16="http://schemas.microsoft.com/office/drawing/2014/main" id="{F639624E-40DA-ABE0-7EAE-54FF6D0A7C83}"/>
                </a:ext>
              </a:extLst>
            </p:cNvPr>
            <p:cNvSpPr/>
            <p:nvPr/>
          </p:nvSpPr>
          <p:spPr>
            <a:xfrm>
              <a:off x="10518369" y="125533"/>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3" name="Rectangle 22">
              <a:extLst>
                <a:ext uri="{FF2B5EF4-FFF2-40B4-BE49-F238E27FC236}">
                  <a16:creationId xmlns:a16="http://schemas.microsoft.com/office/drawing/2014/main" id="{58F16B33-D138-6E83-D320-97F6A8EB4D80}"/>
                </a:ext>
              </a:extLst>
            </p:cNvPr>
            <p:cNvSpPr/>
            <p:nvPr/>
          </p:nvSpPr>
          <p:spPr>
            <a:xfrm>
              <a:off x="10760196" y="125533"/>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6</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grpSp>
        <p:nvGrpSpPr>
          <p:cNvPr id="5" name="Group 4">
            <a:extLst>
              <a:ext uri="{FF2B5EF4-FFF2-40B4-BE49-F238E27FC236}">
                <a16:creationId xmlns:a16="http://schemas.microsoft.com/office/drawing/2014/main" id="{15306046-6C9A-9941-5987-D1AA6146A04F}"/>
              </a:ext>
            </a:extLst>
          </p:cNvPr>
          <p:cNvGrpSpPr/>
          <p:nvPr/>
        </p:nvGrpSpPr>
        <p:grpSpPr>
          <a:xfrm>
            <a:off x="6399569" y="132067"/>
            <a:ext cx="5349135" cy="224022"/>
            <a:chOff x="6167418" y="132067"/>
            <a:chExt cx="5349135" cy="224022"/>
          </a:xfrm>
        </p:grpSpPr>
        <p:sp>
          <p:nvSpPr>
            <p:cNvPr id="6" name="Rectangle 5">
              <a:extLst>
                <a:ext uri="{FF2B5EF4-FFF2-40B4-BE49-F238E27FC236}">
                  <a16:creationId xmlns:a16="http://schemas.microsoft.com/office/drawing/2014/main" id="{5F0B7C26-8D9E-CC59-8567-E2980A0945D4}"/>
                </a:ext>
              </a:extLst>
            </p:cNvPr>
            <p:cNvSpPr/>
            <p:nvPr/>
          </p:nvSpPr>
          <p:spPr>
            <a:xfrm>
              <a:off x="6167418" y="13860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3" name="Rectangle 12">
              <a:extLst>
                <a:ext uri="{FF2B5EF4-FFF2-40B4-BE49-F238E27FC236}">
                  <a16:creationId xmlns:a16="http://schemas.microsoft.com/office/drawing/2014/main" id="{4BE1B4A9-4FE8-F5A7-C0CE-A273D02BF1C6}"/>
                </a:ext>
              </a:extLst>
            </p:cNvPr>
            <p:cNvSpPr/>
            <p:nvPr/>
          </p:nvSpPr>
          <p:spPr>
            <a:xfrm>
              <a:off x="6409245" y="13860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14" name="Rectangle 13">
              <a:extLst>
                <a:ext uri="{FF2B5EF4-FFF2-40B4-BE49-F238E27FC236}">
                  <a16:creationId xmlns:a16="http://schemas.microsoft.com/office/drawing/2014/main" id="{A958BAF4-7F4B-5FFE-24C3-9AD4192277FF}"/>
                </a:ext>
              </a:extLst>
            </p:cNvPr>
            <p:cNvSpPr/>
            <p:nvPr/>
          </p:nvSpPr>
          <p:spPr>
            <a:xfrm>
              <a:off x="6651072" y="138601"/>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7" name="Rectangle 16">
              <a:extLst>
                <a:ext uri="{FF2B5EF4-FFF2-40B4-BE49-F238E27FC236}">
                  <a16:creationId xmlns:a16="http://schemas.microsoft.com/office/drawing/2014/main" id="{EF4C006A-D7CE-1984-D744-E048DAEF0BAC}"/>
                </a:ext>
              </a:extLst>
            </p:cNvPr>
            <p:cNvSpPr/>
            <p:nvPr/>
          </p:nvSpPr>
          <p:spPr>
            <a:xfrm>
              <a:off x="7134726" y="138601"/>
              <a:ext cx="414000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600"/>
                </a:spcAft>
              </a:pPr>
              <a:r>
                <a:rPr lang="lv-LV" sz="800" b="1">
                  <a:latin typeface="Arial"/>
                  <a:cs typeface="Arial"/>
                </a:rPr>
                <a:t>Civilās aizsardzības pasākumu plānošana</a:t>
              </a:r>
              <a:endParaRPr lang="en-US" sz="800" b="1">
                <a:latin typeface="Arial"/>
                <a:cs typeface="Arial"/>
              </a:endParaRPr>
            </a:p>
          </p:txBody>
        </p:sp>
        <p:sp>
          <p:nvSpPr>
            <p:cNvPr id="18" name="Rectangle 17">
              <a:extLst>
                <a:ext uri="{FF2B5EF4-FFF2-40B4-BE49-F238E27FC236}">
                  <a16:creationId xmlns:a16="http://schemas.microsoft.com/office/drawing/2014/main" id="{59098F7D-FF57-9D6E-2C26-AE1220D68605}"/>
                </a:ext>
              </a:extLst>
            </p:cNvPr>
            <p:cNvSpPr/>
            <p:nvPr/>
          </p:nvSpPr>
          <p:spPr>
            <a:xfrm>
              <a:off x="6892899" y="138601"/>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4</a:t>
              </a:r>
            </a:p>
          </p:txBody>
        </p:sp>
        <p:sp>
          <p:nvSpPr>
            <p:cNvPr id="19" name="Rectangle 18">
              <a:extLst>
                <a:ext uri="{FF2B5EF4-FFF2-40B4-BE49-F238E27FC236}">
                  <a16:creationId xmlns:a16="http://schemas.microsoft.com/office/drawing/2014/main" id="{750694DD-D45A-459D-6ECB-EB36A2626BA9}"/>
                </a:ext>
              </a:extLst>
            </p:cNvPr>
            <p:cNvSpPr/>
            <p:nvPr/>
          </p:nvSpPr>
          <p:spPr>
            <a:xfrm>
              <a:off x="1130055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0610793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B17D7669-20A3-7481-8F23-CD69449C9745}"/>
              </a:ext>
            </a:extLst>
          </p:cNvPr>
          <p:cNvGraphicFramePr>
            <a:graphicFrameLocks noChangeAspect="1"/>
          </p:cNvGraphicFramePr>
          <p:nvPr>
            <p:custDataLst>
              <p:tags r:id="rId1"/>
            </p:custDataLst>
            <p:extLst>
              <p:ext uri="{D42A27DB-BD31-4B8C-83A1-F6EECF244321}">
                <p14:modId xmlns:p14="http://schemas.microsoft.com/office/powerpoint/2010/main" val="1323425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8" name="think-cell data - do not delete" hidden="1">
                        <a:extLst>
                          <a:ext uri="{FF2B5EF4-FFF2-40B4-BE49-F238E27FC236}">
                            <a16:creationId xmlns:a16="http://schemas.microsoft.com/office/drawing/2014/main" id="{B17D7669-20A3-7481-8F23-CD69449C97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8F80B32A-55E9-507D-78BC-6113B4CE3EB1}"/>
              </a:ext>
            </a:extLst>
          </p:cNvPr>
          <p:cNvSpPr>
            <a:spLocks noGrp="1"/>
          </p:cNvSpPr>
          <p:nvPr>
            <p:ph type="sldNum" sz="quarter" idx="11"/>
          </p:nvPr>
        </p:nvSpPr>
        <p:spPr/>
        <p:txBody>
          <a:bodyPr/>
          <a:lstStyle/>
          <a:p>
            <a:fld id="{7870704B-CE94-48CC-AF30-84932A1262A7}" type="slidenum">
              <a:rPr lang="en-GB" smtClean="0"/>
              <a:pPr/>
              <a:t>23</a:t>
            </a:fld>
            <a:endParaRPr lang="en-GB"/>
          </a:p>
        </p:txBody>
      </p:sp>
      <p:sp>
        <p:nvSpPr>
          <p:cNvPr id="2" name="Title 9">
            <a:extLst>
              <a:ext uri="{FF2B5EF4-FFF2-40B4-BE49-F238E27FC236}">
                <a16:creationId xmlns:a16="http://schemas.microsoft.com/office/drawing/2014/main" id="{1299C1A8-38BE-9556-5CBE-67D0E693F9D9}"/>
              </a:ext>
            </a:extLst>
          </p:cNvPr>
          <p:cNvSpPr>
            <a:spLocks noGrp="1"/>
          </p:cNvSpPr>
          <p:nvPr>
            <p:ph type="title"/>
          </p:nvPr>
        </p:nvSpPr>
        <p:spPr>
          <a:xfrm>
            <a:off x="442913" y="432001"/>
            <a:ext cx="11306175" cy="1387274"/>
          </a:xfrm>
        </p:spPr>
        <p:txBody>
          <a:bodyPr vert="horz"/>
          <a:lstStyle/>
          <a:p>
            <a:r>
              <a:rPr lang="lv-LV" altLang="lv-LV"/>
              <a:t>Civilās aizsardzības plānā iekļaujamā informācija</a:t>
            </a:r>
            <a:endParaRPr lang="cs-CZ"/>
          </a:p>
        </p:txBody>
      </p:sp>
      <p:sp>
        <p:nvSpPr>
          <p:cNvPr id="15" name="Rectangle 14">
            <a:extLst>
              <a:ext uri="{FF2B5EF4-FFF2-40B4-BE49-F238E27FC236}">
                <a16:creationId xmlns:a16="http://schemas.microsoft.com/office/drawing/2014/main" id="{5B79C17C-666F-CB52-D0B3-705685972900}"/>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rgbClr val="A4A3B2"/>
                </a:solidFill>
                <a:effectLst/>
                <a:uLnTx/>
                <a:uFillTx/>
                <a:ea typeface="Georgia"/>
                <a:cs typeface="Georgia"/>
                <a:sym typeface="Georgia"/>
              </a:rPr>
              <a:t>2. CIVILĀS AIZSARDZĪBAS SISTĒMA UN NORMATĪVAIS UN POLITIKAS PLĀNOŠANAS IETVARS</a:t>
            </a:r>
          </a:p>
        </p:txBody>
      </p:sp>
      <p:grpSp>
        <p:nvGrpSpPr>
          <p:cNvPr id="135" name="Group 134">
            <a:extLst>
              <a:ext uri="{FF2B5EF4-FFF2-40B4-BE49-F238E27FC236}">
                <a16:creationId xmlns:a16="http://schemas.microsoft.com/office/drawing/2014/main" id="{90DF27BD-9BCC-CAE8-73D7-5818428FEDC5}"/>
              </a:ext>
            </a:extLst>
          </p:cNvPr>
          <p:cNvGrpSpPr/>
          <p:nvPr/>
        </p:nvGrpSpPr>
        <p:grpSpPr>
          <a:xfrm>
            <a:off x="6399569" y="132067"/>
            <a:ext cx="5349135" cy="224022"/>
            <a:chOff x="6167418" y="132067"/>
            <a:chExt cx="5349135" cy="224022"/>
          </a:xfrm>
        </p:grpSpPr>
        <p:sp>
          <p:nvSpPr>
            <p:cNvPr id="17" name="Rectangle 16">
              <a:extLst>
                <a:ext uri="{FF2B5EF4-FFF2-40B4-BE49-F238E27FC236}">
                  <a16:creationId xmlns:a16="http://schemas.microsoft.com/office/drawing/2014/main" id="{63E7A5D7-CFE1-520D-819B-3703E53CBA5E}"/>
                </a:ext>
              </a:extLst>
            </p:cNvPr>
            <p:cNvSpPr/>
            <p:nvPr/>
          </p:nvSpPr>
          <p:spPr>
            <a:xfrm>
              <a:off x="6167418" y="13860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AF00175B-FD76-4FA8-F7C9-6353DF9C6180}"/>
                </a:ext>
              </a:extLst>
            </p:cNvPr>
            <p:cNvSpPr/>
            <p:nvPr/>
          </p:nvSpPr>
          <p:spPr>
            <a:xfrm>
              <a:off x="6409245" y="13860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22" name="Rectangle 21">
              <a:extLst>
                <a:ext uri="{FF2B5EF4-FFF2-40B4-BE49-F238E27FC236}">
                  <a16:creationId xmlns:a16="http://schemas.microsoft.com/office/drawing/2014/main" id="{857FB673-D176-EF67-AF60-57DCFAC4504F}"/>
                </a:ext>
              </a:extLst>
            </p:cNvPr>
            <p:cNvSpPr/>
            <p:nvPr/>
          </p:nvSpPr>
          <p:spPr>
            <a:xfrm>
              <a:off x="6651072" y="138601"/>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3" name="Rectangle 22">
              <a:extLst>
                <a:ext uri="{FF2B5EF4-FFF2-40B4-BE49-F238E27FC236}">
                  <a16:creationId xmlns:a16="http://schemas.microsoft.com/office/drawing/2014/main" id="{E12C62DC-039B-5926-D174-B1A8FEF347F6}"/>
                </a:ext>
              </a:extLst>
            </p:cNvPr>
            <p:cNvSpPr/>
            <p:nvPr/>
          </p:nvSpPr>
          <p:spPr>
            <a:xfrm>
              <a:off x="7134726" y="138601"/>
              <a:ext cx="414000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600"/>
                </a:spcAft>
              </a:pPr>
              <a:r>
                <a:rPr lang="lv-LV" sz="800" b="1">
                  <a:latin typeface="Arial"/>
                  <a:cs typeface="Arial"/>
                </a:rPr>
                <a:t>Civilās aizsardzības pasākumu plānošana</a:t>
              </a:r>
              <a:endParaRPr lang="en-US" sz="800" b="1">
                <a:latin typeface="Arial"/>
                <a:cs typeface="Arial"/>
              </a:endParaRPr>
            </a:p>
          </p:txBody>
        </p:sp>
        <p:sp>
          <p:nvSpPr>
            <p:cNvPr id="24" name="Rectangle 23">
              <a:extLst>
                <a:ext uri="{FF2B5EF4-FFF2-40B4-BE49-F238E27FC236}">
                  <a16:creationId xmlns:a16="http://schemas.microsoft.com/office/drawing/2014/main" id="{2706F6E9-69C2-27CC-E989-8D9A11DBAD98}"/>
                </a:ext>
              </a:extLst>
            </p:cNvPr>
            <p:cNvSpPr/>
            <p:nvPr/>
          </p:nvSpPr>
          <p:spPr>
            <a:xfrm>
              <a:off x="6892899" y="138601"/>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4</a:t>
              </a:r>
            </a:p>
          </p:txBody>
        </p:sp>
        <p:sp>
          <p:nvSpPr>
            <p:cNvPr id="25" name="Rectangle 24">
              <a:extLst>
                <a:ext uri="{FF2B5EF4-FFF2-40B4-BE49-F238E27FC236}">
                  <a16:creationId xmlns:a16="http://schemas.microsoft.com/office/drawing/2014/main" id="{85ED544C-9FDB-E688-FE2E-B5D5B48793F5}"/>
                </a:ext>
              </a:extLst>
            </p:cNvPr>
            <p:cNvSpPr/>
            <p:nvPr/>
          </p:nvSpPr>
          <p:spPr>
            <a:xfrm>
              <a:off x="1130055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grpSp>
        <p:nvGrpSpPr>
          <p:cNvPr id="85" name="Group 84">
            <a:extLst>
              <a:ext uri="{FF2B5EF4-FFF2-40B4-BE49-F238E27FC236}">
                <a16:creationId xmlns:a16="http://schemas.microsoft.com/office/drawing/2014/main" id="{8942B4A7-B037-D953-3055-4B1C05D34065}"/>
              </a:ext>
            </a:extLst>
          </p:cNvPr>
          <p:cNvGrpSpPr/>
          <p:nvPr/>
        </p:nvGrpSpPr>
        <p:grpSpPr>
          <a:xfrm>
            <a:off x="442913" y="5595238"/>
            <a:ext cx="576000" cy="576263"/>
            <a:chOff x="442913" y="5595238"/>
            <a:chExt cx="576000" cy="576263"/>
          </a:xfrm>
        </p:grpSpPr>
        <p:sp>
          <p:nvSpPr>
            <p:cNvPr id="31" name="Rectangle 30">
              <a:extLst>
                <a:ext uri="{FF2B5EF4-FFF2-40B4-BE49-F238E27FC236}">
                  <a16:creationId xmlns:a16="http://schemas.microsoft.com/office/drawing/2014/main" id="{0F8AF3D8-4A36-5BAD-7018-36E6F6AC90A9}"/>
                </a:ext>
              </a:extLst>
            </p:cNvPr>
            <p:cNvSpPr/>
            <p:nvPr/>
          </p:nvSpPr>
          <p:spPr>
            <a:xfrm>
              <a:off x="442913" y="5595238"/>
              <a:ext cx="576000" cy="57626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2" name="L-Shape 31">
              <a:extLst>
                <a:ext uri="{FF2B5EF4-FFF2-40B4-BE49-F238E27FC236}">
                  <a16:creationId xmlns:a16="http://schemas.microsoft.com/office/drawing/2014/main" id="{1D81532B-2339-E2C1-F336-A5A69EE823D2}"/>
                </a:ext>
              </a:extLst>
            </p:cNvPr>
            <p:cNvSpPr/>
            <p:nvPr/>
          </p:nvSpPr>
          <p:spPr>
            <a:xfrm rot="13500000">
              <a:off x="575948" y="5771306"/>
              <a:ext cx="253621"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86" name="Group 85">
            <a:extLst>
              <a:ext uri="{FF2B5EF4-FFF2-40B4-BE49-F238E27FC236}">
                <a16:creationId xmlns:a16="http://schemas.microsoft.com/office/drawing/2014/main" id="{A1ED5FC0-03AB-4FD5-B5A4-311BF7E24FA5}"/>
              </a:ext>
            </a:extLst>
          </p:cNvPr>
          <p:cNvGrpSpPr/>
          <p:nvPr/>
        </p:nvGrpSpPr>
        <p:grpSpPr>
          <a:xfrm>
            <a:off x="442913" y="4949177"/>
            <a:ext cx="576000" cy="576263"/>
            <a:chOff x="442913" y="4949177"/>
            <a:chExt cx="576000" cy="576263"/>
          </a:xfrm>
        </p:grpSpPr>
        <p:sp>
          <p:nvSpPr>
            <p:cNvPr id="47" name="Rectangle 46">
              <a:extLst>
                <a:ext uri="{FF2B5EF4-FFF2-40B4-BE49-F238E27FC236}">
                  <a16:creationId xmlns:a16="http://schemas.microsoft.com/office/drawing/2014/main" id="{656AB3C2-026C-E715-D925-A13B751C8473}"/>
                </a:ext>
              </a:extLst>
            </p:cNvPr>
            <p:cNvSpPr/>
            <p:nvPr/>
          </p:nvSpPr>
          <p:spPr>
            <a:xfrm>
              <a:off x="442913" y="4949177"/>
              <a:ext cx="576000" cy="57626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8" name="L-Shape 47">
              <a:extLst>
                <a:ext uri="{FF2B5EF4-FFF2-40B4-BE49-F238E27FC236}">
                  <a16:creationId xmlns:a16="http://schemas.microsoft.com/office/drawing/2014/main" id="{3112A528-1987-48A6-C4E9-818FC36C4A12}"/>
                </a:ext>
              </a:extLst>
            </p:cNvPr>
            <p:cNvSpPr/>
            <p:nvPr/>
          </p:nvSpPr>
          <p:spPr>
            <a:xfrm rot="13500000">
              <a:off x="575948" y="5125536"/>
              <a:ext cx="253621"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88" name="Group 87">
            <a:extLst>
              <a:ext uri="{FF2B5EF4-FFF2-40B4-BE49-F238E27FC236}">
                <a16:creationId xmlns:a16="http://schemas.microsoft.com/office/drawing/2014/main" id="{252DCC70-2CD2-A590-0C8D-95B507F7ABCE}"/>
              </a:ext>
            </a:extLst>
          </p:cNvPr>
          <p:cNvGrpSpPr/>
          <p:nvPr/>
        </p:nvGrpSpPr>
        <p:grpSpPr>
          <a:xfrm>
            <a:off x="442913" y="4303116"/>
            <a:ext cx="576000" cy="576263"/>
            <a:chOff x="442913" y="4303116"/>
            <a:chExt cx="576000" cy="576263"/>
          </a:xfrm>
        </p:grpSpPr>
        <p:sp>
          <p:nvSpPr>
            <p:cNvPr id="50" name="Rectangle 49">
              <a:extLst>
                <a:ext uri="{FF2B5EF4-FFF2-40B4-BE49-F238E27FC236}">
                  <a16:creationId xmlns:a16="http://schemas.microsoft.com/office/drawing/2014/main" id="{FCFE4574-F139-F2EC-40BE-DBEDA717016C}"/>
                </a:ext>
              </a:extLst>
            </p:cNvPr>
            <p:cNvSpPr/>
            <p:nvPr/>
          </p:nvSpPr>
          <p:spPr>
            <a:xfrm>
              <a:off x="442913" y="4303116"/>
              <a:ext cx="576000" cy="57626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1" name="L-Shape 50">
              <a:extLst>
                <a:ext uri="{FF2B5EF4-FFF2-40B4-BE49-F238E27FC236}">
                  <a16:creationId xmlns:a16="http://schemas.microsoft.com/office/drawing/2014/main" id="{02A2C5A2-8161-6D93-7619-EC9A5EB42936}"/>
                </a:ext>
              </a:extLst>
            </p:cNvPr>
            <p:cNvSpPr/>
            <p:nvPr/>
          </p:nvSpPr>
          <p:spPr>
            <a:xfrm rot="13500000">
              <a:off x="575948" y="4479766"/>
              <a:ext cx="253621"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133" name="Group 132">
            <a:extLst>
              <a:ext uri="{FF2B5EF4-FFF2-40B4-BE49-F238E27FC236}">
                <a16:creationId xmlns:a16="http://schemas.microsoft.com/office/drawing/2014/main" id="{4C2AFF10-FE6F-4ADE-CB07-1E4A03BD9D16}"/>
              </a:ext>
            </a:extLst>
          </p:cNvPr>
          <p:cNvGrpSpPr/>
          <p:nvPr/>
        </p:nvGrpSpPr>
        <p:grpSpPr>
          <a:xfrm>
            <a:off x="6857396" y="3660603"/>
            <a:ext cx="576000" cy="446088"/>
            <a:chOff x="11039753" y="3676650"/>
            <a:chExt cx="576000" cy="446088"/>
          </a:xfrm>
        </p:grpSpPr>
        <p:sp>
          <p:nvSpPr>
            <p:cNvPr id="65" name="Rectangle 64">
              <a:extLst>
                <a:ext uri="{FF2B5EF4-FFF2-40B4-BE49-F238E27FC236}">
                  <a16:creationId xmlns:a16="http://schemas.microsoft.com/office/drawing/2014/main" id="{B3400AB7-3203-205A-AB82-E6EAECD6E433}"/>
                </a:ext>
              </a:extLst>
            </p:cNvPr>
            <p:cNvSpPr/>
            <p:nvPr/>
          </p:nvSpPr>
          <p:spPr>
            <a:xfrm>
              <a:off x="11039753" y="3676650"/>
              <a:ext cx="576000" cy="446088"/>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6" name="L-Shape 65">
              <a:extLst>
                <a:ext uri="{FF2B5EF4-FFF2-40B4-BE49-F238E27FC236}">
                  <a16:creationId xmlns:a16="http://schemas.microsoft.com/office/drawing/2014/main" id="{867B4285-8A1E-1221-902B-200EA0DA3A62}"/>
                </a:ext>
              </a:extLst>
            </p:cNvPr>
            <p:cNvSpPr/>
            <p:nvPr/>
          </p:nvSpPr>
          <p:spPr>
            <a:xfrm rot="13500000">
              <a:off x="11172788" y="3779149"/>
              <a:ext cx="253621" cy="241090"/>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26" name="TextBox 25">
            <a:extLst>
              <a:ext uri="{FF2B5EF4-FFF2-40B4-BE49-F238E27FC236}">
                <a16:creationId xmlns:a16="http://schemas.microsoft.com/office/drawing/2014/main" id="{471F14E2-4096-90B5-C1ED-2A3C36F0DB47}"/>
              </a:ext>
            </a:extLst>
          </p:cNvPr>
          <p:cNvSpPr txBox="1"/>
          <p:nvPr/>
        </p:nvSpPr>
        <p:spPr>
          <a:xfrm>
            <a:off x="6857396" y="1829370"/>
            <a:ext cx="4891694" cy="360000"/>
          </a:xfrm>
          <a:prstGeom prst="rect">
            <a:avLst/>
          </a:prstGeom>
          <a:solidFill>
            <a:srgbClr val="CFD6E8"/>
          </a:solidFill>
        </p:spPr>
        <p:txBody>
          <a:bodyPr wrap="square" lIns="144000" tIns="36000" rIns="72000" bIns="36000" anchor="ctr" anchorCtr="0">
            <a:noAutofit/>
          </a:bodyPr>
          <a:lstStyle/>
          <a:p>
            <a:pPr defTabSz="822960">
              <a:spcAft>
                <a:spcPts val="270"/>
              </a:spcAft>
              <a:defRPr/>
            </a:pPr>
            <a:r>
              <a:rPr lang="lv-LV" sz="1600" b="1">
                <a:ea typeface="Times New Roman" panose="02020603050405020304" pitchFamily="18" charset="0"/>
                <a:cs typeface="Times New Roman" panose="02020603050405020304" pitchFamily="18" charset="0"/>
              </a:rPr>
              <a:t>Sadarbības teritorijas civilās aizsardzības plāns</a:t>
            </a:r>
          </a:p>
        </p:txBody>
      </p:sp>
      <p:sp>
        <p:nvSpPr>
          <p:cNvPr id="27" name="TextBox 26">
            <a:extLst>
              <a:ext uri="{FF2B5EF4-FFF2-40B4-BE49-F238E27FC236}">
                <a16:creationId xmlns:a16="http://schemas.microsoft.com/office/drawing/2014/main" id="{4A84FC65-DA2C-6590-D2DB-1E7E4EA7E99F}"/>
              </a:ext>
            </a:extLst>
          </p:cNvPr>
          <p:cNvSpPr txBox="1"/>
          <p:nvPr/>
        </p:nvSpPr>
        <p:spPr>
          <a:xfrm>
            <a:off x="442912" y="1829370"/>
            <a:ext cx="6347355" cy="360000"/>
          </a:xfrm>
          <a:prstGeom prst="rect">
            <a:avLst/>
          </a:prstGeom>
          <a:solidFill>
            <a:srgbClr val="A8192D"/>
          </a:solidFill>
        </p:spPr>
        <p:txBody>
          <a:bodyPr wrap="square" lIns="144000" tIns="36000" rIns="72000" bIns="36000" anchor="ctr" anchorCtr="0">
            <a:noAutofit/>
          </a:bodyPr>
          <a:lstStyle/>
          <a:p>
            <a:pPr defTabSz="822960">
              <a:defRPr/>
            </a:pPr>
            <a:r>
              <a:rPr lang="lv-LV" sz="1600" b="1">
                <a:solidFill>
                  <a:schemeClr val="bg1"/>
                </a:solidFill>
                <a:ea typeface="Times New Roman" panose="02020603050405020304" pitchFamily="18" charset="0"/>
                <a:cs typeface="Times New Roman" panose="02020603050405020304" pitchFamily="18" charset="0"/>
              </a:rPr>
              <a:t>Valsts civilās aizsardzības plāns</a:t>
            </a:r>
          </a:p>
        </p:txBody>
      </p:sp>
      <p:sp>
        <p:nvSpPr>
          <p:cNvPr id="28" name="Rectangle 27">
            <a:extLst>
              <a:ext uri="{FF2B5EF4-FFF2-40B4-BE49-F238E27FC236}">
                <a16:creationId xmlns:a16="http://schemas.microsoft.com/office/drawing/2014/main" id="{44A18395-B644-1BDE-1D08-F115F090DB14}"/>
              </a:ext>
            </a:extLst>
          </p:cNvPr>
          <p:cNvSpPr/>
          <p:nvPr/>
        </p:nvSpPr>
        <p:spPr>
          <a:xfrm>
            <a:off x="442913" y="2251563"/>
            <a:ext cx="11306175" cy="288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r>
              <a:rPr lang="lv-LV" sz="1400"/>
              <a:t>Iespējamie riski</a:t>
            </a:r>
          </a:p>
        </p:txBody>
      </p:sp>
      <p:sp>
        <p:nvSpPr>
          <p:cNvPr id="29" name="Rectangle 28">
            <a:extLst>
              <a:ext uri="{FF2B5EF4-FFF2-40B4-BE49-F238E27FC236}">
                <a16:creationId xmlns:a16="http://schemas.microsoft.com/office/drawing/2014/main" id="{9694AFC2-83A7-1622-FF0D-CAA608337B5E}"/>
              </a:ext>
            </a:extLst>
          </p:cNvPr>
          <p:cNvSpPr/>
          <p:nvPr/>
        </p:nvSpPr>
        <p:spPr>
          <a:xfrm>
            <a:off x="442913" y="2601756"/>
            <a:ext cx="11306175" cy="288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spcAft>
                <a:spcPts val="600"/>
              </a:spcAft>
              <a:buSzPct val="100000"/>
            </a:pPr>
            <a:r>
              <a:rPr lang="lv-LV" sz="1400"/>
              <a:t>Risku novērtējums</a:t>
            </a:r>
          </a:p>
        </p:txBody>
      </p:sp>
      <p:sp>
        <p:nvSpPr>
          <p:cNvPr id="33" name="Rectangle 32">
            <a:extLst>
              <a:ext uri="{FF2B5EF4-FFF2-40B4-BE49-F238E27FC236}">
                <a16:creationId xmlns:a16="http://schemas.microsoft.com/office/drawing/2014/main" id="{2E6F1176-869E-B642-37E9-B0306CA30288}"/>
              </a:ext>
            </a:extLst>
          </p:cNvPr>
          <p:cNvSpPr/>
          <p:nvPr/>
        </p:nvSpPr>
        <p:spPr>
          <a:xfrm>
            <a:off x="442913" y="2951949"/>
            <a:ext cx="11306175" cy="288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spcAft>
                <a:spcPts val="600"/>
              </a:spcAft>
              <a:buSzPct val="100000"/>
            </a:pPr>
            <a:r>
              <a:rPr lang="lv-LV" sz="1400"/>
              <a:t>Preventīvie, gatavības, reaģēšanas un seku likvidēšanas pasākumi</a:t>
            </a:r>
          </a:p>
        </p:txBody>
      </p:sp>
      <p:sp>
        <p:nvSpPr>
          <p:cNvPr id="34" name="Rectangle 33">
            <a:extLst>
              <a:ext uri="{FF2B5EF4-FFF2-40B4-BE49-F238E27FC236}">
                <a16:creationId xmlns:a16="http://schemas.microsoft.com/office/drawing/2014/main" id="{A8D0F764-24AA-5BAB-8270-91CEC7751B79}"/>
              </a:ext>
            </a:extLst>
          </p:cNvPr>
          <p:cNvSpPr/>
          <p:nvPr/>
        </p:nvSpPr>
        <p:spPr>
          <a:xfrm>
            <a:off x="442913" y="3302141"/>
            <a:ext cx="11306175" cy="288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spcAft>
                <a:spcPts val="600"/>
              </a:spcAft>
              <a:buSzPct val="100000"/>
            </a:pPr>
            <a:r>
              <a:rPr lang="lv-LV" sz="1400"/>
              <a:t>Reaģēšanas un seku likvidēšanas darbu vadītāji</a:t>
            </a:r>
          </a:p>
        </p:txBody>
      </p:sp>
      <p:sp>
        <p:nvSpPr>
          <p:cNvPr id="35" name="Rectangle 34">
            <a:extLst>
              <a:ext uri="{FF2B5EF4-FFF2-40B4-BE49-F238E27FC236}">
                <a16:creationId xmlns:a16="http://schemas.microsoft.com/office/drawing/2014/main" id="{F081AD02-90FD-3FC1-F610-A41FCC2FB950}"/>
              </a:ext>
            </a:extLst>
          </p:cNvPr>
          <p:cNvSpPr/>
          <p:nvPr/>
        </p:nvSpPr>
        <p:spPr>
          <a:xfrm rot="5400000">
            <a:off x="298913" y="1973371"/>
            <a:ext cx="360000" cy="72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lIns="108000" tIns="72000" rIns="108000" bIns="72000" rtlCol="0" anchor="ctr"/>
          <a:lstStyle/>
          <a:p>
            <a:pPr algn="ctr">
              <a:lnSpc>
                <a:spcPct val="100000"/>
              </a:lnSpc>
            </a:pPr>
            <a:endParaRPr lang="en-GB" sz="1600"/>
          </a:p>
        </p:txBody>
      </p:sp>
      <p:sp>
        <p:nvSpPr>
          <p:cNvPr id="36" name="Rectangle 35">
            <a:extLst>
              <a:ext uri="{FF2B5EF4-FFF2-40B4-BE49-F238E27FC236}">
                <a16:creationId xmlns:a16="http://schemas.microsoft.com/office/drawing/2014/main" id="{87942B9C-99D6-B14A-EB93-DE67A387C608}"/>
              </a:ext>
            </a:extLst>
          </p:cNvPr>
          <p:cNvSpPr/>
          <p:nvPr/>
        </p:nvSpPr>
        <p:spPr>
          <a:xfrm rot="5400000">
            <a:off x="6713396" y="1973370"/>
            <a:ext cx="360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lIns="108000" tIns="72000" rIns="108000" bIns="72000" rtlCol="0" anchor="ctr"/>
          <a:lstStyle/>
          <a:p>
            <a:pPr algn="ctr">
              <a:lnSpc>
                <a:spcPct val="100000"/>
              </a:lnSpc>
            </a:pPr>
            <a:endParaRPr lang="en-GB" sz="1600"/>
          </a:p>
        </p:txBody>
      </p:sp>
      <p:grpSp>
        <p:nvGrpSpPr>
          <p:cNvPr id="87" name="Group 86">
            <a:extLst>
              <a:ext uri="{FF2B5EF4-FFF2-40B4-BE49-F238E27FC236}">
                <a16:creationId xmlns:a16="http://schemas.microsoft.com/office/drawing/2014/main" id="{3E9CEFB6-7063-23FE-C68F-CE74EA719DEC}"/>
              </a:ext>
            </a:extLst>
          </p:cNvPr>
          <p:cNvGrpSpPr/>
          <p:nvPr/>
        </p:nvGrpSpPr>
        <p:grpSpPr>
          <a:xfrm>
            <a:off x="440462" y="3658221"/>
            <a:ext cx="576000" cy="575097"/>
            <a:chOff x="440462" y="3658221"/>
            <a:chExt cx="576000" cy="575097"/>
          </a:xfrm>
        </p:grpSpPr>
        <p:sp>
          <p:nvSpPr>
            <p:cNvPr id="53" name="Rectangle 52">
              <a:extLst>
                <a:ext uri="{FF2B5EF4-FFF2-40B4-BE49-F238E27FC236}">
                  <a16:creationId xmlns:a16="http://schemas.microsoft.com/office/drawing/2014/main" id="{5EF12559-BE2E-576B-038D-E2C7A1B20582}"/>
                </a:ext>
              </a:extLst>
            </p:cNvPr>
            <p:cNvSpPr/>
            <p:nvPr/>
          </p:nvSpPr>
          <p:spPr>
            <a:xfrm>
              <a:off x="440462" y="3658221"/>
              <a:ext cx="576000" cy="575097"/>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4" name="L-Shape 53">
              <a:extLst>
                <a:ext uri="{FF2B5EF4-FFF2-40B4-BE49-F238E27FC236}">
                  <a16:creationId xmlns:a16="http://schemas.microsoft.com/office/drawing/2014/main" id="{39685821-24D3-DF28-56AC-8B1021756E17}"/>
                </a:ext>
              </a:extLst>
            </p:cNvPr>
            <p:cNvSpPr/>
            <p:nvPr/>
          </p:nvSpPr>
          <p:spPr>
            <a:xfrm rot="13500000">
              <a:off x="573497" y="3833996"/>
              <a:ext cx="253621"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74" name="Rectangle 73">
            <a:extLst>
              <a:ext uri="{FF2B5EF4-FFF2-40B4-BE49-F238E27FC236}">
                <a16:creationId xmlns:a16="http://schemas.microsoft.com/office/drawing/2014/main" id="{1170A1F8-6836-7EF0-4E6F-697FD346D741}"/>
              </a:ext>
            </a:extLst>
          </p:cNvPr>
          <p:cNvSpPr/>
          <p:nvPr/>
        </p:nvSpPr>
        <p:spPr>
          <a:xfrm>
            <a:off x="1016462" y="3657055"/>
            <a:ext cx="2536351" cy="5762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spcAft>
                <a:spcPts val="300"/>
              </a:spcAft>
              <a:buSzPct val="100000"/>
            </a:pPr>
            <a:r>
              <a:rPr lang="lv-LV" sz="1200" kern="100" spc="10">
                <a:solidFill>
                  <a:schemeClr val="tx1"/>
                </a:solidFill>
                <a:cs typeface="Times New Roman"/>
              </a:rPr>
              <a:t>Valsts agrīnās </a:t>
            </a:r>
            <a:br>
              <a:rPr lang="en-US" sz="1200" kern="100" spc="10">
                <a:solidFill>
                  <a:schemeClr val="tx1"/>
                </a:solidFill>
                <a:cs typeface="Times New Roman"/>
              </a:rPr>
            </a:br>
            <a:r>
              <a:rPr lang="lv-LV" sz="1200" kern="100" spc="10">
                <a:solidFill>
                  <a:schemeClr val="tx1"/>
                </a:solidFill>
                <a:cs typeface="Times New Roman"/>
              </a:rPr>
              <a:t>brīdināšanas sistēma</a:t>
            </a:r>
          </a:p>
        </p:txBody>
      </p:sp>
      <p:sp>
        <p:nvSpPr>
          <p:cNvPr id="75" name="Rectangle 74">
            <a:extLst>
              <a:ext uri="{FF2B5EF4-FFF2-40B4-BE49-F238E27FC236}">
                <a16:creationId xmlns:a16="http://schemas.microsoft.com/office/drawing/2014/main" id="{C67A177E-02E9-E513-71FE-F516254B5B21}"/>
              </a:ext>
            </a:extLst>
          </p:cNvPr>
          <p:cNvSpPr/>
          <p:nvPr/>
        </p:nvSpPr>
        <p:spPr>
          <a:xfrm>
            <a:off x="1016462" y="4303116"/>
            <a:ext cx="2537365" cy="5762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spcAft>
                <a:spcPts val="300"/>
              </a:spcAft>
              <a:buSzPct val="100000"/>
            </a:pPr>
            <a:r>
              <a:rPr lang="lv-LV" sz="1200" kern="100" spc="10">
                <a:solidFill>
                  <a:schemeClr val="tx1"/>
                </a:solidFill>
                <a:cs typeface="Times New Roman"/>
              </a:rPr>
              <a:t>Iesaistāmo institūciju </a:t>
            </a:r>
            <a:br>
              <a:rPr lang="en-US" sz="1200" kern="100" spc="10">
                <a:solidFill>
                  <a:schemeClr val="tx1"/>
                </a:solidFill>
                <a:cs typeface="Times New Roman"/>
              </a:rPr>
            </a:br>
            <a:r>
              <a:rPr lang="lv-LV" sz="1200" kern="100" spc="10">
                <a:solidFill>
                  <a:schemeClr val="tx1"/>
                </a:solidFill>
                <a:cs typeface="Times New Roman"/>
              </a:rPr>
              <a:t>apziņošanas kārtība</a:t>
            </a:r>
          </a:p>
        </p:txBody>
      </p:sp>
      <p:sp>
        <p:nvSpPr>
          <p:cNvPr id="77" name="Rectangle 76">
            <a:extLst>
              <a:ext uri="{FF2B5EF4-FFF2-40B4-BE49-F238E27FC236}">
                <a16:creationId xmlns:a16="http://schemas.microsoft.com/office/drawing/2014/main" id="{314D8D8F-B7D4-EAAE-D30E-252B00FF4285}"/>
              </a:ext>
            </a:extLst>
          </p:cNvPr>
          <p:cNvSpPr/>
          <p:nvPr/>
        </p:nvSpPr>
        <p:spPr>
          <a:xfrm>
            <a:off x="1016462" y="5595238"/>
            <a:ext cx="2537365" cy="5762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spcAft>
                <a:spcPts val="300"/>
              </a:spcAft>
              <a:buSzPct val="100000"/>
            </a:pPr>
            <a:r>
              <a:rPr lang="lv-LV" sz="1200" kern="100" spc="10">
                <a:solidFill>
                  <a:schemeClr val="tx1"/>
                </a:solidFill>
                <a:cs typeface="Times New Roman"/>
              </a:rPr>
              <a:t>Krīžu komunikācijas kārtība</a:t>
            </a:r>
          </a:p>
        </p:txBody>
      </p:sp>
      <p:sp>
        <p:nvSpPr>
          <p:cNvPr id="78" name="Rectangle 77">
            <a:extLst>
              <a:ext uri="{FF2B5EF4-FFF2-40B4-BE49-F238E27FC236}">
                <a16:creationId xmlns:a16="http://schemas.microsoft.com/office/drawing/2014/main" id="{6551150D-9873-82B0-44E8-5190D9C2D304}"/>
              </a:ext>
            </a:extLst>
          </p:cNvPr>
          <p:cNvSpPr/>
          <p:nvPr/>
        </p:nvSpPr>
        <p:spPr>
          <a:xfrm>
            <a:off x="1016462" y="4949177"/>
            <a:ext cx="2537365" cy="5762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spcAft>
                <a:spcPts val="300"/>
              </a:spcAft>
              <a:buSzPct val="100000"/>
            </a:pPr>
            <a:r>
              <a:rPr lang="lv-LV" sz="1200" kern="100" spc="10">
                <a:solidFill>
                  <a:schemeClr val="tx1"/>
                </a:solidFill>
                <a:cs typeface="Times New Roman"/>
              </a:rPr>
              <a:t>Informācijas apmaiņas </a:t>
            </a:r>
            <a:br>
              <a:rPr lang="en-US" sz="1200" kern="100" spc="10">
                <a:solidFill>
                  <a:schemeClr val="tx1"/>
                </a:solidFill>
                <a:cs typeface="Times New Roman"/>
              </a:rPr>
            </a:br>
            <a:r>
              <a:rPr lang="lv-LV" sz="1200" kern="100" spc="10">
                <a:solidFill>
                  <a:schemeClr val="tx1"/>
                </a:solidFill>
                <a:cs typeface="Times New Roman"/>
              </a:rPr>
              <a:t>platformas katastrofas vai tās draudu gadījumā</a:t>
            </a:r>
          </a:p>
        </p:txBody>
      </p:sp>
      <p:sp>
        <p:nvSpPr>
          <p:cNvPr id="79" name="Rectangle 78">
            <a:extLst>
              <a:ext uri="{FF2B5EF4-FFF2-40B4-BE49-F238E27FC236}">
                <a16:creationId xmlns:a16="http://schemas.microsoft.com/office/drawing/2014/main" id="{F894A031-0F31-B105-0AAA-4CF219846086}"/>
              </a:ext>
            </a:extLst>
          </p:cNvPr>
          <p:cNvSpPr/>
          <p:nvPr/>
        </p:nvSpPr>
        <p:spPr>
          <a:xfrm>
            <a:off x="4205172" y="4303246"/>
            <a:ext cx="2586181" cy="5746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spcAft>
                <a:spcPts val="300"/>
              </a:spcAft>
              <a:buSzPct val="100000"/>
            </a:pPr>
            <a:r>
              <a:rPr lang="lv-LV" sz="1200" kern="100" spc="10">
                <a:solidFill>
                  <a:schemeClr val="tx1"/>
                </a:solidFill>
                <a:cs typeface="Times New Roman"/>
              </a:rPr>
              <a:t>Resursi starptautiskās </a:t>
            </a:r>
            <a:br>
              <a:rPr lang="en-US" sz="1200" kern="100" spc="10">
                <a:solidFill>
                  <a:schemeClr val="tx1"/>
                </a:solidFill>
                <a:cs typeface="Times New Roman"/>
              </a:rPr>
            </a:br>
            <a:r>
              <a:rPr lang="lv-LV" sz="1200" kern="100" spc="10">
                <a:solidFill>
                  <a:schemeClr val="tx1"/>
                </a:solidFill>
                <a:cs typeface="Times New Roman"/>
              </a:rPr>
              <a:t>palīdzības sniegšanai</a:t>
            </a:r>
          </a:p>
        </p:txBody>
      </p:sp>
      <p:sp>
        <p:nvSpPr>
          <p:cNvPr id="80" name="Rectangle 79">
            <a:extLst>
              <a:ext uri="{FF2B5EF4-FFF2-40B4-BE49-F238E27FC236}">
                <a16:creationId xmlns:a16="http://schemas.microsoft.com/office/drawing/2014/main" id="{570B6498-E0FA-658E-4D49-FD9D29C589E3}"/>
              </a:ext>
            </a:extLst>
          </p:cNvPr>
          <p:cNvSpPr/>
          <p:nvPr/>
        </p:nvSpPr>
        <p:spPr>
          <a:xfrm>
            <a:off x="4205172" y="4948892"/>
            <a:ext cx="2586181" cy="5746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spcAft>
                <a:spcPts val="300"/>
              </a:spcAft>
              <a:buSzPct val="100000"/>
            </a:pPr>
            <a:r>
              <a:rPr lang="lv-LV" sz="1200" kern="100" spc="10">
                <a:solidFill>
                  <a:schemeClr val="tx1"/>
                </a:solidFill>
                <a:cs typeface="Times New Roman"/>
              </a:rPr>
              <a:t>CA sistēmas darbība militāra iebrukuma vai kara gadījumā</a:t>
            </a:r>
          </a:p>
        </p:txBody>
      </p:sp>
      <p:sp>
        <p:nvSpPr>
          <p:cNvPr id="81" name="Rectangle 80">
            <a:extLst>
              <a:ext uri="{FF2B5EF4-FFF2-40B4-BE49-F238E27FC236}">
                <a16:creationId xmlns:a16="http://schemas.microsoft.com/office/drawing/2014/main" id="{94091B5D-4334-BE94-3E85-4663D5928A77}"/>
              </a:ext>
            </a:extLst>
          </p:cNvPr>
          <p:cNvSpPr/>
          <p:nvPr/>
        </p:nvSpPr>
        <p:spPr>
          <a:xfrm>
            <a:off x="4205172" y="5594539"/>
            <a:ext cx="2586181" cy="5746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spcAft>
                <a:spcPts val="300"/>
              </a:spcAft>
              <a:buSzPct val="100000"/>
            </a:pPr>
            <a:r>
              <a:rPr lang="lv-LV" sz="1200" kern="100" spc="10">
                <a:solidFill>
                  <a:schemeClr val="tx1"/>
                </a:solidFill>
                <a:cs typeface="Times New Roman"/>
              </a:rPr>
              <a:t>Plānoto CA mācību apraksts </a:t>
            </a:r>
            <a:br>
              <a:rPr lang="en-US" sz="1200" kern="100" spc="10">
                <a:solidFill>
                  <a:schemeClr val="tx1"/>
                </a:solidFill>
                <a:cs typeface="Times New Roman"/>
              </a:rPr>
            </a:br>
            <a:r>
              <a:rPr lang="lv-LV" sz="1200" kern="100" spc="10">
                <a:solidFill>
                  <a:schemeClr val="tx1"/>
                </a:solidFill>
                <a:cs typeface="Times New Roman"/>
              </a:rPr>
              <a:t>un grafiks</a:t>
            </a:r>
          </a:p>
        </p:txBody>
      </p:sp>
      <p:grpSp>
        <p:nvGrpSpPr>
          <p:cNvPr id="89" name="Group 88">
            <a:extLst>
              <a:ext uri="{FF2B5EF4-FFF2-40B4-BE49-F238E27FC236}">
                <a16:creationId xmlns:a16="http://schemas.microsoft.com/office/drawing/2014/main" id="{488753B2-E69D-A02A-D079-8A62C0B593B5}"/>
              </a:ext>
            </a:extLst>
          </p:cNvPr>
          <p:cNvGrpSpPr/>
          <p:nvPr/>
        </p:nvGrpSpPr>
        <p:grpSpPr>
          <a:xfrm>
            <a:off x="3630560" y="5594539"/>
            <a:ext cx="576000" cy="576263"/>
            <a:chOff x="442913" y="5595238"/>
            <a:chExt cx="576000" cy="576263"/>
          </a:xfrm>
        </p:grpSpPr>
        <p:sp>
          <p:nvSpPr>
            <p:cNvPr id="90" name="Rectangle 89">
              <a:extLst>
                <a:ext uri="{FF2B5EF4-FFF2-40B4-BE49-F238E27FC236}">
                  <a16:creationId xmlns:a16="http://schemas.microsoft.com/office/drawing/2014/main" id="{28CBF070-F51F-59A4-842A-CFF85EF436A3}"/>
                </a:ext>
              </a:extLst>
            </p:cNvPr>
            <p:cNvSpPr/>
            <p:nvPr/>
          </p:nvSpPr>
          <p:spPr>
            <a:xfrm>
              <a:off x="442913" y="5595238"/>
              <a:ext cx="576000" cy="57626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1" name="L-Shape 90">
              <a:extLst>
                <a:ext uri="{FF2B5EF4-FFF2-40B4-BE49-F238E27FC236}">
                  <a16:creationId xmlns:a16="http://schemas.microsoft.com/office/drawing/2014/main" id="{C346F0D0-FBBD-3268-EBE7-18F41C2D4CE9}"/>
                </a:ext>
              </a:extLst>
            </p:cNvPr>
            <p:cNvSpPr/>
            <p:nvPr/>
          </p:nvSpPr>
          <p:spPr>
            <a:xfrm rot="13500000">
              <a:off x="575948" y="5771306"/>
              <a:ext cx="253621"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92" name="Group 91">
            <a:extLst>
              <a:ext uri="{FF2B5EF4-FFF2-40B4-BE49-F238E27FC236}">
                <a16:creationId xmlns:a16="http://schemas.microsoft.com/office/drawing/2014/main" id="{A8F7375C-32A3-BB97-3BA1-E98792ECC3E4}"/>
              </a:ext>
            </a:extLst>
          </p:cNvPr>
          <p:cNvGrpSpPr/>
          <p:nvPr/>
        </p:nvGrpSpPr>
        <p:grpSpPr>
          <a:xfrm>
            <a:off x="3630560" y="4948478"/>
            <a:ext cx="576000" cy="576263"/>
            <a:chOff x="442913" y="4949177"/>
            <a:chExt cx="576000" cy="576263"/>
          </a:xfrm>
        </p:grpSpPr>
        <p:sp>
          <p:nvSpPr>
            <p:cNvPr id="93" name="Rectangle 92">
              <a:extLst>
                <a:ext uri="{FF2B5EF4-FFF2-40B4-BE49-F238E27FC236}">
                  <a16:creationId xmlns:a16="http://schemas.microsoft.com/office/drawing/2014/main" id="{4194B9E0-F78D-0496-CC5C-972805E70A2A}"/>
                </a:ext>
              </a:extLst>
            </p:cNvPr>
            <p:cNvSpPr/>
            <p:nvPr/>
          </p:nvSpPr>
          <p:spPr>
            <a:xfrm>
              <a:off x="442913" y="4949177"/>
              <a:ext cx="576000" cy="57626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4" name="L-Shape 93">
              <a:extLst>
                <a:ext uri="{FF2B5EF4-FFF2-40B4-BE49-F238E27FC236}">
                  <a16:creationId xmlns:a16="http://schemas.microsoft.com/office/drawing/2014/main" id="{19C83FB6-E24E-28C8-9350-BB2EA80F157D}"/>
                </a:ext>
              </a:extLst>
            </p:cNvPr>
            <p:cNvSpPr/>
            <p:nvPr/>
          </p:nvSpPr>
          <p:spPr>
            <a:xfrm rot="13500000">
              <a:off x="575948" y="5125536"/>
              <a:ext cx="253621"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95" name="Group 94">
            <a:extLst>
              <a:ext uri="{FF2B5EF4-FFF2-40B4-BE49-F238E27FC236}">
                <a16:creationId xmlns:a16="http://schemas.microsoft.com/office/drawing/2014/main" id="{4EEFDCDC-EBE9-5665-2952-5B1BD1A32D5D}"/>
              </a:ext>
            </a:extLst>
          </p:cNvPr>
          <p:cNvGrpSpPr/>
          <p:nvPr/>
        </p:nvGrpSpPr>
        <p:grpSpPr>
          <a:xfrm>
            <a:off x="3630560" y="4302417"/>
            <a:ext cx="576000" cy="576263"/>
            <a:chOff x="442913" y="4303116"/>
            <a:chExt cx="576000" cy="576263"/>
          </a:xfrm>
        </p:grpSpPr>
        <p:sp>
          <p:nvSpPr>
            <p:cNvPr id="96" name="Rectangle 95">
              <a:extLst>
                <a:ext uri="{FF2B5EF4-FFF2-40B4-BE49-F238E27FC236}">
                  <a16:creationId xmlns:a16="http://schemas.microsoft.com/office/drawing/2014/main" id="{3FC28010-F5D6-A6C7-E6B2-C6D2C9FECBDD}"/>
                </a:ext>
              </a:extLst>
            </p:cNvPr>
            <p:cNvSpPr/>
            <p:nvPr/>
          </p:nvSpPr>
          <p:spPr>
            <a:xfrm>
              <a:off x="442913" y="4303116"/>
              <a:ext cx="576000" cy="57626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7" name="L-Shape 96">
              <a:extLst>
                <a:ext uri="{FF2B5EF4-FFF2-40B4-BE49-F238E27FC236}">
                  <a16:creationId xmlns:a16="http://schemas.microsoft.com/office/drawing/2014/main" id="{067E863F-B189-B824-7A1E-FEB2D8E7E166}"/>
                </a:ext>
              </a:extLst>
            </p:cNvPr>
            <p:cNvSpPr/>
            <p:nvPr/>
          </p:nvSpPr>
          <p:spPr>
            <a:xfrm rot="13500000">
              <a:off x="575948" y="4479766"/>
              <a:ext cx="253621"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76" name="Rectangle 75">
            <a:extLst>
              <a:ext uri="{FF2B5EF4-FFF2-40B4-BE49-F238E27FC236}">
                <a16:creationId xmlns:a16="http://schemas.microsoft.com/office/drawing/2014/main" id="{7BBC6110-BA80-66C9-711A-C3D76CC8605F}"/>
              </a:ext>
            </a:extLst>
          </p:cNvPr>
          <p:cNvSpPr/>
          <p:nvPr/>
        </p:nvSpPr>
        <p:spPr>
          <a:xfrm>
            <a:off x="4205264" y="3657600"/>
            <a:ext cx="2585003" cy="5746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spcAft>
                <a:spcPts val="300"/>
              </a:spcAft>
              <a:buSzPct val="100000"/>
            </a:pPr>
            <a:r>
              <a:rPr lang="lv-LV" sz="1200" kern="100" spc="10">
                <a:solidFill>
                  <a:schemeClr val="tx1"/>
                </a:solidFill>
                <a:cs typeface="Times New Roman"/>
              </a:rPr>
              <a:t>Latvijas valsts piederīgo evakuācija no katastrofas skartās ārvalsts</a:t>
            </a:r>
          </a:p>
        </p:txBody>
      </p:sp>
      <p:grpSp>
        <p:nvGrpSpPr>
          <p:cNvPr id="98" name="Group 97">
            <a:extLst>
              <a:ext uri="{FF2B5EF4-FFF2-40B4-BE49-F238E27FC236}">
                <a16:creationId xmlns:a16="http://schemas.microsoft.com/office/drawing/2014/main" id="{88BE07E1-AD47-FE58-C6C5-7DA7BED804DC}"/>
              </a:ext>
            </a:extLst>
          </p:cNvPr>
          <p:cNvGrpSpPr/>
          <p:nvPr/>
        </p:nvGrpSpPr>
        <p:grpSpPr>
          <a:xfrm>
            <a:off x="3630560" y="3657522"/>
            <a:ext cx="576000" cy="575097"/>
            <a:chOff x="440462" y="3658221"/>
            <a:chExt cx="576000" cy="575097"/>
          </a:xfrm>
        </p:grpSpPr>
        <p:sp>
          <p:nvSpPr>
            <p:cNvPr id="99" name="Rectangle 98">
              <a:extLst>
                <a:ext uri="{FF2B5EF4-FFF2-40B4-BE49-F238E27FC236}">
                  <a16:creationId xmlns:a16="http://schemas.microsoft.com/office/drawing/2014/main" id="{0679964F-B757-0126-DEEE-256C8182594E}"/>
                </a:ext>
              </a:extLst>
            </p:cNvPr>
            <p:cNvSpPr/>
            <p:nvPr/>
          </p:nvSpPr>
          <p:spPr>
            <a:xfrm>
              <a:off x="440462" y="3658221"/>
              <a:ext cx="576000" cy="575097"/>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00" name="L-Shape 99">
              <a:extLst>
                <a:ext uri="{FF2B5EF4-FFF2-40B4-BE49-F238E27FC236}">
                  <a16:creationId xmlns:a16="http://schemas.microsoft.com/office/drawing/2014/main" id="{F48E5BE5-E9A7-C0AF-13BE-F7E8DFA47B4F}"/>
                </a:ext>
              </a:extLst>
            </p:cNvPr>
            <p:cNvSpPr/>
            <p:nvPr/>
          </p:nvSpPr>
          <p:spPr>
            <a:xfrm rot="13500000">
              <a:off x="573497" y="3833996"/>
              <a:ext cx="253621"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132" name="Group 131">
            <a:extLst>
              <a:ext uri="{FF2B5EF4-FFF2-40B4-BE49-F238E27FC236}">
                <a16:creationId xmlns:a16="http://schemas.microsoft.com/office/drawing/2014/main" id="{916DCBBB-40AC-CB72-D782-374D03857D2F}"/>
              </a:ext>
            </a:extLst>
          </p:cNvPr>
          <p:cNvGrpSpPr/>
          <p:nvPr/>
        </p:nvGrpSpPr>
        <p:grpSpPr>
          <a:xfrm>
            <a:off x="6857396" y="4177153"/>
            <a:ext cx="576000" cy="446088"/>
            <a:chOff x="10961902" y="4194175"/>
            <a:chExt cx="576000" cy="446088"/>
          </a:xfrm>
        </p:grpSpPr>
        <p:sp>
          <p:nvSpPr>
            <p:cNvPr id="113" name="Rectangle 112">
              <a:extLst>
                <a:ext uri="{FF2B5EF4-FFF2-40B4-BE49-F238E27FC236}">
                  <a16:creationId xmlns:a16="http://schemas.microsoft.com/office/drawing/2014/main" id="{684C31D5-82AC-987C-A550-E7D8E25A5E6D}"/>
                </a:ext>
              </a:extLst>
            </p:cNvPr>
            <p:cNvSpPr/>
            <p:nvPr/>
          </p:nvSpPr>
          <p:spPr>
            <a:xfrm>
              <a:off x="10961902" y="4194175"/>
              <a:ext cx="576000" cy="446088"/>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14" name="L-Shape 113">
              <a:extLst>
                <a:ext uri="{FF2B5EF4-FFF2-40B4-BE49-F238E27FC236}">
                  <a16:creationId xmlns:a16="http://schemas.microsoft.com/office/drawing/2014/main" id="{5C1A735E-712C-C68B-BB32-3687589A4063}"/>
                </a:ext>
              </a:extLst>
            </p:cNvPr>
            <p:cNvSpPr/>
            <p:nvPr/>
          </p:nvSpPr>
          <p:spPr>
            <a:xfrm rot="13500000">
              <a:off x="11094937" y="4296674"/>
              <a:ext cx="253621" cy="241090"/>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130" name="Group 129">
            <a:extLst>
              <a:ext uri="{FF2B5EF4-FFF2-40B4-BE49-F238E27FC236}">
                <a16:creationId xmlns:a16="http://schemas.microsoft.com/office/drawing/2014/main" id="{FAD7FD5B-8D9F-0AF3-470D-AAC77EE25811}"/>
              </a:ext>
            </a:extLst>
          </p:cNvPr>
          <p:cNvGrpSpPr/>
          <p:nvPr/>
        </p:nvGrpSpPr>
        <p:grpSpPr>
          <a:xfrm>
            <a:off x="6857396" y="4693703"/>
            <a:ext cx="576000" cy="446088"/>
            <a:chOff x="11050512" y="4710113"/>
            <a:chExt cx="576000" cy="446088"/>
          </a:xfrm>
        </p:grpSpPr>
        <p:sp>
          <p:nvSpPr>
            <p:cNvPr id="117" name="Rectangle 116">
              <a:extLst>
                <a:ext uri="{FF2B5EF4-FFF2-40B4-BE49-F238E27FC236}">
                  <a16:creationId xmlns:a16="http://schemas.microsoft.com/office/drawing/2014/main" id="{500B6201-F997-E2F2-B8E6-E1EFF3246B14}"/>
                </a:ext>
              </a:extLst>
            </p:cNvPr>
            <p:cNvSpPr/>
            <p:nvPr/>
          </p:nvSpPr>
          <p:spPr>
            <a:xfrm>
              <a:off x="11050512" y="4710113"/>
              <a:ext cx="576000" cy="446088"/>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18" name="L-Shape 117">
              <a:extLst>
                <a:ext uri="{FF2B5EF4-FFF2-40B4-BE49-F238E27FC236}">
                  <a16:creationId xmlns:a16="http://schemas.microsoft.com/office/drawing/2014/main" id="{CB3A4046-F77C-FE09-6961-EBF93E16E703}"/>
                </a:ext>
              </a:extLst>
            </p:cNvPr>
            <p:cNvSpPr/>
            <p:nvPr/>
          </p:nvSpPr>
          <p:spPr>
            <a:xfrm rot="13500000">
              <a:off x="11183547" y="4812612"/>
              <a:ext cx="253621" cy="241090"/>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129" name="Group 128">
            <a:extLst>
              <a:ext uri="{FF2B5EF4-FFF2-40B4-BE49-F238E27FC236}">
                <a16:creationId xmlns:a16="http://schemas.microsoft.com/office/drawing/2014/main" id="{E19A6BF1-A235-FF4C-2DB0-D32164F9C357}"/>
              </a:ext>
            </a:extLst>
          </p:cNvPr>
          <p:cNvGrpSpPr/>
          <p:nvPr/>
        </p:nvGrpSpPr>
        <p:grpSpPr>
          <a:xfrm>
            <a:off x="6857396" y="5210253"/>
            <a:ext cx="576000" cy="446088"/>
            <a:chOff x="11040706" y="5227638"/>
            <a:chExt cx="576000" cy="446088"/>
          </a:xfrm>
          <a:solidFill>
            <a:srgbClr val="CFD6E8"/>
          </a:solidFill>
        </p:grpSpPr>
        <p:sp>
          <p:nvSpPr>
            <p:cNvPr id="121" name="Rectangle 120">
              <a:extLst>
                <a:ext uri="{FF2B5EF4-FFF2-40B4-BE49-F238E27FC236}">
                  <a16:creationId xmlns:a16="http://schemas.microsoft.com/office/drawing/2014/main" id="{0C6D96B8-45C9-E7AF-CE7A-7926B50479BC}"/>
                </a:ext>
              </a:extLst>
            </p:cNvPr>
            <p:cNvSpPr/>
            <p:nvPr/>
          </p:nvSpPr>
          <p:spPr>
            <a:xfrm>
              <a:off x="11040706" y="5227638"/>
              <a:ext cx="576000" cy="446088"/>
            </a:xfrm>
            <a:prstGeom prst="rect">
              <a:avLst/>
            </a:prstGeom>
            <a:grp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22" name="L-Shape 121">
              <a:extLst>
                <a:ext uri="{FF2B5EF4-FFF2-40B4-BE49-F238E27FC236}">
                  <a16:creationId xmlns:a16="http://schemas.microsoft.com/office/drawing/2014/main" id="{75C53CB9-4BFE-45CF-5D20-6B20E2B83892}"/>
                </a:ext>
              </a:extLst>
            </p:cNvPr>
            <p:cNvSpPr/>
            <p:nvPr/>
          </p:nvSpPr>
          <p:spPr>
            <a:xfrm rot="13500000">
              <a:off x="11173741" y="5330137"/>
              <a:ext cx="253621" cy="241090"/>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128" name="Group 127">
            <a:extLst>
              <a:ext uri="{FF2B5EF4-FFF2-40B4-BE49-F238E27FC236}">
                <a16:creationId xmlns:a16="http://schemas.microsoft.com/office/drawing/2014/main" id="{1BBF61EB-54A3-8665-D91C-30DDDF4098C8}"/>
              </a:ext>
            </a:extLst>
          </p:cNvPr>
          <p:cNvGrpSpPr/>
          <p:nvPr/>
        </p:nvGrpSpPr>
        <p:grpSpPr>
          <a:xfrm>
            <a:off x="6857396" y="5726803"/>
            <a:ext cx="576000" cy="446851"/>
            <a:chOff x="11088149" y="5725349"/>
            <a:chExt cx="576000" cy="446851"/>
          </a:xfrm>
        </p:grpSpPr>
        <p:sp>
          <p:nvSpPr>
            <p:cNvPr id="125" name="Rectangle 124">
              <a:extLst>
                <a:ext uri="{FF2B5EF4-FFF2-40B4-BE49-F238E27FC236}">
                  <a16:creationId xmlns:a16="http://schemas.microsoft.com/office/drawing/2014/main" id="{84B92153-AB66-C681-88B5-B7EB190E8C25}"/>
                </a:ext>
              </a:extLst>
            </p:cNvPr>
            <p:cNvSpPr/>
            <p:nvPr/>
          </p:nvSpPr>
          <p:spPr>
            <a:xfrm>
              <a:off x="11088149" y="5725349"/>
              <a:ext cx="576000" cy="446851"/>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26" name="L-Shape 125">
              <a:extLst>
                <a:ext uri="{FF2B5EF4-FFF2-40B4-BE49-F238E27FC236}">
                  <a16:creationId xmlns:a16="http://schemas.microsoft.com/office/drawing/2014/main" id="{47E228DA-B553-5493-665C-44D1692A9D12}"/>
                </a:ext>
              </a:extLst>
            </p:cNvPr>
            <p:cNvSpPr/>
            <p:nvPr/>
          </p:nvSpPr>
          <p:spPr>
            <a:xfrm rot="13500000">
              <a:off x="11221184" y="5828229"/>
              <a:ext cx="253621" cy="241090"/>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134" name="Rectangle 133">
            <a:extLst>
              <a:ext uri="{FF2B5EF4-FFF2-40B4-BE49-F238E27FC236}">
                <a16:creationId xmlns:a16="http://schemas.microsoft.com/office/drawing/2014/main" id="{CFDEC673-F15A-A608-8775-B4A0A0928B31}"/>
              </a:ext>
            </a:extLst>
          </p:cNvPr>
          <p:cNvSpPr/>
          <p:nvPr/>
        </p:nvSpPr>
        <p:spPr>
          <a:xfrm>
            <a:off x="7433375" y="4177153"/>
            <a:ext cx="4315951" cy="4460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spcAft>
                <a:spcPts val="300"/>
              </a:spcAft>
              <a:buSzPct val="100000"/>
            </a:pPr>
            <a:r>
              <a:rPr lang="lv-LV" sz="1200" kern="100" spc="10">
                <a:solidFill>
                  <a:schemeClr val="tx1"/>
                </a:solidFill>
                <a:cs typeface="Times New Roman"/>
              </a:rPr>
              <a:t>Iedzīvotāju evakuācija no katastrofas apdraudētajām vai skartajām teritorijām</a:t>
            </a:r>
          </a:p>
        </p:txBody>
      </p:sp>
      <p:sp>
        <p:nvSpPr>
          <p:cNvPr id="136" name="Rectangle 135">
            <a:extLst>
              <a:ext uri="{FF2B5EF4-FFF2-40B4-BE49-F238E27FC236}">
                <a16:creationId xmlns:a16="http://schemas.microsoft.com/office/drawing/2014/main" id="{2828282F-656A-0349-78B5-C46022B059AE}"/>
              </a:ext>
            </a:extLst>
          </p:cNvPr>
          <p:cNvSpPr/>
          <p:nvPr/>
        </p:nvSpPr>
        <p:spPr>
          <a:xfrm>
            <a:off x="7433375" y="4693703"/>
            <a:ext cx="4315951" cy="4460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spcAft>
                <a:spcPts val="300"/>
              </a:spcAft>
              <a:buSzPct val="100000"/>
            </a:pPr>
            <a:r>
              <a:rPr lang="lv-LV" sz="1200" kern="100" spc="10">
                <a:solidFill>
                  <a:schemeClr val="tx1"/>
                </a:solidFill>
                <a:cs typeface="Times New Roman"/>
              </a:rPr>
              <a:t>Iesaistāmie resursi</a:t>
            </a:r>
          </a:p>
        </p:txBody>
      </p:sp>
      <p:sp>
        <p:nvSpPr>
          <p:cNvPr id="137" name="Rectangle 136">
            <a:extLst>
              <a:ext uri="{FF2B5EF4-FFF2-40B4-BE49-F238E27FC236}">
                <a16:creationId xmlns:a16="http://schemas.microsoft.com/office/drawing/2014/main" id="{B47CA079-37BF-9902-F192-1A93144D5175}"/>
              </a:ext>
            </a:extLst>
          </p:cNvPr>
          <p:cNvSpPr/>
          <p:nvPr/>
        </p:nvSpPr>
        <p:spPr>
          <a:xfrm>
            <a:off x="7433375" y="5210253"/>
            <a:ext cx="4315951" cy="4460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spcAft>
                <a:spcPts val="300"/>
              </a:spcAft>
              <a:buSzPct val="100000"/>
            </a:pPr>
            <a:r>
              <a:rPr lang="lv-LV" sz="1200" kern="100" spc="10">
                <a:solidFill>
                  <a:schemeClr val="tx1"/>
                </a:solidFill>
                <a:cs typeface="Times New Roman"/>
              </a:rPr>
              <a:t>Sadarbība ar citām institūcijām un dienestiem</a:t>
            </a:r>
          </a:p>
        </p:txBody>
      </p:sp>
      <p:sp>
        <p:nvSpPr>
          <p:cNvPr id="138" name="Rectangle 137">
            <a:extLst>
              <a:ext uri="{FF2B5EF4-FFF2-40B4-BE49-F238E27FC236}">
                <a16:creationId xmlns:a16="http://schemas.microsoft.com/office/drawing/2014/main" id="{B972725F-F05A-9AF8-A780-28AAAD7FFF00}"/>
              </a:ext>
            </a:extLst>
          </p:cNvPr>
          <p:cNvSpPr/>
          <p:nvPr/>
        </p:nvSpPr>
        <p:spPr>
          <a:xfrm>
            <a:off x="7433396" y="3660603"/>
            <a:ext cx="4315692" cy="4460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spcAft>
                <a:spcPts val="300"/>
              </a:spcAft>
              <a:buSzPct val="100000"/>
            </a:pPr>
            <a:r>
              <a:rPr lang="lv-LV" sz="1200" kern="100" spc="10">
                <a:solidFill>
                  <a:schemeClr val="tx1"/>
                </a:solidFill>
                <a:cs typeface="Times New Roman"/>
              </a:rPr>
              <a:t>Teritorijas administratīvi teritoriālais raksturojums</a:t>
            </a:r>
          </a:p>
        </p:txBody>
      </p:sp>
      <p:sp>
        <p:nvSpPr>
          <p:cNvPr id="141" name="Rectangle 140">
            <a:extLst>
              <a:ext uri="{FF2B5EF4-FFF2-40B4-BE49-F238E27FC236}">
                <a16:creationId xmlns:a16="http://schemas.microsoft.com/office/drawing/2014/main" id="{6E1D3BB9-1788-2704-DC25-F283CE60D0B3}"/>
              </a:ext>
            </a:extLst>
          </p:cNvPr>
          <p:cNvSpPr/>
          <p:nvPr/>
        </p:nvSpPr>
        <p:spPr>
          <a:xfrm>
            <a:off x="7433375" y="5727566"/>
            <a:ext cx="4315951" cy="4460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spcAft>
                <a:spcPts val="300"/>
              </a:spcAft>
              <a:buSzPct val="100000"/>
            </a:pPr>
            <a:r>
              <a:rPr lang="lv-LV" sz="1200" kern="100" spc="10">
                <a:solidFill>
                  <a:schemeClr val="tx1"/>
                </a:solidFill>
                <a:cs typeface="Times New Roman"/>
              </a:rPr>
              <a:t>Pasākumi militāra iebrukuma vai kara gadījumā</a:t>
            </a:r>
          </a:p>
        </p:txBody>
      </p:sp>
    </p:spTree>
    <p:extLst>
      <p:ext uri="{BB962C8B-B14F-4D97-AF65-F5344CB8AC3E}">
        <p14:creationId xmlns:p14="http://schemas.microsoft.com/office/powerpoint/2010/main" val="39985879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B17D7669-20A3-7481-8F23-CD69449C9745}"/>
              </a:ext>
            </a:extLst>
          </p:cNvPr>
          <p:cNvGraphicFramePr>
            <a:graphicFrameLocks noChangeAspect="1"/>
          </p:cNvGraphicFramePr>
          <p:nvPr>
            <p:custDataLst>
              <p:tags r:id="rId1"/>
            </p:custDataLst>
            <p:extLst>
              <p:ext uri="{D42A27DB-BD31-4B8C-83A1-F6EECF244321}">
                <p14:modId xmlns:p14="http://schemas.microsoft.com/office/powerpoint/2010/main" val="1818123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18" name="think-cell data - do not delete" hidden="1">
                        <a:extLst>
                          <a:ext uri="{FF2B5EF4-FFF2-40B4-BE49-F238E27FC236}">
                            <a16:creationId xmlns:a16="http://schemas.microsoft.com/office/drawing/2014/main" id="{B17D7669-20A3-7481-8F23-CD69449C97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EB70CDAA-B400-12D0-4931-7878309E90AD}"/>
              </a:ext>
            </a:extLst>
          </p:cNvPr>
          <p:cNvSpPr/>
          <p:nvPr/>
        </p:nvSpPr>
        <p:spPr>
          <a:xfrm>
            <a:off x="442913" y="2251563"/>
            <a:ext cx="11306175" cy="288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r>
              <a:rPr lang="lv-LV" sz="1400"/>
              <a:t>Pamatinformācija</a:t>
            </a:r>
          </a:p>
        </p:txBody>
      </p:sp>
      <p:sp>
        <p:nvSpPr>
          <p:cNvPr id="9" name="TextBox 8">
            <a:extLst>
              <a:ext uri="{FF2B5EF4-FFF2-40B4-BE49-F238E27FC236}">
                <a16:creationId xmlns:a16="http://schemas.microsoft.com/office/drawing/2014/main" id="{E60771D5-36B1-5846-E0FD-EE10BA67E143}"/>
              </a:ext>
            </a:extLst>
          </p:cNvPr>
          <p:cNvSpPr txBox="1"/>
          <p:nvPr/>
        </p:nvSpPr>
        <p:spPr>
          <a:xfrm>
            <a:off x="8021954" y="1817929"/>
            <a:ext cx="3727134" cy="360000"/>
          </a:xfrm>
          <a:prstGeom prst="rect">
            <a:avLst/>
          </a:prstGeom>
          <a:solidFill>
            <a:srgbClr val="CFD6E8"/>
          </a:solidFill>
        </p:spPr>
        <p:txBody>
          <a:bodyPr wrap="square" lIns="144000" tIns="36000" rIns="72000" bIns="36000" anchor="ctr" anchorCtr="0">
            <a:noAutofit/>
          </a:bodyPr>
          <a:lstStyle/>
          <a:p>
            <a:pPr defTabSz="822960">
              <a:spcAft>
                <a:spcPts val="270"/>
              </a:spcAft>
              <a:defRPr/>
            </a:pPr>
            <a:r>
              <a:rPr lang="lv-LV" sz="1600" b="1">
                <a:ea typeface="Times New Roman" panose="02020603050405020304" pitchFamily="18" charset="0"/>
                <a:cs typeface="Times New Roman" panose="02020603050405020304" pitchFamily="18" charset="0"/>
              </a:rPr>
              <a:t>Objekta civilās aizsardzības plāns</a:t>
            </a:r>
          </a:p>
        </p:txBody>
      </p:sp>
      <p:sp>
        <p:nvSpPr>
          <p:cNvPr id="10" name="TextBox 9">
            <a:extLst>
              <a:ext uri="{FF2B5EF4-FFF2-40B4-BE49-F238E27FC236}">
                <a16:creationId xmlns:a16="http://schemas.microsoft.com/office/drawing/2014/main" id="{0E3AF958-70C4-357F-D986-53A75E5CF63B}"/>
              </a:ext>
            </a:extLst>
          </p:cNvPr>
          <p:cNvSpPr txBox="1"/>
          <p:nvPr/>
        </p:nvSpPr>
        <p:spPr>
          <a:xfrm>
            <a:off x="441490" y="1817640"/>
            <a:ext cx="7512064" cy="371730"/>
          </a:xfrm>
          <a:prstGeom prst="rect">
            <a:avLst/>
          </a:prstGeom>
          <a:solidFill>
            <a:srgbClr val="A8192D"/>
          </a:solidFill>
        </p:spPr>
        <p:txBody>
          <a:bodyPr wrap="square" lIns="144000" tIns="36000" rIns="72000" bIns="36000" anchor="ctr" anchorCtr="0">
            <a:noAutofit/>
          </a:bodyPr>
          <a:lstStyle/>
          <a:p>
            <a:pPr defTabSz="822960">
              <a:defRPr/>
            </a:pPr>
            <a:r>
              <a:rPr lang="lv-LV" sz="1600" b="1">
                <a:solidFill>
                  <a:schemeClr val="bg1"/>
                </a:solidFill>
                <a:ea typeface="Times New Roman" panose="02020603050405020304" pitchFamily="18" charset="0"/>
                <a:cs typeface="Times New Roman" panose="02020603050405020304" pitchFamily="18" charset="0"/>
              </a:rPr>
              <a:t>Paaugstinātas bīstamības objekta civilās aizsardzības plāns</a:t>
            </a:r>
          </a:p>
        </p:txBody>
      </p:sp>
      <p:sp>
        <p:nvSpPr>
          <p:cNvPr id="3" name="Slide Number Placeholder 2">
            <a:extLst>
              <a:ext uri="{FF2B5EF4-FFF2-40B4-BE49-F238E27FC236}">
                <a16:creationId xmlns:a16="http://schemas.microsoft.com/office/drawing/2014/main" id="{8F80B32A-55E9-507D-78BC-6113B4CE3EB1}"/>
              </a:ext>
            </a:extLst>
          </p:cNvPr>
          <p:cNvSpPr>
            <a:spLocks noGrp="1"/>
          </p:cNvSpPr>
          <p:nvPr>
            <p:ph type="sldNum" sz="quarter" idx="11"/>
          </p:nvPr>
        </p:nvSpPr>
        <p:spPr/>
        <p:txBody>
          <a:bodyPr/>
          <a:lstStyle/>
          <a:p>
            <a:fld id="{7870704B-CE94-48CC-AF30-84932A1262A7}" type="slidenum">
              <a:rPr lang="en-GB" smtClean="0"/>
              <a:pPr/>
              <a:t>24</a:t>
            </a:fld>
            <a:endParaRPr lang="en-GB"/>
          </a:p>
        </p:txBody>
      </p:sp>
      <p:sp>
        <p:nvSpPr>
          <p:cNvPr id="2" name="Title 9">
            <a:extLst>
              <a:ext uri="{FF2B5EF4-FFF2-40B4-BE49-F238E27FC236}">
                <a16:creationId xmlns:a16="http://schemas.microsoft.com/office/drawing/2014/main" id="{1299C1A8-38BE-9556-5CBE-67D0E693F9D9}"/>
              </a:ext>
            </a:extLst>
          </p:cNvPr>
          <p:cNvSpPr>
            <a:spLocks noGrp="1"/>
          </p:cNvSpPr>
          <p:nvPr>
            <p:ph type="title"/>
          </p:nvPr>
        </p:nvSpPr>
        <p:spPr>
          <a:xfrm>
            <a:off x="442913" y="432001"/>
            <a:ext cx="11306175" cy="1387274"/>
          </a:xfrm>
        </p:spPr>
        <p:txBody>
          <a:bodyPr vert="horz"/>
          <a:lstStyle/>
          <a:p>
            <a:r>
              <a:rPr lang="lv-LV" altLang="lv-LV"/>
              <a:t>Civilās aizsardzības plānā iekļaujamā informācija</a:t>
            </a:r>
            <a:endParaRPr lang="cs-CZ"/>
          </a:p>
        </p:txBody>
      </p:sp>
      <p:sp>
        <p:nvSpPr>
          <p:cNvPr id="11" name="Rectangle 10">
            <a:extLst>
              <a:ext uri="{FF2B5EF4-FFF2-40B4-BE49-F238E27FC236}">
                <a16:creationId xmlns:a16="http://schemas.microsoft.com/office/drawing/2014/main" id="{70513DFC-D897-87EB-EF6A-D4829E31C2D1}"/>
              </a:ext>
            </a:extLst>
          </p:cNvPr>
          <p:cNvSpPr/>
          <p:nvPr/>
        </p:nvSpPr>
        <p:spPr>
          <a:xfrm rot="5400000">
            <a:off x="298913" y="1973371"/>
            <a:ext cx="360000" cy="72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lIns="108000" tIns="72000" rIns="108000" bIns="72000" rtlCol="0" anchor="ctr"/>
          <a:lstStyle/>
          <a:p>
            <a:pPr algn="ctr">
              <a:lnSpc>
                <a:spcPct val="100000"/>
              </a:lnSpc>
            </a:pPr>
            <a:endParaRPr lang="en-GB" sz="1600"/>
          </a:p>
        </p:txBody>
      </p:sp>
      <p:sp>
        <p:nvSpPr>
          <p:cNvPr id="12" name="Rectangle 11">
            <a:extLst>
              <a:ext uri="{FF2B5EF4-FFF2-40B4-BE49-F238E27FC236}">
                <a16:creationId xmlns:a16="http://schemas.microsoft.com/office/drawing/2014/main" id="{9FE544F4-5FE9-EB4A-60A5-5DB0C11FA6FA}"/>
              </a:ext>
            </a:extLst>
          </p:cNvPr>
          <p:cNvSpPr/>
          <p:nvPr/>
        </p:nvSpPr>
        <p:spPr>
          <a:xfrm rot="5400000">
            <a:off x="7877954" y="1961929"/>
            <a:ext cx="360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lIns="108000" tIns="72000" rIns="108000" bIns="72000" rtlCol="0" anchor="ctr"/>
          <a:lstStyle/>
          <a:p>
            <a:pPr algn="ctr">
              <a:lnSpc>
                <a:spcPct val="100000"/>
              </a:lnSpc>
            </a:pPr>
            <a:endParaRPr lang="en-GB" sz="1600"/>
          </a:p>
        </p:txBody>
      </p:sp>
      <p:sp>
        <p:nvSpPr>
          <p:cNvPr id="6" name="Rectangle 5">
            <a:extLst>
              <a:ext uri="{FF2B5EF4-FFF2-40B4-BE49-F238E27FC236}">
                <a16:creationId xmlns:a16="http://schemas.microsoft.com/office/drawing/2014/main" id="{976F9164-18B5-7B30-6C9E-4C5AC2AFB251}"/>
              </a:ext>
            </a:extLst>
          </p:cNvPr>
          <p:cNvSpPr/>
          <p:nvPr/>
        </p:nvSpPr>
        <p:spPr>
          <a:xfrm>
            <a:off x="442913" y="2608594"/>
            <a:ext cx="11306175" cy="288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spcAft>
                <a:spcPts val="600"/>
              </a:spcAft>
              <a:buSzPct val="100000"/>
            </a:pPr>
            <a:r>
              <a:rPr lang="lv-LV" sz="1400"/>
              <a:t>Objekta un tā darbības raksturojums</a:t>
            </a:r>
          </a:p>
        </p:txBody>
      </p:sp>
      <p:sp>
        <p:nvSpPr>
          <p:cNvPr id="7" name="Rectangle 6">
            <a:extLst>
              <a:ext uri="{FF2B5EF4-FFF2-40B4-BE49-F238E27FC236}">
                <a16:creationId xmlns:a16="http://schemas.microsoft.com/office/drawing/2014/main" id="{95F2504B-3C54-3ABF-D5FC-BF2DA17554A4}"/>
              </a:ext>
            </a:extLst>
          </p:cNvPr>
          <p:cNvSpPr/>
          <p:nvPr/>
        </p:nvSpPr>
        <p:spPr>
          <a:xfrm>
            <a:off x="442913" y="2965625"/>
            <a:ext cx="11306175" cy="288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spcAft>
                <a:spcPts val="600"/>
              </a:spcAft>
              <a:buSzPct val="100000"/>
            </a:pPr>
            <a:r>
              <a:rPr lang="lv-LV" sz="1400"/>
              <a:t>Risku novērtējums</a:t>
            </a:r>
          </a:p>
        </p:txBody>
      </p:sp>
      <p:sp>
        <p:nvSpPr>
          <p:cNvPr id="8" name="Rectangle 7">
            <a:extLst>
              <a:ext uri="{FF2B5EF4-FFF2-40B4-BE49-F238E27FC236}">
                <a16:creationId xmlns:a16="http://schemas.microsoft.com/office/drawing/2014/main" id="{7783C402-0517-A40D-5AD3-C7B8CD89F746}"/>
              </a:ext>
            </a:extLst>
          </p:cNvPr>
          <p:cNvSpPr/>
          <p:nvPr/>
        </p:nvSpPr>
        <p:spPr>
          <a:xfrm>
            <a:off x="442913" y="3322656"/>
            <a:ext cx="11306175" cy="288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spcAft>
                <a:spcPts val="600"/>
              </a:spcAft>
              <a:buSzPct val="100000"/>
            </a:pPr>
            <a:r>
              <a:rPr lang="lv-LV" sz="1400"/>
              <a:t>Preventīvie, gatavības, reaģēšanas un seku likvidēšanas pasākumi</a:t>
            </a:r>
          </a:p>
        </p:txBody>
      </p:sp>
      <p:sp>
        <p:nvSpPr>
          <p:cNvPr id="13" name="Rectangle 12">
            <a:extLst>
              <a:ext uri="{FF2B5EF4-FFF2-40B4-BE49-F238E27FC236}">
                <a16:creationId xmlns:a16="http://schemas.microsoft.com/office/drawing/2014/main" id="{A6BE1D1D-3F01-1DF1-B44F-6D56DDF9CE64}"/>
              </a:ext>
            </a:extLst>
          </p:cNvPr>
          <p:cNvSpPr/>
          <p:nvPr/>
        </p:nvSpPr>
        <p:spPr>
          <a:xfrm>
            <a:off x="442913" y="3679687"/>
            <a:ext cx="11306175" cy="288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spcAft>
                <a:spcPts val="600"/>
              </a:spcAft>
              <a:buSzPct val="100000"/>
            </a:pPr>
            <a:r>
              <a:rPr lang="lv-LV" sz="1400"/>
              <a:t>Evakuācijas pasākumi</a:t>
            </a:r>
          </a:p>
        </p:txBody>
      </p:sp>
      <p:sp>
        <p:nvSpPr>
          <p:cNvPr id="21" name="Rectangle 20">
            <a:extLst>
              <a:ext uri="{FF2B5EF4-FFF2-40B4-BE49-F238E27FC236}">
                <a16:creationId xmlns:a16="http://schemas.microsoft.com/office/drawing/2014/main" id="{1118417F-5F3E-C322-3338-E4C7A4CDB1CE}"/>
              </a:ext>
            </a:extLst>
          </p:cNvPr>
          <p:cNvSpPr/>
          <p:nvPr/>
        </p:nvSpPr>
        <p:spPr>
          <a:xfrm>
            <a:off x="442913" y="4036718"/>
            <a:ext cx="11306175" cy="288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spcAft>
                <a:spcPts val="600"/>
              </a:spcAft>
              <a:buSzPct val="100000"/>
            </a:pPr>
            <a:r>
              <a:rPr lang="lv-LV" sz="1400"/>
              <a:t>Darbības nodrošināšanas vai pārtraukšanas pasākumi apdraudējuma gadījumā</a:t>
            </a:r>
          </a:p>
        </p:txBody>
      </p:sp>
      <p:sp>
        <p:nvSpPr>
          <p:cNvPr id="15" name="Rectangle 14">
            <a:extLst>
              <a:ext uri="{FF2B5EF4-FFF2-40B4-BE49-F238E27FC236}">
                <a16:creationId xmlns:a16="http://schemas.microsoft.com/office/drawing/2014/main" id="{5B79C17C-666F-CB52-D0B3-705685972900}"/>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rgbClr val="A4A3B2"/>
                </a:solidFill>
                <a:effectLst/>
                <a:uLnTx/>
                <a:uFillTx/>
                <a:ea typeface="Georgia"/>
                <a:cs typeface="Georgia"/>
                <a:sym typeface="Georgia"/>
              </a:rPr>
              <a:t>2. CIVILĀS AIZSARDZĪBAS SISTĒMA UN NORMATĪVAIS UN POLITIKAS PLĀNOŠANAS IETVARS</a:t>
            </a:r>
          </a:p>
        </p:txBody>
      </p:sp>
      <p:grpSp>
        <p:nvGrpSpPr>
          <p:cNvPr id="135" name="Group 134">
            <a:extLst>
              <a:ext uri="{FF2B5EF4-FFF2-40B4-BE49-F238E27FC236}">
                <a16:creationId xmlns:a16="http://schemas.microsoft.com/office/drawing/2014/main" id="{90DF27BD-9BCC-CAE8-73D7-5818428FEDC5}"/>
              </a:ext>
            </a:extLst>
          </p:cNvPr>
          <p:cNvGrpSpPr/>
          <p:nvPr/>
        </p:nvGrpSpPr>
        <p:grpSpPr>
          <a:xfrm>
            <a:off x="6399569" y="132067"/>
            <a:ext cx="5349135" cy="224022"/>
            <a:chOff x="6167418" y="132067"/>
            <a:chExt cx="5349135" cy="224022"/>
          </a:xfrm>
        </p:grpSpPr>
        <p:sp>
          <p:nvSpPr>
            <p:cNvPr id="17" name="Rectangle 16">
              <a:extLst>
                <a:ext uri="{FF2B5EF4-FFF2-40B4-BE49-F238E27FC236}">
                  <a16:creationId xmlns:a16="http://schemas.microsoft.com/office/drawing/2014/main" id="{63E7A5D7-CFE1-520D-819B-3703E53CBA5E}"/>
                </a:ext>
              </a:extLst>
            </p:cNvPr>
            <p:cNvSpPr/>
            <p:nvPr/>
          </p:nvSpPr>
          <p:spPr>
            <a:xfrm>
              <a:off x="6167418" y="13860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AF00175B-FD76-4FA8-F7C9-6353DF9C6180}"/>
                </a:ext>
              </a:extLst>
            </p:cNvPr>
            <p:cNvSpPr/>
            <p:nvPr/>
          </p:nvSpPr>
          <p:spPr>
            <a:xfrm>
              <a:off x="6409245" y="13860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22" name="Rectangle 21">
              <a:extLst>
                <a:ext uri="{FF2B5EF4-FFF2-40B4-BE49-F238E27FC236}">
                  <a16:creationId xmlns:a16="http://schemas.microsoft.com/office/drawing/2014/main" id="{857FB673-D176-EF67-AF60-57DCFAC4504F}"/>
                </a:ext>
              </a:extLst>
            </p:cNvPr>
            <p:cNvSpPr/>
            <p:nvPr/>
          </p:nvSpPr>
          <p:spPr>
            <a:xfrm>
              <a:off x="6651072" y="138601"/>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3" name="Rectangle 22">
              <a:extLst>
                <a:ext uri="{FF2B5EF4-FFF2-40B4-BE49-F238E27FC236}">
                  <a16:creationId xmlns:a16="http://schemas.microsoft.com/office/drawing/2014/main" id="{E12C62DC-039B-5926-D174-B1A8FEF347F6}"/>
                </a:ext>
              </a:extLst>
            </p:cNvPr>
            <p:cNvSpPr/>
            <p:nvPr/>
          </p:nvSpPr>
          <p:spPr>
            <a:xfrm>
              <a:off x="7134726" y="138601"/>
              <a:ext cx="414000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600"/>
                </a:spcAft>
              </a:pPr>
              <a:r>
                <a:rPr lang="lv-LV" sz="800" b="1">
                  <a:latin typeface="Arial"/>
                  <a:cs typeface="Arial"/>
                </a:rPr>
                <a:t>Civilās aizsardzības pasākumu plānošana</a:t>
              </a:r>
              <a:endParaRPr lang="en-US" sz="800" b="1">
                <a:latin typeface="Arial"/>
                <a:cs typeface="Arial"/>
              </a:endParaRPr>
            </a:p>
          </p:txBody>
        </p:sp>
        <p:sp>
          <p:nvSpPr>
            <p:cNvPr id="24" name="Rectangle 23">
              <a:extLst>
                <a:ext uri="{FF2B5EF4-FFF2-40B4-BE49-F238E27FC236}">
                  <a16:creationId xmlns:a16="http://schemas.microsoft.com/office/drawing/2014/main" id="{2706F6E9-69C2-27CC-E989-8D9A11DBAD98}"/>
                </a:ext>
              </a:extLst>
            </p:cNvPr>
            <p:cNvSpPr/>
            <p:nvPr/>
          </p:nvSpPr>
          <p:spPr>
            <a:xfrm>
              <a:off x="6892899" y="138601"/>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4</a:t>
              </a:r>
            </a:p>
          </p:txBody>
        </p:sp>
        <p:sp>
          <p:nvSpPr>
            <p:cNvPr id="25" name="Rectangle 24">
              <a:extLst>
                <a:ext uri="{FF2B5EF4-FFF2-40B4-BE49-F238E27FC236}">
                  <a16:creationId xmlns:a16="http://schemas.microsoft.com/office/drawing/2014/main" id="{85ED544C-9FDB-E688-FE2E-B5D5B48793F5}"/>
                </a:ext>
              </a:extLst>
            </p:cNvPr>
            <p:cNvSpPr/>
            <p:nvPr/>
          </p:nvSpPr>
          <p:spPr>
            <a:xfrm>
              <a:off x="1130055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103" name="Rectangle 102">
            <a:extLst>
              <a:ext uri="{FF2B5EF4-FFF2-40B4-BE49-F238E27FC236}">
                <a16:creationId xmlns:a16="http://schemas.microsoft.com/office/drawing/2014/main" id="{B8A2F7DC-E116-1BBE-5A6B-64C7E680F1BD}"/>
              </a:ext>
            </a:extLst>
          </p:cNvPr>
          <p:cNvSpPr/>
          <p:nvPr/>
        </p:nvSpPr>
        <p:spPr>
          <a:xfrm>
            <a:off x="1018710" y="4854733"/>
            <a:ext cx="3624263" cy="3952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spcAft>
                <a:spcPts val="300"/>
              </a:spcAft>
              <a:buSzPct val="100000"/>
            </a:pPr>
            <a:r>
              <a:rPr lang="lv-LV" sz="1200" kern="100" spc="10">
                <a:solidFill>
                  <a:schemeClr val="tx1"/>
                </a:solidFill>
                <a:cs typeface="Times New Roman"/>
              </a:rPr>
              <a:t>Civilās aizsardzības organizācija un </a:t>
            </a:r>
            <a:br>
              <a:rPr lang="lv-LV" sz="1200" kern="100" spc="10">
                <a:solidFill>
                  <a:schemeClr val="tx1"/>
                </a:solidFill>
                <a:cs typeface="Times New Roman"/>
              </a:rPr>
            </a:br>
            <a:r>
              <a:rPr lang="lv-LV" sz="1200" kern="100" spc="10">
                <a:solidFill>
                  <a:schemeClr val="tx1"/>
                </a:solidFill>
                <a:cs typeface="Times New Roman"/>
              </a:rPr>
              <a:t>atbildīgie darbinieki</a:t>
            </a:r>
          </a:p>
        </p:txBody>
      </p:sp>
      <p:sp>
        <p:nvSpPr>
          <p:cNvPr id="107" name="Rectangle 106">
            <a:extLst>
              <a:ext uri="{FF2B5EF4-FFF2-40B4-BE49-F238E27FC236}">
                <a16:creationId xmlns:a16="http://schemas.microsoft.com/office/drawing/2014/main" id="{EEF73D00-2BC0-1F09-AB22-997BF5B5AEDC}"/>
              </a:ext>
            </a:extLst>
          </p:cNvPr>
          <p:cNvSpPr/>
          <p:nvPr/>
        </p:nvSpPr>
        <p:spPr>
          <a:xfrm>
            <a:off x="5281791" y="4392613"/>
            <a:ext cx="2672110" cy="3952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spcAft>
                <a:spcPts val="300"/>
              </a:spcAft>
              <a:buSzPct val="100000"/>
            </a:pPr>
            <a:r>
              <a:rPr lang="lv-LV" sz="1200" kern="100" spc="10">
                <a:solidFill>
                  <a:schemeClr val="tx1"/>
                </a:solidFill>
                <a:cs typeface="Times New Roman"/>
              </a:rPr>
              <a:t>Darbinieku apmācība</a:t>
            </a:r>
          </a:p>
        </p:txBody>
      </p:sp>
      <p:sp>
        <p:nvSpPr>
          <p:cNvPr id="111" name="Rectangle 110">
            <a:extLst>
              <a:ext uri="{FF2B5EF4-FFF2-40B4-BE49-F238E27FC236}">
                <a16:creationId xmlns:a16="http://schemas.microsoft.com/office/drawing/2014/main" id="{2BE907A4-1571-B9F0-D513-57AB05B745BE}"/>
              </a:ext>
            </a:extLst>
          </p:cNvPr>
          <p:cNvSpPr/>
          <p:nvPr/>
        </p:nvSpPr>
        <p:spPr>
          <a:xfrm>
            <a:off x="1018710" y="5775798"/>
            <a:ext cx="6935190" cy="3952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spcAft>
                <a:spcPts val="300"/>
              </a:spcAft>
              <a:buSzPct val="100000"/>
            </a:pPr>
            <a:r>
              <a:rPr lang="lv-LV" sz="1200" kern="100" spc="10">
                <a:solidFill>
                  <a:schemeClr val="tx1"/>
                </a:solidFill>
                <a:cs typeface="Times New Roman"/>
              </a:rPr>
              <a:t>Riska samazināšanas pasākumi personām</a:t>
            </a:r>
          </a:p>
        </p:txBody>
      </p:sp>
      <p:sp>
        <p:nvSpPr>
          <p:cNvPr id="115" name="Rectangle 114">
            <a:extLst>
              <a:ext uri="{FF2B5EF4-FFF2-40B4-BE49-F238E27FC236}">
                <a16:creationId xmlns:a16="http://schemas.microsoft.com/office/drawing/2014/main" id="{54FE79A9-8473-DE77-44E6-2C986EF74B03}"/>
              </a:ext>
            </a:extLst>
          </p:cNvPr>
          <p:cNvSpPr/>
          <p:nvPr/>
        </p:nvSpPr>
        <p:spPr>
          <a:xfrm>
            <a:off x="1018710" y="5315266"/>
            <a:ext cx="3624263" cy="3952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spcAft>
                <a:spcPts val="300"/>
              </a:spcAft>
              <a:buSzPct val="100000"/>
            </a:pPr>
            <a:r>
              <a:rPr lang="lv-LV" sz="1200" kern="100" spc="10">
                <a:solidFill>
                  <a:schemeClr val="tx1"/>
                </a:solidFill>
                <a:cs typeface="Times New Roman"/>
              </a:rPr>
              <a:t>Avārijas draudu reģistrēšana un brīdināšanas sistēma</a:t>
            </a:r>
          </a:p>
        </p:txBody>
      </p:sp>
      <p:sp>
        <p:nvSpPr>
          <p:cNvPr id="119" name="Rectangle 118">
            <a:extLst>
              <a:ext uri="{FF2B5EF4-FFF2-40B4-BE49-F238E27FC236}">
                <a16:creationId xmlns:a16="http://schemas.microsoft.com/office/drawing/2014/main" id="{25857B8E-3D4F-1175-6C7E-C82281D0DFB2}"/>
              </a:ext>
            </a:extLst>
          </p:cNvPr>
          <p:cNvSpPr/>
          <p:nvPr/>
        </p:nvSpPr>
        <p:spPr>
          <a:xfrm>
            <a:off x="5281791" y="4852871"/>
            <a:ext cx="2671763" cy="3952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spcAft>
                <a:spcPts val="300"/>
              </a:spcAft>
              <a:buSzPct val="100000"/>
            </a:pPr>
            <a:r>
              <a:rPr lang="lv-LV" sz="1200" kern="100" spc="10">
                <a:solidFill>
                  <a:schemeClr val="tx1"/>
                </a:solidFill>
                <a:cs typeface="Times New Roman"/>
              </a:rPr>
              <a:t>Resursu raksturojums</a:t>
            </a:r>
          </a:p>
        </p:txBody>
      </p:sp>
      <p:sp>
        <p:nvSpPr>
          <p:cNvPr id="123" name="Rectangle 122">
            <a:extLst>
              <a:ext uri="{FF2B5EF4-FFF2-40B4-BE49-F238E27FC236}">
                <a16:creationId xmlns:a16="http://schemas.microsoft.com/office/drawing/2014/main" id="{E540FF3B-2049-3D2C-DC6C-0CAFC95DAB95}"/>
              </a:ext>
            </a:extLst>
          </p:cNvPr>
          <p:cNvSpPr/>
          <p:nvPr/>
        </p:nvSpPr>
        <p:spPr>
          <a:xfrm>
            <a:off x="5281791" y="5313129"/>
            <a:ext cx="2671763" cy="3952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spcAft>
                <a:spcPts val="300"/>
              </a:spcAft>
              <a:buSzPct val="100000"/>
            </a:pPr>
            <a:r>
              <a:rPr lang="lv-LV" sz="1200" kern="100" spc="10">
                <a:solidFill>
                  <a:schemeClr val="tx1"/>
                </a:solidFill>
                <a:cs typeface="Times New Roman"/>
              </a:rPr>
              <a:t>Avārijas dienestu ierašanās </a:t>
            </a:r>
            <a:br>
              <a:rPr lang="en-US" sz="1200" kern="100" spc="10">
                <a:solidFill>
                  <a:schemeClr val="tx1"/>
                </a:solidFill>
                <a:cs typeface="Times New Roman"/>
              </a:rPr>
            </a:br>
            <a:r>
              <a:rPr lang="lv-LV" sz="1200" kern="100" spc="10">
                <a:solidFill>
                  <a:schemeClr val="tx1"/>
                </a:solidFill>
                <a:cs typeface="Times New Roman"/>
              </a:rPr>
              <a:t>avārijas vietā</a:t>
            </a:r>
          </a:p>
        </p:txBody>
      </p:sp>
      <p:sp>
        <p:nvSpPr>
          <p:cNvPr id="127" name="Rectangle 126">
            <a:extLst>
              <a:ext uri="{FF2B5EF4-FFF2-40B4-BE49-F238E27FC236}">
                <a16:creationId xmlns:a16="http://schemas.microsoft.com/office/drawing/2014/main" id="{FFE4CFE7-10FB-E0F9-AE54-A456443B207D}"/>
              </a:ext>
            </a:extLst>
          </p:cNvPr>
          <p:cNvSpPr/>
          <p:nvPr/>
        </p:nvSpPr>
        <p:spPr>
          <a:xfrm>
            <a:off x="8590493" y="4396557"/>
            <a:ext cx="3158212" cy="85725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spcBef>
                <a:spcPts val="300"/>
              </a:spcBef>
              <a:spcAft>
                <a:spcPts val="300"/>
              </a:spcAft>
              <a:buSzPct val="100000"/>
            </a:pPr>
            <a:r>
              <a:rPr lang="lv-LV" sz="1200" kern="100" spc="10">
                <a:solidFill>
                  <a:schemeClr val="tx1"/>
                </a:solidFill>
                <a:cs typeface="Times New Roman"/>
              </a:rPr>
              <a:t>Apziņošana objektā</a:t>
            </a:r>
          </a:p>
        </p:txBody>
      </p:sp>
      <p:sp>
        <p:nvSpPr>
          <p:cNvPr id="131" name="Rectangle 130">
            <a:extLst>
              <a:ext uri="{FF2B5EF4-FFF2-40B4-BE49-F238E27FC236}">
                <a16:creationId xmlns:a16="http://schemas.microsoft.com/office/drawing/2014/main" id="{6764AC4B-FEF3-2CCD-15D3-7FDF812B793E}"/>
              </a:ext>
            </a:extLst>
          </p:cNvPr>
          <p:cNvSpPr/>
          <p:nvPr/>
        </p:nvSpPr>
        <p:spPr>
          <a:xfrm>
            <a:off x="8605381" y="5313836"/>
            <a:ext cx="3143323" cy="85725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spcBef>
                <a:spcPts val="300"/>
              </a:spcBef>
              <a:spcAft>
                <a:spcPts val="300"/>
              </a:spcAft>
              <a:buSzPct val="100000"/>
            </a:pPr>
            <a:r>
              <a:rPr lang="lv-LV" sz="1200" kern="100" spc="10">
                <a:solidFill>
                  <a:schemeClr val="tx1"/>
                </a:solidFill>
                <a:cs typeface="Times New Roman"/>
              </a:rPr>
              <a:t>Sadarbība ar citām institūcijām</a:t>
            </a:r>
          </a:p>
        </p:txBody>
      </p:sp>
      <p:sp>
        <p:nvSpPr>
          <p:cNvPr id="149" name="Rectangle 148">
            <a:extLst>
              <a:ext uri="{FF2B5EF4-FFF2-40B4-BE49-F238E27FC236}">
                <a16:creationId xmlns:a16="http://schemas.microsoft.com/office/drawing/2014/main" id="{4F8D49D5-4873-CB69-4B18-8429A53BCC9A}"/>
              </a:ext>
            </a:extLst>
          </p:cNvPr>
          <p:cNvSpPr/>
          <p:nvPr/>
        </p:nvSpPr>
        <p:spPr>
          <a:xfrm>
            <a:off x="1018913" y="4394200"/>
            <a:ext cx="3624060" cy="3952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spcAft>
                <a:spcPts val="300"/>
              </a:spcAft>
              <a:buSzPct val="100000"/>
            </a:pPr>
            <a:r>
              <a:rPr lang="lv-LV" sz="1200" kern="100" spc="10">
                <a:solidFill>
                  <a:schemeClr val="tx1"/>
                </a:solidFill>
                <a:cs typeface="Times New Roman"/>
              </a:rPr>
              <a:t>Informācija par ģeogrāfisko izvietojumu, apkārtnes raksturojums,</a:t>
            </a:r>
            <a:r>
              <a:rPr lang="en-US" sz="1200" kern="100" spc="10">
                <a:solidFill>
                  <a:schemeClr val="tx1"/>
                </a:solidFill>
                <a:cs typeface="Times New Roman"/>
              </a:rPr>
              <a:t> </a:t>
            </a:r>
            <a:r>
              <a:rPr lang="lv-LV" sz="1200" kern="100" spc="10">
                <a:solidFill>
                  <a:schemeClr val="tx1"/>
                </a:solidFill>
                <a:cs typeface="Times New Roman"/>
              </a:rPr>
              <a:t>avārijas ietekmes zona</a:t>
            </a:r>
          </a:p>
        </p:txBody>
      </p:sp>
      <p:grpSp>
        <p:nvGrpSpPr>
          <p:cNvPr id="30" name="Group 29">
            <a:extLst>
              <a:ext uri="{FF2B5EF4-FFF2-40B4-BE49-F238E27FC236}">
                <a16:creationId xmlns:a16="http://schemas.microsoft.com/office/drawing/2014/main" id="{C5C4599D-50B9-1AA7-BE9F-BC3736FC71F2}"/>
              </a:ext>
            </a:extLst>
          </p:cNvPr>
          <p:cNvGrpSpPr/>
          <p:nvPr/>
        </p:nvGrpSpPr>
        <p:grpSpPr>
          <a:xfrm>
            <a:off x="442913" y="5775798"/>
            <a:ext cx="576000" cy="395382"/>
            <a:chOff x="441326" y="3466090"/>
            <a:chExt cx="576000" cy="375847"/>
          </a:xfrm>
        </p:grpSpPr>
        <p:sp>
          <p:nvSpPr>
            <p:cNvPr id="31" name="Rectangle 30">
              <a:extLst>
                <a:ext uri="{FF2B5EF4-FFF2-40B4-BE49-F238E27FC236}">
                  <a16:creationId xmlns:a16="http://schemas.microsoft.com/office/drawing/2014/main" id="{0F8AF3D8-4A36-5BAD-7018-36E6F6AC90A9}"/>
                </a:ext>
              </a:extLst>
            </p:cNvPr>
            <p:cNvSpPr/>
            <p:nvPr/>
          </p:nvSpPr>
          <p:spPr>
            <a:xfrm>
              <a:off x="441326" y="3466090"/>
              <a:ext cx="576000" cy="375847"/>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2" name="L-Shape 31">
              <a:extLst>
                <a:ext uri="{FF2B5EF4-FFF2-40B4-BE49-F238E27FC236}">
                  <a16:creationId xmlns:a16="http://schemas.microsoft.com/office/drawing/2014/main" id="{1D81532B-2339-E2C1-F336-A5A69EE823D2}"/>
                </a:ext>
              </a:extLst>
            </p:cNvPr>
            <p:cNvSpPr/>
            <p:nvPr/>
          </p:nvSpPr>
          <p:spPr>
            <a:xfrm rot="13500000">
              <a:off x="580626" y="3541391"/>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46" name="Group 45">
            <a:extLst>
              <a:ext uri="{FF2B5EF4-FFF2-40B4-BE49-F238E27FC236}">
                <a16:creationId xmlns:a16="http://schemas.microsoft.com/office/drawing/2014/main" id="{1324A672-D1F1-FD5A-72D1-48C43942DF8F}"/>
              </a:ext>
            </a:extLst>
          </p:cNvPr>
          <p:cNvGrpSpPr/>
          <p:nvPr/>
        </p:nvGrpSpPr>
        <p:grpSpPr>
          <a:xfrm>
            <a:off x="442913" y="5314054"/>
            <a:ext cx="576000" cy="395382"/>
            <a:chOff x="441326" y="3466090"/>
            <a:chExt cx="576000" cy="375847"/>
          </a:xfrm>
        </p:grpSpPr>
        <p:sp>
          <p:nvSpPr>
            <p:cNvPr id="47" name="Rectangle 46">
              <a:extLst>
                <a:ext uri="{FF2B5EF4-FFF2-40B4-BE49-F238E27FC236}">
                  <a16:creationId xmlns:a16="http://schemas.microsoft.com/office/drawing/2014/main" id="{656AB3C2-026C-E715-D925-A13B751C8473}"/>
                </a:ext>
              </a:extLst>
            </p:cNvPr>
            <p:cNvSpPr/>
            <p:nvPr/>
          </p:nvSpPr>
          <p:spPr>
            <a:xfrm>
              <a:off x="441326" y="3466090"/>
              <a:ext cx="576000" cy="375847"/>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8" name="L-Shape 47">
              <a:extLst>
                <a:ext uri="{FF2B5EF4-FFF2-40B4-BE49-F238E27FC236}">
                  <a16:creationId xmlns:a16="http://schemas.microsoft.com/office/drawing/2014/main" id="{3112A528-1987-48A6-C4E9-818FC36C4A12}"/>
                </a:ext>
              </a:extLst>
            </p:cNvPr>
            <p:cNvSpPr/>
            <p:nvPr/>
          </p:nvSpPr>
          <p:spPr>
            <a:xfrm rot="13500000">
              <a:off x="580626" y="3541391"/>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49" name="Group 48">
            <a:extLst>
              <a:ext uri="{FF2B5EF4-FFF2-40B4-BE49-F238E27FC236}">
                <a16:creationId xmlns:a16="http://schemas.microsoft.com/office/drawing/2014/main" id="{0D8D010A-64F6-3698-58B5-25707D7DF964}"/>
              </a:ext>
            </a:extLst>
          </p:cNvPr>
          <p:cNvGrpSpPr/>
          <p:nvPr/>
        </p:nvGrpSpPr>
        <p:grpSpPr>
          <a:xfrm>
            <a:off x="442913" y="4852310"/>
            <a:ext cx="576000" cy="395382"/>
            <a:chOff x="441326" y="3466090"/>
            <a:chExt cx="576000" cy="375847"/>
          </a:xfrm>
        </p:grpSpPr>
        <p:sp>
          <p:nvSpPr>
            <p:cNvPr id="50" name="Rectangle 49">
              <a:extLst>
                <a:ext uri="{FF2B5EF4-FFF2-40B4-BE49-F238E27FC236}">
                  <a16:creationId xmlns:a16="http://schemas.microsoft.com/office/drawing/2014/main" id="{FCFE4574-F139-F2EC-40BE-DBEDA717016C}"/>
                </a:ext>
              </a:extLst>
            </p:cNvPr>
            <p:cNvSpPr/>
            <p:nvPr/>
          </p:nvSpPr>
          <p:spPr>
            <a:xfrm>
              <a:off x="441326" y="3466090"/>
              <a:ext cx="576000" cy="375847"/>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1" name="L-Shape 50">
              <a:extLst>
                <a:ext uri="{FF2B5EF4-FFF2-40B4-BE49-F238E27FC236}">
                  <a16:creationId xmlns:a16="http://schemas.microsoft.com/office/drawing/2014/main" id="{02A2C5A2-8161-6D93-7619-EC9A5EB42936}"/>
                </a:ext>
              </a:extLst>
            </p:cNvPr>
            <p:cNvSpPr/>
            <p:nvPr/>
          </p:nvSpPr>
          <p:spPr>
            <a:xfrm rot="13500000">
              <a:off x="580626" y="3541391"/>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52" name="Group 51">
            <a:extLst>
              <a:ext uri="{FF2B5EF4-FFF2-40B4-BE49-F238E27FC236}">
                <a16:creationId xmlns:a16="http://schemas.microsoft.com/office/drawing/2014/main" id="{671860C4-AE27-9D15-0B63-1F0D44C755A1}"/>
              </a:ext>
            </a:extLst>
          </p:cNvPr>
          <p:cNvGrpSpPr/>
          <p:nvPr/>
        </p:nvGrpSpPr>
        <p:grpSpPr>
          <a:xfrm>
            <a:off x="442913" y="4390566"/>
            <a:ext cx="576000" cy="395382"/>
            <a:chOff x="441326" y="3466090"/>
            <a:chExt cx="576000" cy="375847"/>
          </a:xfrm>
        </p:grpSpPr>
        <p:sp>
          <p:nvSpPr>
            <p:cNvPr id="53" name="Rectangle 52">
              <a:extLst>
                <a:ext uri="{FF2B5EF4-FFF2-40B4-BE49-F238E27FC236}">
                  <a16:creationId xmlns:a16="http://schemas.microsoft.com/office/drawing/2014/main" id="{5EF12559-BE2E-576B-038D-E2C7A1B20582}"/>
                </a:ext>
              </a:extLst>
            </p:cNvPr>
            <p:cNvSpPr/>
            <p:nvPr/>
          </p:nvSpPr>
          <p:spPr>
            <a:xfrm>
              <a:off x="441326" y="3466090"/>
              <a:ext cx="576000" cy="375847"/>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4" name="L-Shape 53">
              <a:extLst>
                <a:ext uri="{FF2B5EF4-FFF2-40B4-BE49-F238E27FC236}">
                  <a16:creationId xmlns:a16="http://schemas.microsoft.com/office/drawing/2014/main" id="{39685821-24D3-DF28-56AC-8B1021756E17}"/>
                </a:ext>
              </a:extLst>
            </p:cNvPr>
            <p:cNvSpPr/>
            <p:nvPr/>
          </p:nvSpPr>
          <p:spPr>
            <a:xfrm rot="13500000">
              <a:off x="580626" y="3541391"/>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55" name="Group 54">
            <a:extLst>
              <a:ext uri="{FF2B5EF4-FFF2-40B4-BE49-F238E27FC236}">
                <a16:creationId xmlns:a16="http://schemas.microsoft.com/office/drawing/2014/main" id="{980BD1CA-D4A1-DC53-347E-8B3166BB9160}"/>
              </a:ext>
            </a:extLst>
          </p:cNvPr>
          <p:cNvGrpSpPr/>
          <p:nvPr/>
        </p:nvGrpSpPr>
        <p:grpSpPr>
          <a:xfrm>
            <a:off x="4705790" y="4390566"/>
            <a:ext cx="576000" cy="395382"/>
            <a:chOff x="441326" y="3466090"/>
            <a:chExt cx="576000" cy="375847"/>
          </a:xfrm>
        </p:grpSpPr>
        <p:sp>
          <p:nvSpPr>
            <p:cNvPr id="56" name="Rectangle 55">
              <a:extLst>
                <a:ext uri="{FF2B5EF4-FFF2-40B4-BE49-F238E27FC236}">
                  <a16:creationId xmlns:a16="http://schemas.microsoft.com/office/drawing/2014/main" id="{75D8EEEB-9CAC-F846-5568-353FD910116D}"/>
                </a:ext>
              </a:extLst>
            </p:cNvPr>
            <p:cNvSpPr/>
            <p:nvPr/>
          </p:nvSpPr>
          <p:spPr>
            <a:xfrm>
              <a:off x="441326" y="3466090"/>
              <a:ext cx="576000" cy="375847"/>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7" name="L-Shape 56">
              <a:extLst>
                <a:ext uri="{FF2B5EF4-FFF2-40B4-BE49-F238E27FC236}">
                  <a16:creationId xmlns:a16="http://schemas.microsoft.com/office/drawing/2014/main" id="{F070B33B-437A-5C69-C12E-2E41A0E8517E}"/>
                </a:ext>
              </a:extLst>
            </p:cNvPr>
            <p:cNvSpPr/>
            <p:nvPr/>
          </p:nvSpPr>
          <p:spPr>
            <a:xfrm rot="13500000">
              <a:off x="580626" y="3541391"/>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58" name="Group 57">
            <a:extLst>
              <a:ext uri="{FF2B5EF4-FFF2-40B4-BE49-F238E27FC236}">
                <a16:creationId xmlns:a16="http://schemas.microsoft.com/office/drawing/2014/main" id="{26DED851-1CA6-CEBE-9BC7-3282413222E8}"/>
              </a:ext>
            </a:extLst>
          </p:cNvPr>
          <p:cNvGrpSpPr/>
          <p:nvPr/>
        </p:nvGrpSpPr>
        <p:grpSpPr>
          <a:xfrm>
            <a:off x="4705790" y="4854733"/>
            <a:ext cx="576000" cy="395382"/>
            <a:chOff x="441326" y="3466090"/>
            <a:chExt cx="576000" cy="375847"/>
          </a:xfrm>
        </p:grpSpPr>
        <p:sp>
          <p:nvSpPr>
            <p:cNvPr id="59" name="Rectangle 58">
              <a:extLst>
                <a:ext uri="{FF2B5EF4-FFF2-40B4-BE49-F238E27FC236}">
                  <a16:creationId xmlns:a16="http://schemas.microsoft.com/office/drawing/2014/main" id="{FB9C0CA8-2B44-10CC-A190-3B3F03909D23}"/>
                </a:ext>
              </a:extLst>
            </p:cNvPr>
            <p:cNvSpPr/>
            <p:nvPr/>
          </p:nvSpPr>
          <p:spPr>
            <a:xfrm>
              <a:off x="441326" y="3466090"/>
              <a:ext cx="576000" cy="375847"/>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0" name="L-Shape 59">
              <a:extLst>
                <a:ext uri="{FF2B5EF4-FFF2-40B4-BE49-F238E27FC236}">
                  <a16:creationId xmlns:a16="http://schemas.microsoft.com/office/drawing/2014/main" id="{93E394B4-8D38-D3D6-5C8F-E88C8B86D8A0}"/>
                </a:ext>
              </a:extLst>
            </p:cNvPr>
            <p:cNvSpPr/>
            <p:nvPr/>
          </p:nvSpPr>
          <p:spPr>
            <a:xfrm rot="13500000">
              <a:off x="580626" y="3541391"/>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61" name="Group 60">
            <a:extLst>
              <a:ext uri="{FF2B5EF4-FFF2-40B4-BE49-F238E27FC236}">
                <a16:creationId xmlns:a16="http://schemas.microsoft.com/office/drawing/2014/main" id="{1CE48FF5-39DC-629B-7D3A-387472804D3D}"/>
              </a:ext>
            </a:extLst>
          </p:cNvPr>
          <p:cNvGrpSpPr/>
          <p:nvPr/>
        </p:nvGrpSpPr>
        <p:grpSpPr>
          <a:xfrm>
            <a:off x="4705790" y="5313035"/>
            <a:ext cx="576000" cy="395382"/>
            <a:chOff x="441326" y="3466090"/>
            <a:chExt cx="576000" cy="375847"/>
          </a:xfrm>
        </p:grpSpPr>
        <p:sp>
          <p:nvSpPr>
            <p:cNvPr id="62" name="Rectangle 61">
              <a:extLst>
                <a:ext uri="{FF2B5EF4-FFF2-40B4-BE49-F238E27FC236}">
                  <a16:creationId xmlns:a16="http://schemas.microsoft.com/office/drawing/2014/main" id="{AA519B1A-85B5-4834-6C1D-FA66349F4881}"/>
                </a:ext>
              </a:extLst>
            </p:cNvPr>
            <p:cNvSpPr/>
            <p:nvPr/>
          </p:nvSpPr>
          <p:spPr>
            <a:xfrm>
              <a:off x="441326" y="3466090"/>
              <a:ext cx="576000" cy="375847"/>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3" name="L-Shape 62">
              <a:extLst>
                <a:ext uri="{FF2B5EF4-FFF2-40B4-BE49-F238E27FC236}">
                  <a16:creationId xmlns:a16="http://schemas.microsoft.com/office/drawing/2014/main" id="{4E32280F-63D6-5AEF-2F72-82958B197494}"/>
                </a:ext>
              </a:extLst>
            </p:cNvPr>
            <p:cNvSpPr/>
            <p:nvPr/>
          </p:nvSpPr>
          <p:spPr>
            <a:xfrm rot="13500000">
              <a:off x="580626" y="3541391"/>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71" name="Group 70">
            <a:extLst>
              <a:ext uri="{FF2B5EF4-FFF2-40B4-BE49-F238E27FC236}">
                <a16:creationId xmlns:a16="http://schemas.microsoft.com/office/drawing/2014/main" id="{C05E4F0F-FB57-3CFE-9E92-93D6F012925D}"/>
              </a:ext>
            </a:extLst>
          </p:cNvPr>
          <p:cNvGrpSpPr/>
          <p:nvPr/>
        </p:nvGrpSpPr>
        <p:grpSpPr>
          <a:xfrm>
            <a:off x="8014492" y="4395756"/>
            <a:ext cx="576000" cy="858051"/>
            <a:chOff x="8014492" y="4395756"/>
            <a:chExt cx="576000" cy="858051"/>
          </a:xfrm>
        </p:grpSpPr>
        <p:sp>
          <p:nvSpPr>
            <p:cNvPr id="65" name="Rectangle 64">
              <a:extLst>
                <a:ext uri="{FF2B5EF4-FFF2-40B4-BE49-F238E27FC236}">
                  <a16:creationId xmlns:a16="http://schemas.microsoft.com/office/drawing/2014/main" id="{B3400AB7-3203-205A-AB82-E6EAECD6E433}"/>
                </a:ext>
              </a:extLst>
            </p:cNvPr>
            <p:cNvSpPr/>
            <p:nvPr/>
          </p:nvSpPr>
          <p:spPr>
            <a:xfrm>
              <a:off x="8014492" y="4395756"/>
              <a:ext cx="576000" cy="858051"/>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6" name="L-Shape 65">
              <a:extLst>
                <a:ext uri="{FF2B5EF4-FFF2-40B4-BE49-F238E27FC236}">
                  <a16:creationId xmlns:a16="http://schemas.microsoft.com/office/drawing/2014/main" id="{867B4285-8A1E-1221-902B-200EA0DA3A62}"/>
                </a:ext>
              </a:extLst>
            </p:cNvPr>
            <p:cNvSpPr/>
            <p:nvPr/>
          </p:nvSpPr>
          <p:spPr>
            <a:xfrm rot="13500000">
              <a:off x="8147527" y="4707379"/>
              <a:ext cx="253621" cy="241090"/>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70" name="Group 69">
            <a:extLst>
              <a:ext uri="{FF2B5EF4-FFF2-40B4-BE49-F238E27FC236}">
                <a16:creationId xmlns:a16="http://schemas.microsoft.com/office/drawing/2014/main" id="{89633096-6853-31FC-9D54-D6FD2D79A567}"/>
              </a:ext>
            </a:extLst>
          </p:cNvPr>
          <p:cNvGrpSpPr/>
          <p:nvPr/>
        </p:nvGrpSpPr>
        <p:grpSpPr>
          <a:xfrm>
            <a:off x="8014492" y="5313035"/>
            <a:ext cx="576000" cy="858051"/>
            <a:chOff x="8014492" y="5313035"/>
            <a:chExt cx="576000" cy="858051"/>
          </a:xfrm>
        </p:grpSpPr>
        <p:sp>
          <p:nvSpPr>
            <p:cNvPr id="68" name="Rectangle 67">
              <a:extLst>
                <a:ext uri="{FF2B5EF4-FFF2-40B4-BE49-F238E27FC236}">
                  <a16:creationId xmlns:a16="http://schemas.microsoft.com/office/drawing/2014/main" id="{85D05539-A867-AD16-AE73-D6026034C9D4}"/>
                </a:ext>
              </a:extLst>
            </p:cNvPr>
            <p:cNvSpPr/>
            <p:nvPr/>
          </p:nvSpPr>
          <p:spPr>
            <a:xfrm>
              <a:off x="8014492" y="5313035"/>
              <a:ext cx="576000" cy="858051"/>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9" name="L-Shape 68">
              <a:extLst>
                <a:ext uri="{FF2B5EF4-FFF2-40B4-BE49-F238E27FC236}">
                  <a16:creationId xmlns:a16="http://schemas.microsoft.com/office/drawing/2014/main" id="{75ED93E3-D860-37A6-0C79-3788C254EE0A}"/>
                </a:ext>
              </a:extLst>
            </p:cNvPr>
            <p:cNvSpPr/>
            <p:nvPr/>
          </p:nvSpPr>
          <p:spPr>
            <a:xfrm rot="13500000">
              <a:off x="8147527" y="5621515"/>
              <a:ext cx="253621" cy="241090"/>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Tree>
    <p:extLst>
      <p:ext uri="{BB962C8B-B14F-4D97-AF65-F5344CB8AC3E}">
        <p14:creationId xmlns:p14="http://schemas.microsoft.com/office/powerpoint/2010/main" val="28207920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26D02910-881C-50EE-F448-D03745506520}"/>
              </a:ext>
            </a:extLst>
          </p:cNvPr>
          <p:cNvPicPr>
            <a:picLocks noGrp="1" noChangeAspect="1"/>
          </p:cNvPicPr>
          <p:nvPr>
            <p:ph type="pic" sz="quarter" idx="10"/>
          </p:nvPr>
        </p:nvPicPr>
        <p:blipFill rotWithShape="1">
          <a:blip r:embed="rId3"/>
          <a:srcRect l="28412" r="-4964"/>
          <a:stretch/>
        </p:blipFill>
        <p:spPr>
          <a:xfrm flipH="1">
            <a:off x="4327525" y="0"/>
            <a:ext cx="7864475" cy="6858000"/>
          </a:xfrm>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4" name="Title 1">
            <a:extLst>
              <a:ext uri="{FF2B5EF4-FFF2-40B4-BE49-F238E27FC236}">
                <a16:creationId xmlns:a16="http://schemas.microsoft.com/office/drawing/2014/main" id="{B1CBE399-95B1-4855-23E2-3019CA5A03DE}"/>
              </a:ext>
            </a:extLst>
          </p:cNvPr>
          <p:cNvSpPr txBox="1">
            <a:spLocks/>
          </p:cNvSpPr>
          <p:nvPr/>
        </p:nvSpPr>
        <p:spPr>
          <a:xfrm>
            <a:off x="442913" y="749301"/>
            <a:ext cx="7418387" cy="3573114"/>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6000" kern="1200">
                <a:solidFill>
                  <a:schemeClr val="bg1"/>
                </a:solidFill>
                <a:latin typeface="+mj-lt"/>
                <a:ea typeface="+mj-ea"/>
                <a:cs typeface="+mj-cs"/>
              </a:defRPr>
            </a:lvl1pPr>
          </a:lstStyle>
          <a:p>
            <a:r>
              <a:rPr lang="lv-LV" sz="5400"/>
              <a:t>2.5. Īpašie </a:t>
            </a:r>
            <a:endParaRPr lang="en-US" sz="5400"/>
          </a:p>
          <a:p>
            <a:r>
              <a:rPr lang="lv-LV" sz="5400"/>
              <a:t>tiesiskie režīmi</a:t>
            </a:r>
          </a:p>
        </p:txBody>
      </p:sp>
    </p:spTree>
    <p:extLst>
      <p:ext uri="{BB962C8B-B14F-4D97-AF65-F5344CB8AC3E}">
        <p14:creationId xmlns:p14="http://schemas.microsoft.com/office/powerpoint/2010/main" val="44999297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E74A4CA-4C1D-22E5-62BF-A832DAE4EE81}"/>
              </a:ext>
            </a:extLst>
          </p:cNvPr>
          <p:cNvSpPr/>
          <p:nvPr/>
        </p:nvSpPr>
        <p:spPr>
          <a:xfrm>
            <a:off x="6275386" y="1834493"/>
            <a:ext cx="5473700" cy="94056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39" name="Rectangle 38">
            <a:extLst>
              <a:ext uri="{FF2B5EF4-FFF2-40B4-BE49-F238E27FC236}">
                <a16:creationId xmlns:a16="http://schemas.microsoft.com/office/drawing/2014/main" id="{4EF01589-01A7-6A78-B7D2-814CD824AA04}"/>
              </a:ext>
            </a:extLst>
          </p:cNvPr>
          <p:cNvSpPr/>
          <p:nvPr/>
        </p:nvSpPr>
        <p:spPr>
          <a:xfrm>
            <a:off x="6275386" y="3182689"/>
            <a:ext cx="5473700" cy="9398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40" name="Rectangle 39">
            <a:extLst>
              <a:ext uri="{FF2B5EF4-FFF2-40B4-BE49-F238E27FC236}">
                <a16:creationId xmlns:a16="http://schemas.microsoft.com/office/drawing/2014/main" id="{0805E0AF-46E5-F09E-3FE2-7E843A4378CA}"/>
              </a:ext>
            </a:extLst>
          </p:cNvPr>
          <p:cNvSpPr/>
          <p:nvPr/>
        </p:nvSpPr>
        <p:spPr>
          <a:xfrm>
            <a:off x="6275386" y="4554972"/>
            <a:ext cx="5473700" cy="9398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nvGrpSpPr>
          <p:cNvPr id="31" name="Group 30">
            <a:extLst>
              <a:ext uri="{FF2B5EF4-FFF2-40B4-BE49-F238E27FC236}">
                <a16:creationId xmlns:a16="http://schemas.microsoft.com/office/drawing/2014/main" id="{5681F1B8-205B-60A8-7B1B-2F350B526F11}"/>
              </a:ext>
            </a:extLst>
          </p:cNvPr>
          <p:cNvGrpSpPr/>
          <p:nvPr/>
        </p:nvGrpSpPr>
        <p:grpSpPr>
          <a:xfrm>
            <a:off x="6275388" y="2879316"/>
            <a:ext cx="5473700" cy="241090"/>
            <a:chOff x="6275388" y="2666162"/>
            <a:chExt cx="5473700" cy="241090"/>
          </a:xfrm>
        </p:grpSpPr>
        <p:grpSp>
          <p:nvGrpSpPr>
            <p:cNvPr id="3" name="Group 2">
              <a:extLst>
                <a:ext uri="{FF2B5EF4-FFF2-40B4-BE49-F238E27FC236}">
                  <a16:creationId xmlns:a16="http://schemas.microsoft.com/office/drawing/2014/main" id="{4FECBF1A-CBC8-F84C-8101-10827541690E}"/>
                </a:ext>
              </a:extLst>
            </p:cNvPr>
            <p:cNvGrpSpPr/>
            <p:nvPr/>
          </p:nvGrpSpPr>
          <p:grpSpPr>
            <a:xfrm>
              <a:off x="6275388" y="2693466"/>
              <a:ext cx="5473700" cy="102868"/>
              <a:chOff x="442913" y="2705100"/>
              <a:chExt cx="11306175" cy="102868"/>
            </a:xfrm>
          </p:grpSpPr>
          <p:cxnSp>
            <p:nvCxnSpPr>
              <p:cNvPr id="26" name="Straight Connector 25">
                <a:extLst>
                  <a:ext uri="{FF2B5EF4-FFF2-40B4-BE49-F238E27FC236}">
                    <a16:creationId xmlns:a16="http://schemas.microsoft.com/office/drawing/2014/main" id="{75FAFD90-67D8-B3F1-F882-2789845B4FCB}"/>
                  </a:ext>
                </a:extLst>
              </p:cNvPr>
              <p:cNvCxnSpPr>
                <a:cxnSpLocks/>
              </p:cNvCxnSpPr>
              <p:nvPr/>
            </p:nvCxnSpPr>
            <p:spPr>
              <a:xfrm>
                <a:off x="442913" y="2756534"/>
                <a:ext cx="11306175" cy="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9" name="Rectangle 28">
                <a:extLst>
                  <a:ext uri="{FF2B5EF4-FFF2-40B4-BE49-F238E27FC236}">
                    <a16:creationId xmlns:a16="http://schemas.microsoft.com/office/drawing/2014/main" id="{76671187-4A67-4C73-C3F0-553C28BF15AA}"/>
                  </a:ext>
                </a:extLst>
              </p:cNvPr>
              <p:cNvSpPr/>
              <p:nvPr/>
            </p:nvSpPr>
            <p:spPr>
              <a:xfrm>
                <a:off x="5730240" y="2705100"/>
                <a:ext cx="731520" cy="102868"/>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sp>
          <p:nvSpPr>
            <p:cNvPr id="25" name="L-Shape 24">
              <a:extLst>
                <a:ext uri="{FF2B5EF4-FFF2-40B4-BE49-F238E27FC236}">
                  <a16:creationId xmlns:a16="http://schemas.microsoft.com/office/drawing/2014/main" id="{9C5CF0B7-E54D-A7F1-C7C9-BE29C3DA7877}"/>
                </a:ext>
              </a:extLst>
            </p:cNvPr>
            <p:cNvSpPr/>
            <p:nvPr/>
          </p:nvSpPr>
          <p:spPr>
            <a:xfrm rot="8100000">
              <a:off x="8891693" y="2666162"/>
              <a:ext cx="241090" cy="241090"/>
            </a:xfrm>
            <a:prstGeom prst="corner">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grpSp>
        <p:nvGrpSpPr>
          <p:cNvPr id="33" name="Group 32">
            <a:extLst>
              <a:ext uri="{FF2B5EF4-FFF2-40B4-BE49-F238E27FC236}">
                <a16:creationId xmlns:a16="http://schemas.microsoft.com/office/drawing/2014/main" id="{5EE8C27C-6BFC-92EF-B4B7-7AF1FC51FF13}"/>
              </a:ext>
            </a:extLst>
          </p:cNvPr>
          <p:cNvGrpSpPr/>
          <p:nvPr/>
        </p:nvGrpSpPr>
        <p:grpSpPr>
          <a:xfrm flipV="1">
            <a:off x="6275388" y="4164880"/>
            <a:ext cx="5473700" cy="241090"/>
            <a:chOff x="6275388" y="2666162"/>
            <a:chExt cx="5473700" cy="241090"/>
          </a:xfrm>
        </p:grpSpPr>
        <p:grpSp>
          <p:nvGrpSpPr>
            <p:cNvPr id="34" name="Group 33">
              <a:extLst>
                <a:ext uri="{FF2B5EF4-FFF2-40B4-BE49-F238E27FC236}">
                  <a16:creationId xmlns:a16="http://schemas.microsoft.com/office/drawing/2014/main" id="{E22F8D0A-CF58-9E06-A7CA-93D0FB1AA6D6}"/>
                </a:ext>
              </a:extLst>
            </p:cNvPr>
            <p:cNvGrpSpPr/>
            <p:nvPr/>
          </p:nvGrpSpPr>
          <p:grpSpPr>
            <a:xfrm>
              <a:off x="6275388" y="2693466"/>
              <a:ext cx="5473700" cy="102868"/>
              <a:chOff x="442913" y="2705100"/>
              <a:chExt cx="11306175" cy="102868"/>
            </a:xfrm>
          </p:grpSpPr>
          <p:cxnSp>
            <p:nvCxnSpPr>
              <p:cNvPr id="36" name="Straight Connector 35">
                <a:extLst>
                  <a:ext uri="{FF2B5EF4-FFF2-40B4-BE49-F238E27FC236}">
                    <a16:creationId xmlns:a16="http://schemas.microsoft.com/office/drawing/2014/main" id="{47AEC058-D581-363F-D030-5869D443CA02}"/>
                  </a:ext>
                </a:extLst>
              </p:cNvPr>
              <p:cNvCxnSpPr>
                <a:cxnSpLocks/>
              </p:cNvCxnSpPr>
              <p:nvPr/>
            </p:nvCxnSpPr>
            <p:spPr>
              <a:xfrm>
                <a:off x="442913" y="2756534"/>
                <a:ext cx="11306175" cy="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7" name="Rectangle 36">
                <a:extLst>
                  <a:ext uri="{FF2B5EF4-FFF2-40B4-BE49-F238E27FC236}">
                    <a16:creationId xmlns:a16="http://schemas.microsoft.com/office/drawing/2014/main" id="{D85CBF30-CCA1-B78C-359F-567388FA8470}"/>
                  </a:ext>
                </a:extLst>
              </p:cNvPr>
              <p:cNvSpPr/>
              <p:nvPr/>
            </p:nvSpPr>
            <p:spPr>
              <a:xfrm>
                <a:off x="5730240" y="2705100"/>
                <a:ext cx="731520" cy="102868"/>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sp>
          <p:nvSpPr>
            <p:cNvPr id="35" name="L-Shape 34">
              <a:extLst>
                <a:ext uri="{FF2B5EF4-FFF2-40B4-BE49-F238E27FC236}">
                  <a16:creationId xmlns:a16="http://schemas.microsoft.com/office/drawing/2014/main" id="{86AAE75C-3CE9-7C6B-A230-247136E1A045}"/>
                </a:ext>
              </a:extLst>
            </p:cNvPr>
            <p:cNvSpPr/>
            <p:nvPr/>
          </p:nvSpPr>
          <p:spPr>
            <a:xfrm rot="8100000">
              <a:off x="8891693" y="2666162"/>
              <a:ext cx="241090" cy="241090"/>
            </a:xfrm>
            <a:prstGeom prst="corner">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sp>
        <p:nvSpPr>
          <p:cNvPr id="32" name="Title 31">
            <a:extLst>
              <a:ext uri="{FF2B5EF4-FFF2-40B4-BE49-F238E27FC236}">
                <a16:creationId xmlns:a16="http://schemas.microsoft.com/office/drawing/2014/main" id="{87542C18-251C-22CF-EE40-41B70EC2A8E8}"/>
              </a:ext>
            </a:extLst>
          </p:cNvPr>
          <p:cNvSpPr>
            <a:spLocks noGrp="1"/>
          </p:cNvSpPr>
          <p:nvPr>
            <p:ph type="title"/>
          </p:nvPr>
        </p:nvSpPr>
        <p:spPr>
          <a:xfrm>
            <a:off x="442913" y="432001"/>
            <a:ext cx="11306175" cy="1387274"/>
          </a:xfrm>
        </p:spPr>
        <p:txBody>
          <a:bodyPr vert="horz"/>
          <a:lstStyle/>
          <a:p>
            <a:r>
              <a:rPr lang="lv-LV"/>
              <a:t>Ārkārtējā situācija (ĀS)</a:t>
            </a:r>
          </a:p>
        </p:txBody>
      </p:sp>
      <p:sp>
        <p:nvSpPr>
          <p:cNvPr id="24" name="object 24"/>
          <p:cNvSpPr txBox="1">
            <a:spLocks noGrp="1"/>
          </p:cNvSpPr>
          <p:nvPr>
            <p:ph type="sldNum" sz="quarter" idx="11"/>
          </p:nvPr>
        </p:nvSpPr>
        <p:spPr>
          <a:xfrm>
            <a:off x="9984296" y="6492240"/>
            <a:ext cx="1764792" cy="137160"/>
          </a:xfrm>
        </p:spPr>
        <p:txBody>
          <a:bodyPr vert="horz" wrap="square" lIns="0" tIns="0" rIns="0" bIns="0" rtlCol="0">
            <a:spAutoFit/>
          </a:bodyPr>
          <a:lstStyle>
            <a:defPPr>
              <a:defRPr kern="0"/>
            </a:defPPr>
            <a:lvl1pPr>
              <a:defRPr sz="900" b="0" i="0">
                <a:solidFill>
                  <a:srgbClr val="888888"/>
                </a:solidFill>
                <a:latin typeface="Calibri"/>
                <a:cs typeface="Calibri"/>
              </a:defRPr>
            </a:lvl1pPr>
          </a:lstStyle>
          <a:p>
            <a:fld id="{81D60167-4931-47E6-BA6A-407CBD079E47}" type="slidenum">
              <a:rPr lang="lv-LV" smtClean="0"/>
              <a:pPr/>
              <a:t>26</a:t>
            </a:fld>
            <a:endParaRPr lang="lv-LV"/>
          </a:p>
        </p:txBody>
      </p:sp>
      <p:sp>
        <p:nvSpPr>
          <p:cNvPr id="5" name="object 5"/>
          <p:cNvSpPr txBox="1"/>
          <p:nvPr/>
        </p:nvSpPr>
        <p:spPr>
          <a:xfrm>
            <a:off x="442913" y="5232400"/>
            <a:ext cx="5473700" cy="939800"/>
          </a:xfrm>
          <a:prstGeom prst="rect">
            <a:avLst/>
          </a:prstGeom>
          <a:solidFill>
            <a:srgbClr val="525A72"/>
          </a:solidFill>
          <a:ln w="19811">
            <a:noFill/>
          </a:ln>
        </p:spPr>
        <p:txBody>
          <a:bodyPr vert="horz" wrap="square" lIns="72000" tIns="72000" rIns="72000" bIns="72000" rtlCol="0" anchor="ctr">
            <a:noAutofit/>
          </a:bodyPr>
          <a:lstStyle/>
          <a:p>
            <a:r>
              <a:rPr lang="lv-LV" sz="1400" b="1">
                <a:solidFill>
                  <a:schemeClr val="bg1"/>
                </a:solidFill>
                <a:cs typeface="Times New Roman"/>
              </a:rPr>
              <a:t>Ārkārtējās situācijas ilgums: </a:t>
            </a:r>
            <a:r>
              <a:rPr lang="lv-LV" sz="1400">
                <a:solidFill>
                  <a:schemeClr val="bg1"/>
                </a:solidFill>
                <a:cs typeface="Times New Roman"/>
              </a:rPr>
              <a:t>ne ilgāk par 3 mēnešiem + pagarinājums, kas nav ilgāks par 3 mēnešiem</a:t>
            </a:r>
          </a:p>
          <a:p>
            <a:pPr marR="194310">
              <a:tabLst>
                <a:tab pos="1495425" algn="l"/>
                <a:tab pos="2421255" algn="l"/>
                <a:tab pos="2882900" algn="l"/>
              </a:tabLst>
            </a:pPr>
            <a:r>
              <a:rPr lang="lv-LV" sz="1400" b="1" spc="-10">
                <a:solidFill>
                  <a:schemeClr val="bg1"/>
                </a:solidFill>
                <a:cs typeface="Times New Roman"/>
              </a:rPr>
              <a:t>Izsludināšanas teritorija: </a:t>
            </a:r>
            <a:r>
              <a:rPr lang="lv-LV" sz="1400" spc="-20">
                <a:solidFill>
                  <a:schemeClr val="bg1"/>
                </a:solidFill>
                <a:cs typeface="Times New Roman"/>
              </a:rPr>
              <a:t>visā</a:t>
            </a:r>
            <a:r>
              <a:rPr lang="lv-LV" sz="1400">
                <a:solidFill>
                  <a:schemeClr val="bg1"/>
                </a:solidFill>
                <a:cs typeface="Times New Roman"/>
              </a:rPr>
              <a:t>	</a:t>
            </a:r>
            <a:r>
              <a:rPr lang="lv-LV" sz="1400" spc="-10">
                <a:solidFill>
                  <a:schemeClr val="bg1"/>
                </a:solidFill>
                <a:cs typeface="Times New Roman"/>
              </a:rPr>
              <a:t>valstī; </a:t>
            </a:r>
            <a:r>
              <a:rPr lang="lv-LV" sz="1400">
                <a:solidFill>
                  <a:schemeClr val="bg1"/>
                </a:solidFill>
                <a:cs typeface="Times New Roman"/>
              </a:rPr>
              <a:t>valsts</a:t>
            </a:r>
            <a:r>
              <a:rPr lang="lv-LV" sz="1400" spc="-30">
                <a:solidFill>
                  <a:schemeClr val="bg1"/>
                </a:solidFill>
                <a:cs typeface="Times New Roman"/>
              </a:rPr>
              <a:t> </a:t>
            </a:r>
            <a:r>
              <a:rPr lang="lv-LV" sz="1400">
                <a:solidFill>
                  <a:schemeClr val="bg1"/>
                </a:solidFill>
                <a:cs typeface="Times New Roman"/>
              </a:rPr>
              <a:t>daļā;</a:t>
            </a:r>
            <a:r>
              <a:rPr lang="lv-LV" sz="1400" spc="-35">
                <a:solidFill>
                  <a:schemeClr val="bg1"/>
                </a:solidFill>
                <a:cs typeface="Times New Roman"/>
              </a:rPr>
              <a:t> </a:t>
            </a:r>
            <a:r>
              <a:rPr lang="lv-LV" sz="1400">
                <a:solidFill>
                  <a:schemeClr val="bg1"/>
                </a:solidFill>
                <a:cs typeface="Times New Roman"/>
              </a:rPr>
              <a:t>administratīvajā</a:t>
            </a:r>
            <a:r>
              <a:rPr lang="lv-LV" sz="1400" spc="310">
                <a:solidFill>
                  <a:schemeClr val="bg1"/>
                </a:solidFill>
                <a:cs typeface="Times New Roman"/>
              </a:rPr>
              <a:t> </a:t>
            </a:r>
            <a:r>
              <a:rPr lang="lv-LV" sz="1400">
                <a:solidFill>
                  <a:schemeClr val="bg1"/>
                </a:solidFill>
                <a:cs typeface="Times New Roman"/>
              </a:rPr>
              <a:t>teritorijas</a:t>
            </a:r>
            <a:r>
              <a:rPr lang="lv-LV" sz="1400" spc="-30">
                <a:solidFill>
                  <a:schemeClr val="bg1"/>
                </a:solidFill>
                <a:cs typeface="Times New Roman"/>
              </a:rPr>
              <a:t> </a:t>
            </a:r>
            <a:r>
              <a:rPr lang="lv-LV" sz="1400" spc="-20">
                <a:solidFill>
                  <a:schemeClr val="bg1"/>
                </a:solidFill>
                <a:cs typeface="Times New Roman"/>
              </a:rPr>
              <a:t>daļā</a:t>
            </a:r>
            <a:endParaRPr lang="lv-LV" sz="1400">
              <a:solidFill>
                <a:schemeClr val="bg1"/>
              </a:solidFill>
              <a:cs typeface="Times New Roman"/>
            </a:endParaRPr>
          </a:p>
        </p:txBody>
      </p:sp>
      <p:sp>
        <p:nvSpPr>
          <p:cNvPr id="10" name="object 10"/>
          <p:cNvSpPr txBox="1"/>
          <p:nvPr/>
        </p:nvSpPr>
        <p:spPr>
          <a:xfrm>
            <a:off x="6275386" y="2131047"/>
            <a:ext cx="1582453" cy="430887"/>
          </a:xfrm>
          <a:prstGeom prst="rect">
            <a:avLst/>
          </a:prstGeom>
        </p:spPr>
        <p:txBody>
          <a:bodyPr vert="horz" wrap="square" lIns="72000" tIns="0" rIns="0" bIns="0" rtlCol="0">
            <a:spAutoFit/>
          </a:bodyPr>
          <a:lstStyle/>
          <a:p>
            <a:pPr marL="12700">
              <a:spcBef>
                <a:spcPts val="100"/>
              </a:spcBef>
            </a:pPr>
            <a:r>
              <a:rPr lang="lv-LV" sz="1400">
                <a:cs typeface="Verdana"/>
              </a:rPr>
              <a:t>Var</a:t>
            </a:r>
            <a:r>
              <a:rPr lang="lv-LV" sz="1400" spc="-25">
                <a:cs typeface="Verdana"/>
              </a:rPr>
              <a:t> </a:t>
            </a:r>
            <a:r>
              <a:rPr lang="lv-LV" sz="1400">
                <a:solidFill>
                  <a:srgbClr val="A8192D"/>
                </a:solidFill>
                <a:cs typeface="Verdana"/>
              </a:rPr>
              <a:t>pieprasīt</a:t>
            </a:r>
            <a:r>
              <a:rPr lang="lv-LV" sz="1400">
                <a:solidFill>
                  <a:srgbClr val="C00000"/>
                </a:solidFill>
                <a:cs typeface="Verdana"/>
              </a:rPr>
              <a:t> </a:t>
            </a:r>
            <a:r>
              <a:rPr lang="lv-LV" sz="1400">
                <a:cs typeface="Verdana"/>
              </a:rPr>
              <a:t>MK</a:t>
            </a:r>
            <a:r>
              <a:rPr lang="lv-LV" sz="1400" spc="-5">
                <a:cs typeface="Verdana"/>
              </a:rPr>
              <a:t> </a:t>
            </a:r>
            <a:r>
              <a:rPr lang="lv-LV" sz="1400">
                <a:cs typeface="Verdana"/>
              </a:rPr>
              <a:t>izsludināt</a:t>
            </a:r>
            <a:r>
              <a:rPr lang="lv-LV" sz="1400" spc="-10">
                <a:cs typeface="Verdana"/>
              </a:rPr>
              <a:t> </a:t>
            </a:r>
            <a:r>
              <a:rPr lang="lv-LV" sz="1400" spc="-25">
                <a:cs typeface="Verdana"/>
              </a:rPr>
              <a:t>ĀS:</a:t>
            </a:r>
            <a:endParaRPr lang="lv-LV" sz="1400">
              <a:cs typeface="Verdana"/>
            </a:endParaRPr>
          </a:p>
        </p:txBody>
      </p:sp>
      <p:sp>
        <p:nvSpPr>
          <p:cNvPr id="16" name="object 16"/>
          <p:cNvSpPr txBox="1"/>
          <p:nvPr/>
        </p:nvSpPr>
        <p:spPr>
          <a:xfrm>
            <a:off x="6275386" y="3329424"/>
            <a:ext cx="1484578" cy="646331"/>
          </a:xfrm>
          <a:prstGeom prst="rect">
            <a:avLst/>
          </a:prstGeom>
        </p:spPr>
        <p:txBody>
          <a:bodyPr vert="horz" wrap="square" lIns="72000" tIns="0" rIns="0" bIns="0" rtlCol="0">
            <a:spAutoFit/>
          </a:bodyPr>
          <a:lstStyle/>
          <a:p>
            <a:pPr marL="12700">
              <a:spcBef>
                <a:spcPts val="100"/>
              </a:spcBef>
            </a:pPr>
            <a:r>
              <a:rPr lang="lv-LV" sz="1400">
                <a:cs typeface="Verdana"/>
              </a:rPr>
              <a:t>Var</a:t>
            </a:r>
            <a:r>
              <a:rPr lang="lv-LV" sz="1400" spc="-30">
                <a:cs typeface="Verdana"/>
              </a:rPr>
              <a:t> </a:t>
            </a:r>
            <a:r>
              <a:rPr lang="lv-LV" sz="1400">
                <a:solidFill>
                  <a:srgbClr val="A8192D"/>
                </a:solidFill>
                <a:cs typeface="Verdana"/>
              </a:rPr>
              <a:t>izsludināt</a:t>
            </a:r>
            <a:r>
              <a:rPr lang="lv-LV" sz="1400" spc="-20">
                <a:solidFill>
                  <a:srgbClr val="A8192D"/>
                </a:solidFill>
                <a:cs typeface="Verdana"/>
              </a:rPr>
              <a:t> </a:t>
            </a:r>
            <a:r>
              <a:rPr lang="lv-LV" sz="1400" i="1">
                <a:solidFill>
                  <a:srgbClr val="A8192D"/>
                </a:solidFill>
                <a:cs typeface="Verdana"/>
              </a:rPr>
              <a:t>(pieņemt</a:t>
            </a:r>
            <a:r>
              <a:rPr lang="lv-LV" sz="1400" i="1" spc="5">
                <a:solidFill>
                  <a:srgbClr val="A8192D"/>
                </a:solidFill>
                <a:cs typeface="Verdana"/>
              </a:rPr>
              <a:t> </a:t>
            </a:r>
            <a:r>
              <a:rPr lang="lv-LV" sz="1400" i="1">
                <a:solidFill>
                  <a:srgbClr val="A8192D"/>
                </a:solidFill>
                <a:cs typeface="Verdana"/>
              </a:rPr>
              <a:t>lēmumu) </a:t>
            </a:r>
            <a:r>
              <a:rPr lang="lv-LV" sz="1400" spc="-25">
                <a:cs typeface="Verdana"/>
              </a:rPr>
              <a:t>ĀS:</a:t>
            </a:r>
            <a:endParaRPr lang="lv-LV" sz="1400">
              <a:cs typeface="Verdana"/>
            </a:endParaRPr>
          </a:p>
        </p:txBody>
      </p:sp>
      <p:sp>
        <p:nvSpPr>
          <p:cNvPr id="21" name="object 21"/>
          <p:cNvSpPr txBox="1"/>
          <p:nvPr/>
        </p:nvSpPr>
        <p:spPr>
          <a:xfrm>
            <a:off x="6275385" y="4809429"/>
            <a:ext cx="1484579" cy="430887"/>
          </a:xfrm>
          <a:prstGeom prst="rect">
            <a:avLst/>
          </a:prstGeom>
        </p:spPr>
        <p:txBody>
          <a:bodyPr vert="horz" wrap="square" lIns="72000" tIns="0" rIns="0" bIns="0" rtlCol="0">
            <a:spAutoFit/>
          </a:bodyPr>
          <a:lstStyle/>
          <a:p>
            <a:pPr marL="12700">
              <a:spcBef>
                <a:spcPts val="100"/>
              </a:spcBef>
            </a:pPr>
            <a:r>
              <a:rPr lang="lv-LV" sz="1400">
                <a:cs typeface="Verdana"/>
              </a:rPr>
              <a:t>Var </a:t>
            </a:r>
            <a:r>
              <a:rPr lang="lv-LV" sz="1400">
                <a:solidFill>
                  <a:srgbClr val="A8192D"/>
                </a:solidFill>
                <a:cs typeface="Verdana"/>
              </a:rPr>
              <a:t>lemt</a:t>
            </a:r>
            <a:r>
              <a:rPr lang="lv-LV" sz="1400">
                <a:solidFill>
                  <a:srgbClr val="C00000"/>
                </a:solidFill>
                <a:cs typeface="Verdana"/>
              </a:rPr>
              <a:t> </a:t>
            </a:r>
            <a:r>
              <a:rPr lang="lv-LV" sz="1400">
                <a:solidFill>
                  <a:srgbClr val="414142"/>
                </a:solidFill>
                <a:cs typeface="Verdana"/>
              </a:rPr>
              <a:t>par ĀS</a:t>
            </a:r>
            <a:r>
              <a:rPr lang="lv-LV" sz="1400" spc="10">
                <a:solidFill>
                  <a:srgbClr val="414142"/>
                </a:solidFill>
                <a:cs typeface="Verdana"/>
              </a:rPr>
              <a:t> </a:t>
            </a:r>
            <a:r>
              <a:rPr lang="lv-LV" sz="1400" spc="-10">
                <a:solidFill>
                  <a:srgbClr val="A8192D"/>
                </a:solidFill>
                <a:cs typeface="Verdana"/>
              </a:rPr>
              <a:t>pamatotību</a:t>
            </a:r>
            <a:r>
              <a:rPr lang="lv-LV" sz="1400" spc="-10">
                <a:solidFill>
                  <a:srgbClr val="414142"/>
                </a:solidFill>
                <a:cs typeface="Verdana"/>
              </a:rPr>
              <a:t>:</a:t>
            </a:r>
            <a:endParaRPr lang="lv-LV" sz="1400">
              <a:cs typeface="Verdana"/>
            </a:endParaRPr>
          </a:p>
        </p:txBody>
      </p:sp>
      <p:sp>
        <p:nvSpPr>
          <p:cNvPr id="27" name="object 3">
            <a:extLst>
              <a:ext uri="{FF2B5EF4-FFF2-40B4-BE49-F238E27FC236}">
                <a16:creationId xmlns:a16="http://schemas.microsoft.com/office/drawing/2014/main" id="{FE4065D5-5844-92B0-D2CC-BCC509607FB4}"/>
              </a:ext>
            </a:extLst>
          </p:cNvPr>
          <p:cNvSpPr txBox="1">
            <a:spLocks/>
          </p:cNvSpPr>
          <p:nvPr/>
        </p:nvSpPr>
        <p:spPr>
          <a:xfrm>
            <a:off x="442914" y="1834493"/>
            <a:ext cx="5473700" cy="1015388"/>
          </a:xfrm>
          <a:prstGeom prst="rect">
            <a:avLst/>
          </a:prstGeom>
          <a:solidFill>
            <a:srgbClr val="A8192D"/>
          </a:solidFill>
        </p:spPr>
        <p:txBody>
          <a:bodyPr vert="horz" wrap="square"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R="5080">
              <a:spcAft>
                <a:spcPts val="0"/>
              </a:spcAft>
            </a:pPr>
            <a:r>
              <a:rPr lang="lv-LV" sz="1400">
                <a:solidFill>
                  <a:schemeClr val="bg1"/>
                </a:solidFill>
                <a:cs typeface="Times New Roman"/>
              </a:rPr>
              <a:t>Ārkārtējā</a:t>
            </a:r>
            <a:r>
              <a:rPr lang="lv-LV" sz="1400" spc="70">
                <a:solidFill>
                  <a:schemeClr val="bg1"/>
                </a:solidFill>
                <a:cs typeface="Times New Roman"/>
              </a:rPr>
              <a:t> </a:t>
            </a:r>
            <a:r>
              <a:rPr lang="lv-LV" sz="1400">
                <a:solidFill>
                  <a:schemeClr val="bg1"/>
                </a:solidFill>
                <a:cs typeface="Times New Roman"/>
              </a:rPr>
              <a:t>situācija</a:t>
            </a:r>
            <a:r>
              <a:rPr lang="lv-LV" sz="1400" spc="70">
                <a:solidFill>
                  <a:schemeClr val="bg1"/>
                </a:solidFill>
                <a:cs typeface="Times New Roman"/>
              </a:rPr>
              <a:t> </a:t>
            </a:r>
            <a:r>
              <a:rPr lang="lv-LV" sz="1400" b="0">
                <a:solidFill>
                  <a:schemeClr val="bg1"/>
                </a:solidFill>
                <a:cs typeface="Times New Roman"/>
              </a:rPr>
              <a:t>–</a:t>
            </a:r>
            <a:r>
              <a:rPr lang="lv-LV" sz="1400" b="0" spc="65">
                <a:solidFill>
                  <a:schemeClr val="bg1"/>
                </a:solidFill>
                <a:cs typeface="Times New Roman"/>
              </a:rPr>
              <a:t> </a:t>
            </a:r>
            <a:r>
              <a:rPr lang="lv-LV" sz="1400" b="0">
                <a:solidFill>
                  <a:schemeClr val="bg1"/>
                </a:solidFill>
                <a:cs typeface="Times New Roman"/>
              </a:rPr>
              <a:t>īpašs</a:t>
            </a:r>
            <a:r>
              <a:rPr lang="lv-LV" sz="1400" b="0" spc="65">
                <a:solidFill>
                  <a:schemeClr val="bg1"/>
                </a:solidFill>
                <a:cs typeface="Times New Roman"/>
              </a:rPr>
              <a:t> </a:t>
            </a:r>
            <a:r>
              <a:rPr lang="lv-LV" sz="1400" b="0">
                <a:solidFill>
                  <a:schemeClr val="bg1"/>
                </a:solidFill>
                <a:cs typeface="Times New Roman"/>
              </a:rPr>
              <a:t>tiesisks</a:t>
            </a:r>
            <a:r>
              <a:rPr lang="lv-LV" sz="1400" b="0" spc="65">
                <a:solidFill>
                  <a:schemeClr val="bg1"/>
                </a:solidFill>
                <a:cs typeface="Times New Roman"/>
              </a:rPr>
              <a:t> </a:t>
            </a:r>
            <a:r>
              <a:rPr lang="lv-LV" sz="1400" b="0" spc="-10">
                <a:solidFill>
                  <a:schemeClr val="bg1"/>
                </a:solidFill>
                <a:cs typeface="Times New Roman"/>
              </a:rPr>
              <a:t>režīms, </a:t>
            </a:r>
            <a:r>
              <a:rPr lang="lv-LV" sz="1400" b="0">
                <a:solidFill>
                  <a:schemeClr val="bg1"/>
                </a:solidFill>
              </a:rPr>
              <a:t>kura</a:t>
            </a:r>
            <a:r>
              <a:rPr lang="lv-LV" sz="1400" b="0" spc="-20">
                <a:solidFill>
                  <a:schemeClr val="bg1"/>
                </a:solidFill>
              </a:rPr>
              <a:t> </a:t>
            </a:r>
            <a:r>
              <a:rPr lang="lv-LV" sz="1400" b="0">
                <a:solidFill>
                  <a:schemeClr val="bg1"/>
                </a:solidFill>
              </a:rPr>
              <a:t>laikā</a:t>
            </a:r>
            <a:r>
              <a:rPr lang="lv-LV" sz="1400" b="0" spc="-20">
                <a:solidFill>
                  <a:schemeClr val="bg1"/>
                </a:solidFill>
              </a:rPr>
              <a:t> </a:t>
            </a:r>
            <a:r>
              <a:rPr lang="lv-LV" sz="1400" b="0">
                <a:solidFill>
                  <a:schemeClr val="bg1"/>
                </a:solidFill>
              </a:rPr>
              <a:t>MK</a:t>
            </a:r>
            <a:r>
              <a:rPr lang="lv-LV" sz="1400" b="0" spc="-20">
                <a:solidFill>
                  <a:schemeClr val="bg1"/>
                </a:solidFill>
              </a:rPr>
              <a:t> </a:t>
            </a:r>
            <a:r>
              <a:rPr lang="lv-LV" sz="1400" b="0">
                <a:solidFill>
                  <a:schemeClr val="bg1"/>
                </a:solidFill>
              </a:rPr>
              <a:t>ir</a:t>
            </a:r>
            <a:r>
              <a:rPr lang="lv-LV" sz="1400" b="0" spc="-15">
                <a:solidFill>
                  <a:schemeClr val="bg1"/>
                </a:solidFill>
              </a:rPr>
              <a:t> </a:t>
            </a:r>
            <a:r>
              <a:rPr lang="lv-LV" sz="1400" b="0">
                <a:solidFill>
                  <a:schemeClr val="bg1"/>
                </a:solidFill>
              </a:rPr>
              <a:t>tiesības</a:t>
            </a:r>
            <a:r>
              <a:rPr lang="lv-LV" sz="1400" b="0" spc="-30">
                <a:solidFill>
                  <a:schemeClr val="bg1"/>
                </a:solidFill>
              </a:rPr>
              <a:t> </a:t>
            </a:r>
            <a:r>
              <a:rPr lang="lv-LV" sz="1400" b="0">
                <a:solidFill>
                  <a:schemeClr val="bg1"/>
                </a:solidFill>
              </a:rPr>
              <a:t>noteiktajā</a:t>
            </a:r>
            <a:r>
              <a:rPr lang="lv-LV" sz="1400" b="0" spc="-20">
                <a:solidFill>
                  <a:schemeClr val="bg1"/>
                </a:solidFill>
              </a:rPr>
              <a:t> </a:t>
            </a:r>
            <a:r>
              <a:rPr lang="lv-LV" sz="1400" b="0">
                <a:solidFill>
                  <a:schemeClr val="bg1"/>
                </a:solidFill>
                <a:uFill>
                  <a:solidFill>
                    <a:srgbClr val="000000"/>
                  </a:solidFill>
                </a:uFill>
              </a:rPr>
              <a:t>kārtībā</a:t>
            </a:r>
            <a:r>
              <a:rPr lang="lv-LV" sz="1400" b="0" spc="-15">
                <a:solidFill>
                  <a:schemeClr val="bg1"/>
                </a:solidFill>
                <a:uFill>
                  <a:solidFill>
                    <a:srgbClr val="000000"/>
                  </a:solidFill>
                </a:uFill>
              </a:rPr>
              <a:t> </a:t>
            </a:r>
            <a:r>
              <a:rPr lang="lv-LV" sz="1400" b="0" spc="-25">
                <a:solidFill>
                  <a:schemeClr val="bg1"/>
                </a:solidFill>
                <a:uFill>
                  <a:solidFill>
                    <a:srgbClr val="000000"/>
                  </a:solidFill>
                </a:uFill>
              </a:rPr>
              <a:t>un </a:t>
            </a:r>
            <a:r>
              <a:rPr lang="lv-LV" sz="1400" b="0">
                <a:solidFill>
                  <a:schemeClr val="bg1"/>
                </a:solidFill>
                <a:uFill>
                  <a:solidFill>
                    <a:srgbClr val="000000"/>
                  </a:solidFill>
                </a:uFill>
              </a:rPr>
              <a:t>apjomā </a:t>
            </a:r>
            <a:r>
              <a:rPr lang="lv-LV" sz="1400" b="0">
                <a:solidFill>
                  <a:schemeClr val="bg1"/>
                </a:solidFill>
              </a:rPr>
              <a:t>ierobežot valsts pārvaldes </a:t>
            </a:r>
            <a:r>
              <a:rPr lang="lv-LV" sz="1400" b="0" spc="-25">
                <a:solidFill>
                  <a:schemeClr val="bg1"/>
                </a:solidFill>
              </a:rPr>
              <a:t>un </a:t>
            </a:r>
            <a:r>
              <a:rPr lang="lv-LV" sz="1400" b="0">
                <a:solidFill>
                  <a:schemeClr val="bg1"/>
                </a:solidFill>
              </a:rPr>
              <a:t>pašvaldību</a:t>
            </a:r>
            <a:r>
              <a:rPr lang="lv-LV" sz="1400" b="0" spc="120">
                <a:solidFill>
                  <a:schemeClr val="bg1"/>
                </a:solidFill>
              </a:rPr>
              <a:t> </a:t>
            </a:r>
            <a:r>
              <a:rPr lang="lv-LV" sz="1400" b="0">
                <a:solidFill>
                  <a:schemeClr val="bg1"/>
                </a:solidFill>
              </a:rPr>
              <a:t>institūciju,</a:t>
            </a:r>
            <a:r>
              <a:rPr lang="lv-LV" sz="1400" b="0" spc="120">
                <a:solidFill>
                  <a:schemeClr val="bg1"/>
                </a:solidFill>
              </a:rPr>
              <a:t> </a:t>
            </a:r>
            <a:r>
              <a:rPr lang="lv-LV" sz="1400" b="0">
                <a:solidFill>
                  <a:schemeClr val="bg1"/>
                </a:solidFill>
              </a:rPr>
              <a:t>fizisko</a:t>
            </a:r>
            <a:r>
              <a:rPr lang="lv-LV" sz="1400" b="0" spc="120">
                <a:solidFill>
                  <a:schemeClr val="bg1"/>
                </a:solidFill>
              </a:rPr>
              <a:t> </a:t>
            </a:r>
            <a:r>
              <a:rPr lang="lv-LV" sz="1400" b="0">
                <a:solidFill>
                  <a:schemeClr val="bg1"/>
                </a:solidFill>
              </a:rPr>
              <a:t>un</a:t>
            </a:r>
            <a:r>
              <a:rPr lang="lv-LV" sz="1400" b="0" spc="114">
                <a:solidFill>
                  <a:schemeClr val="bg1"/>
                </a:solidFill>
              </a:rPr>
              <a:t> </a:t>
            </a:r>
            <a:r>
              <a:rPr lang="lv-LV" sz="1400" b="0" spc="-10">
                <a:solidFill>
                  <a:schemeClr val="bg1"/>
                </a:solidFill>
              </a:rPr>
              <a:t>juridisko </a:t>
            </a:r>
            <a:r>
              <a:rPr lang="lv-LV" sz="1400" b="0">
                <a:solidFill>
                  <a:schemeClr val="bg1"/>
                </a:solidFill>
              </a:rPr>
              <a:t>personu</a:t>
            </a:r>
            <a:r>
              <a:rPr lang="lv-LV" sz="1400" b="0" spc="45">
                <a:solidFill>
                  <a:schemeClr val="bg1"/>
                </a:solidFill>
              </a:rPr>
              <a:t> </a:t>
            </a:r>
            <a:r>
              <a:rPr lang="lv-LV" sz="1400" b="0">
                <a:solidFill>
                  <a:schemeClr val="bg1"/>
                </a:solidFill>
              </a:rPr>
              <a:t>tiesības</a:t>
            </a:r>
            <a:r>
              <a:rPr lang="lv-LV" sz="1400" b="0" spc="45">
                <a:solidFill>
                  <a:schemeClr val="bg1"/>
                </a:solidFill>
              </a:rPr>
              <a:t> </a:t>
            </a:r>
            <a:r>
              <a:rPr lang="lv-LV" sz="1400" b="0">
                <a:solidFill>
                  <a:schemeClr val="bg1"/>
                </a:solidFill>
              </a:rPr>
              <a:t>un</a:t>
            </a:r>
            <a:r>
              <a:rPr lang="lv-LV" sz="1400" b="0" spc="50">
                <a:solidFill>
                  <a:schemeClr val="bg1"/>
                </a:solidFill>
              </a:rPr>
              <a:t> </a:t>
            </a:r>
            <a:r>
              <a:rPr lang="lv-LV" sz="1400" b="0">
                <a:solidFill>
                  <a:schemeClr val="bg1"/>
                </a:solidFill>
              </a:rPr>
              <a:t>brīvības,</a:t>
            </a:r>
            <a:r>
              <a:rPr lang="lv-LV" sz="1400" b="0" spc="60">
                <a:solidFill>
                  <a:schemeClr val="bg1"/>
                </a:solidFill>
              </a:rPr>
              <a:t> </a:t>
            </a:r>
            <a:r>
              <a:rPr lang="lv-LV" sz="1400" b="0">
                <a:solidFill>
                  <a:schemeClr val="bg1"/>
                </a:solidFill>
              </a:rPr>
              <a:t>kā</a:t>
            </a:r>
            <a:r>
              <a:rPr lang="lv-LV" sz="1400" b="0" spc="40">
                <a:solidFill>
                  <a:schemeClr val="bg1"/>
                </a:solidFill>
              </a:rPr>
              <a:t> </a:t>
            </a:r>
            <a:r>
              <a:rPr lang="lv-LV" sz="1400" b="0">
                <a:solidFill>
                  <a:schemeClr val="bg1"/>
                </a:solidFill>
              </a:rPr>
              <a:t>arī</a:t>
            </a:r>
            <a:r>
              <a:rPr lang="lv-LV" sz="1400" b="0" spc="50">
                <a:solidFill>
                  <a:schemeClr val="bg1"/>
                </a:solidFill>
              </a:rPr>
              <a:t> </a:t>
            </a:r>
            <a:r>
              <a:rPr lang="lv-LV" sz="1400" b="0">
                <a:solidFill>
                  <a:schemeClr val="bg1"/>
                </a:solidFill>
              </a:rPr>
              <a:t>uzlikt</a:t>
            </a:r>
            <a:r>
              <a:rPr lang="lv-LV" sz="1400" b="0" spc="45">
                <a:solidFill>
                  <a:schemeClr val="bg1"/>
                </a:solidFill>
              </a:rPr>
              <a:t> </a:t>
            </a:r>
            <a:r>
              <a:rPr lang="lv-LV" sz="1400" b="0" spc="-25">
                <a:solidFill>
                  <a:schemeClr val="bg1"/>
                </a:solidFill>
              </a:rPr>
              <a:t>tām </a:t>
            </a:r>
            <a:r>
              <a:rPr lang="lv-LV" sz="1400" b="0">
                <a:solidFill>
                  <a:schemeClr val="bg1"/>
                </a:solidFill>
              </a:rPr>
              <a:t>papildu pienākumus.</a:t>
            </a:r>
            <a:endParaRPr lang="lv-LV" sz="1400" b="0">
              <a:solidFill>
                <a:schemeClr val="bg1"/>
              </a:solidFill>
              <a:ea typeface="+mn-lt"/>
              <a:cs typeface="+mn-lt"/>
            </a:endParaRPr>
          </a:p>
        </p:txBody>
      </p:sp>
      <p:pic>
        <p:nvPicPr>
          <p:cNvPr id="2050" name="Picture 2" descr="Ārlietu ministrija">
            <a:extLst>
              <a:ext uri="{FF2B5EF4-FFF2-40B4-BE49-F238E27FC236}">
                <a16:creationId xmlns:a16="http://schemas.microsoft.com/office/drawing/2014/main" id="{B7DACA1A-0743-07AE-9DF1-3C4CA230EC5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9040561" y="1854795"/>
            <a:ext cx="658840" cy="560100"/>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1F6F023A-4A4D-1841-BACD-F72EB03805DD}"/>
              </a:ext>
            </a:extLst>
          </p:cNvPr>
          <p:cNvSpPr txBox="1"/>
          <p:nvPr/>
        </p:nvSpPr>
        <p:spPr>
          <a:xfrm>
            <a:off x="8891977" y="2403336"/>
            <a:ext cx="957021" cy="307777"/>
          </a:xfrm>
          <a:prstGeom prst="rect">
            <a:avLst/>
          </a:prstGeom>
          <a:noFill/>
        </p:spPr>
        <p:txBody>
          <a:bodyPr wrap="square" lIns="0" tIns="0" rIns="0" bIns="0" rtlCol="0" anchor="ctr">
            <a:spAutoFit/>
          </a:bodyPr>
          <a:lstStyle/>
          <a:p>
            <a:pPr algn="ctr">
              <a:lnSpc>
                <a:spcPct val="100000"/>
              </a:lnSpc>
              <a:spcAft>
                <a:spcPts val="600"/>
              </a:spcAft>
              <a:buSzPct val="100000"/>
            </a:pPr>
            <a:r>
              <a:rPr lang="lv-LV" sz="1000" b="1"/>
              <a:t>Nozares ministrija</a:t>
            </a:r>
          </a:p>
        </p:txBody>
      </p:sp>
      <p:pic>
        <p:nvPicPr>
          <p:cNvPr id="2052" name="Picture 4" descr="Ministru kabinets">
            <a:extLst>
              <a:ext uri="{FF2B5EF4-FFF2-40B4-BE49-F238E27FC236}">
                <a16:creationId xmlns:a16="http://schemas.microsoft.com/office/drawing/2014/main" id="{6181B686-6C23-3EC1-7E72-A711E542A7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08754" y="3253572"/>
            <a:ext cx="816592" cy="798034"/>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52">
            <a:extLst>
              <a:ext uri="{FF2B5EF4-FFF2-40B4-BE49-F238E27FC236}">
                <a16:creationId xmlns:a16="http://schemas.microsoft.com/office/drawing/2014/main" id="{21AA6D6B-603E-58F7-4197-37DE4D33D8C8}"/>
              </a:ext>
            </a:extLst>
          </p:cNvPr>
          <p:cNvPicPr>
            <a:picLocks noChangeAspect="1"/>
          </p:cNvPicPr>
          <p:nvPr/>
        </p:nvPicPr>
        <p:blipFill>
          <a:blip r:embed="rId5"/>
          <a:stretch>
            <a:fillRect/>
          </a:stretch>
        </p:blipFill>
        <p:spPr>
          <a:xfrm>
            <a:off x="9618054" y="4611674"/>
            <a:ext cx="776812" cy="826396"/>
          </a:xfrm>
          <a:prstGeom prst="rect">
            <a:avLst/>
          </a:prstGeom>
        </p:spPr>
      </p:pic>
      <p:sp>
        <p:nvSpPr>
          <p:cNvPr id="22" name="object 22"/>
          <p:cNvSpPr txBox="1"/>
          <p:nvPr/>
        </p:nvSpPr>
        <p:spPr>
          <a:xfrm>
            <a:off x="10127228" y="2397245"/>
            <a:ext cx="1196740" cy="319959"/>
          </a:xfrm>
          <a:prstGeom prst="rect">
            <a:avLst/>
          </a:prstGeom>
        </p:spPr>
        <p:txBody>
          <a:bodyPr vert="horz" wrap="square" lIns="0" tIns="12065" rIns="0" bIns="0" rtlCol="0" anchor="ctr">
            <a:spAutoFit/>
          </a:bodyPr>
          <a:lstStyle/>
          <a:p>
            <a:pPr marL="12700" algn="ctr">
              <a:spcBef>
                <a:spcPts val="95"/>
              </a:spcBef>
            </a:pPr>
            <a:r>
              <a:rPr lang="lv-LV" sz="1000" b="1">
                <a:cs typeface="Verdana"/>
              </a:rPr>
              <a:t>Krīzes</a:t>
            </a:r>
            <a:r>
              <a:rPr lang="lv-LV" sz="1000" b="1" spc="-40">
                <a:cs typeface="Verdana"/>
              </a:rPr>
              <a:t> </a:t>
            </a:r>
            <a:r>
              <a:rPr lang="lv-LV" sz="1000" b="1" spc="-10">
                <a:cs typeface="Verdana"/>
              </a:rPr>
              <a:t>vadības </a:t>
            </a:r>
            <a:r>
              <a:rPr lang="lv-LV" sz="1000" b="1">
                <a:cs typeface="Verdana"/>
              </a:rPr>
              <a:t>padome</a:t>
            </a:r>
            <a:r>
              <a:rPr lang="lv-LV" sz="1000" b="1" spc="-55">
                <a:cs typeface="Verdana"/>
              </a:rPr>
              <a:t> </a:t>
            </a:r>
            <a:r>
              <a:rPr lang="lv-LV" sz="1000" b="1" spc="-10">
                <a:cs typeface="Verdana"/>
              </a:rPr>
              <a:t>(KVP)</a:t>
            </a:r>
            <a:endParaRPr lang="lv-LV" sz="1000">
              <a:cs typeface="Verdana"/>
            </a:endParaRPr>
          </a:p>
        </p:txBody>
      </p:sp>
      <p:pic>
        <p:nvPicPr>
          <p:cNvPr id="54" name="Picture 2" descr="Ārlietu ministrija">
            <a:extLst>
              <a:ext uri="{FF2B5EF4-FFF2-40B4-BE49-F238E27FC236}">
                <a16:creationId xmlns:a16="http://schemas.microsoft.com/office/drawing/2014/main" id="{2624FDFD-C0C8-4044-401B-C77C6CDE0EF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10396177" y="1854795"/>
            <a:ext cx="658841" cy="560101"/>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a:extLst>
              <a:ext uri="{FF2B5EF4-FFF2-40B4-BE49-F238E27FC236}">
                <a16:creationId xmlns:a16="http://schemas.microsoft.com/office/drawing/2014/main" id="{587F8174-78B8-BCDF-9314-F8892430D915}"/>
              </a:ext>
            </a:extLst>
          </p:cNvPr>
          <p:cNvSpPr txBox="1"/>
          <p:nvPr/>
        </p:nvSpPr>
        <p:spPr>
          <a:xfrm>
            <a:off x="7729628" y="2480280"/>
            <a:ext cx="957021" cy="153888"/>
          </a:xfrm>
          <a:prstGeom prst="rect">
            <a:avLst/>
          </a:prstGeom>
          <a:noFill/>
        </p:spPr>
        <p:txBody>
          <a:bodyPr wrap="square" lIns="0" tIns="0" rIns="0" bIns="0" rtlCol="0" anchor="ctr">
            <a:spAutoFit/>
          </a:bodyPr>
          <a:lstStyle/>
          <a:p>
            <a:pPr algn="ctr">
              <a:lnSpc>
                <a:spcPct val="100000"/>
              </a:lnSpc>
              <a:spcAft>
                <a:spcPts val="600"/>
              </a:spcAft>
              <a:buSzPct val="100000"/>
            </a:pPr>
            <a:r>
              <a:rPr lang="lv-LV" sz="1000" b="1"/>
              <a:t>Pašvaldība</a:t>
            </a:r>
          </a:p>
        </p:txBody>
      </p:sp>
      <p:pic>
        <p:nvPicPr>
          <p:cNvPr id="63" name="Picture 62">
            <a:extLst>
              <a:ext uri="{FF2B5EF4-FFF2-40B4-BE49-F238E27FC236}">
                <a16:creationId xmlns:a16="http://schemas.microsoft.com/office/drawing/2014/main" id="{E86FDF20-D216-7D08-7DD5-13FE47DA8098}"/>
              </a:ext>
            </a:extLst>
          </p:cNvPr>
          <p:cNvPicPr>
            <a:picLocks noChangeAspect="1"/>
          </p:cNvPicPr>
          <p:nvPr/>
        </p:nvPicPr>
        <p:blipFill>
          <a:blip r:embed="rId6"/>
          <a:stretch>
            <a:fillRect/>
          </a:stretch>
        </p:blipFill>
        <p:spPr>
          <a:xfrm>
            <a:off x="7993479" y="1924245"/>
            <a:ext cx="429317" cy="495068"/>
          </a:xfrm>
          <a:prstGeom prst="rect">
            <a:avLst/>
          </a:prstGeom>
        </p:spPr>
      </p:pic>
      <p:sp>
        <p:nvSpPr>
          <p:cNvPr id="11" name="TextBox 10">
            <a:extLst>
              <a:ext uri="{FF2B5EF4-FFF2-40B4-BE49-F238E27FC236}">
                <a16:creationId xmlns:a16="http://schemas.microsoft.com/office/drawing/2014/main" id="{F73F1304-6535-C49D-4525-7E631DC4AD5A}"/>
              </a:ext>
            </a:extLst>
          </p:cNvPr>
          <p:cNvSpPr txBox="1"/>
          <p:nvPr/>
        </p:nvSpPr>
        <p:spPr>
          <a:xfrm>
            <a:off x="442912" y="2981601"/>
            <a:ext cx="5480301" cy="2119080"/>
          </a:xfrm>
          <a:prstGeom prst="rect">
            <a:avLst/>
          </a:prstGeom>
          <a:solidFill>
            <a:srgbClr val="CFD6E8"/>
          </a:solidFill>
        </p:spPr>
        <p:txBody>
          <a:bodyPr wrap="square" lIns="72000" tIns="72000" rIns="72000" bIns="72000">
            <a:noAutofit/>
          </a:bodyPr>
          <a:lstStyle/>
          <a:p>
            <a:pPr marR="5080"/>
            <a:r>
              <a:rPr lang="lv-LV" sz="1400" b="1" spc="-10">
                <a:ea typeface="+mn-lt"/>
                <a:cs typeface="+mn-lt"/>
              </a:rPr>
              <a:t>Ārkārtējo situāciju var izsludināt tāda valsts apdraudējuma gadījumā, kas saistīts ar:</a:t>
            </a:r>
          </a:p>
          <a:p>
            <a:pPr marR="5080"/>
            <a:endParaRPr lang="lv-LV" sz="1400">
              <a:ea typeface="+mn-lt"/>
              <a:cs typeface="+mn-lt"/>
            </a:endParaRPr>
          </a:p>
        </p:txBody>
      </p:sp>
      <p:grpSp>
        <p:nvGrpSpPr>
          <p:cNvPr id="2059" name="Group 2058">
            <a:extLst>
              <a:ext uri="{FF2B5EF4-FFF2-40B4-BE49-F238E27FC236}">
                <a16:creationId xmlns:a16="http://schemas.microsoft.com/office/drawing/2014/main" id="{B88E9876-4F31-A8CE-C9FB-6EF5D7991881}"/>
              </a:ext>
            </a:extLst>
          </p:cNvPr>
          <p:cNvGrpSpPr/>
          <p:nvPr/>
        </p:nvGrpSpPr>
        <p:grpSpPr>
          <a:xfrm>
            <a:off x="559119" y="3534000"/>
            <a:ext cx="5349874" cy="360000"/>
            <a:chOff x="559119" y="3534000"/>
            <a:chExt cx="5349874" cy="360000"/>
          </a:xfrm>
        </p:grpSpPr>
        <p:sp>
          <p:nvSpPr>
            <p:cNvPr id="9" name="Rectangle 8">
              <a:extLst>
                <a:ext uri="{FF2B5EF4-FFF2-40B4-BE49-F238E27FC236}">
                  <a16:creationId xmlns:a16="http://schemas.microsoft.com/office/drawing/2014/main" id="{62995D05-3D43-D541-4A36-425124723511}"/>
                </a:ext>
              </a:extLst>
            </p:cNvPr>
            <p:cNvSpPr/>
            <p:nvPr/>
          </p:nvSpPr>
          <p:spPr>
            <a:xfrm>
              <a:off x="1238789" y="3534000"/>
              <a:ext cx="4670204" cy="36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defRPr/>
              </a:pPr>
              <a:r>
                <a:rPr lang="lv-LV" sz="1400">
                  <a:solidFill>
                    <a:schemeClr val="tx1"/>
                  </a:solidFill>
                  <a:ea typeface="+mn-lt"/>
                  <a:cs typeface="+mn-lt"/>
                </a:rPr>
                <a:t>katastrofu, </a:t>
              </a:r>
            </a:p>
          </p:txBody>
        </p:sp>
        <p:sp>
          <p:nvSpPr>
            <p:cNvPr id="13" name="Rectangle 12">
              <a:extLst>
                <a:ext uri="{FF2B5EF4-FFF2-40B4-BE49-F238E27FC236}">
                  <a16:creationId xmlns:a16="http://schemas.microsoft.com/office/drawing/2014/main" id="{92FAE0C2-39F2-FA6A-6FBA-23D9A15404CD}"/>
                </a:ext>
              </a:extLst>
            </p:cNvPr>
            <p:cNvSpPr/>
            <p:nvPr/>
          </p:nvSpPr>
          <p:spPr>
            <a:xfrm>
              <a:off x="559119" y="3534000"/>
              <a:ext cx="576000" cy="360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4" name="L-Shape 13">
              <a:extLst>
                <a:ext uri="{FF2B5EF4-FFF2-40B4-BE49-F238E27FC236}">
                  <a16:creationId xmlns:a16="http://schemas.microsoft.com/office/drawing/2014/main" id="{4A86F91A-7A8D-B1FC-5AD4-E5C7BEBDBA64}"/>
                </a:ext>
              </a:extLst>
            </p:cNvPr>
            <p:cNvSpPr/>
            <p:nvPr/>
          </p:nvSpPr>
          <p:spPr>
            <a:xfrm rot="13500000">
              <a:off x="710285" y="3605321"/>
              <a:ext cx="217358" cy="217358"/>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2058" name="Group 2057">
            <a:extLst>
              <a:ext uri="{FF2B5EF4-FFF2-40B4-BE49-F238E27FC236}">
                <a16:creationId xmlns:a16="http://schemas.microsoft.com/office/drawing/2014/main" id="{2521CB5D-77C0-1DD9-17C5-A9D042FCBA87}"/>
              </a:ext>
            </a:extLst>
          </p:cNvPr>
          <p:cNvGrpSpPr/>
          <p:nvPr/>
        </p:nvGrpSpPr>
        <p:grpSpPr>
          <a:xfrm>
            <a:off x="559119" y="3949684"/>
            <a:ext cx="5349874" cy="360000"/>
            <a:chOff x="559119" y="3945434"/>
            <a:chExt cx="5349874" cy="360000"/>
          </a:xfrm>
        </p:grpSpPr>
        <p:sp>
          <p:nvSpPr>
            <p:cNvPr id="18" name="Rectangle 17">
              <a:extLst>
                <a:ext uri="{FF2B5EF4-FFF2-40B4-BE49-F238E27FC236}">
                  <a16:creationId xmlns:a16="http://schemas.microsoft.com/office/drawing/2014/main" id="{88E54120-5CC8-B947-8D87-92AECE4C0AA3}"/>
                </a:ext>
              </a:extLst>
            </p:cNvPr>
            <p:cNvSpPr/>
            <p:nvPr/>
          </p:nvSpPr>
          <p:spPr>
            <a:xfrm>
              <a:off x="1238789" y="3945434"/>
              <a:ext cx="4670204" cy="36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defRPr/>
              </a:pPr>
              <a:r>
                <a:rPr lang="lv-LV" sz="1400">
                  <a:solidFill>
                    <a:schemeClr val="tx1"/>
                  </a:solidFill>
                  <a:ea typeface="+mn-lt"/>
                  <a:cs typeface="+mn-lt"/>
                </a:rPr>
                <a:t>tās draudiem vai </a:t>
              </a:r>
            </a:p>
          </p:txBody>
        </p:sp>
        <p:sp>
          <p:nvSpPr>
            <p:cNvPr id="19" name="Rectangle 18">
              <a:extLst>
                <a:ext uri="{FF2B5EF4-FFF2-40B4-BE49-F238E27FC236}">
                  <a16:creationId xmlns:a16="http://schemas.microsoft.com/office/drawing/2014/main" id="{3AFE3744-CA60-44A3-8A4D-43DFDD299734}"/>
                </a:ext>
              </a:extLst>
            </p:cNvPr>
            <p:cNvSpPr/>
            <p:nvPr/>
          </p:nvSpPr>
          <p:spPr>
            <a:xfrm>
              <a:off x="559119" y="3945434"/>
              <a:ext cx="576000" cy="360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0" name="L-Shape 19">
              <a:extLst>
                <a:ext uri="{FF2B5EF4-FFF2-40B4-BE49-F238E27FC236}">
                  <a16:creationId xmlns:a16="http://schemas.microsoft.com/office/drawing/2014/main" id="{4A11C254-949B-DE14-A25D-58CFF1346DA4}"/>
                </a:ext>
              </a:extLst>
            </p:cNvPr>
            <p:cNvSpPr/>
            <p:nvPr/>
          </p:nvSpPr>
          <p:spPr>
            <a:xfrm rot="13500000">
              <a:off x="710285" y="4016755"/>
              <a:ext cx="217358" cy="217358"/>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2060" name="Group 2059">
            <a:extLst>
              <a:ext uri="{FF2B5EF4-FFF2-40B4-BE49-F238E27FC236}">
                <a16:creationId xmlns:a16="http://schemas.microsoft.com/office/drawing/2014/main" id="{C3EF24DA-8DB8-C590-192C-D34CC9502B47}"/>
              </a:ext>
            </a:extLst>
          </p:cNvPr>
          <p:cNvGrpSpPr/>
          <p:nvPr/>
        </p:nvGrpSpPr>
        <p:grpSpPr>
          <a:xfrm>
            <a:off x="559119" y="4365369"/>
            <a:ext cx="5349874" cy="659799"/>
            <a:chOff x="559119" y="4365369"/>
            <a:chExt cx="5349874" cy="659799"/>
          </a:xfrm>
        </p:grpSpPr>
        <p:sp>
          <p:nvSpPr>
            <p:cNvPr id="42" name="Rectangle 41">
              <a:extLst>
                <a:ext uri="{FF2B5EF4-FFF2-40B4-BE49-F238E27FC236}">
                  <a16:creationId xmlns:a16="http://schemas.microsoft.com/office/drawing/2014/main" id="{34D595CF-9DA2-588B-1387-A541F43C597D}"/>
                </a:ext>
              </a:extLst>
            </p:cNvPr>
            <p:cNvSpPr/>
            <p:nvPr/>
          </p:nvSpPr>
          <p:spPr>
            <a:xfrm>
              <a:off x="1238789" y="4365664"/>
              <a:ext cx="4670204" cy="65920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defRPr/>
              </a:pPr>
              <a:r>
                <a:rPr lang="lv-LV" sz="1400">
                  <a:solidFill>
                    <a:schemeClr val="tx1"/>
                  </a:solidFill>
                  <a:ea typeface="+mn-lt"/>
                  <a:cs typeface="+mn-lt"/>
                </a:rPr>
                <a:t>kritiskās infrastruktūras apdraudējumu, ja būtiski apdraudēta valsts, sabiedrības, vides, saimnieciskās darbības drošība vai cilvēku veselība un dzīvība.</a:t>
              </a:r>
            </a:p>
          </p:txBody>
        </p:sp>
        <p:sp>
          <p:nvSpPr>
            <p:cNvPr id="55" name="Rectangle 54">
              <a:extLst>
                <a:ext uri="{FF2B5EF4-FFF2-40B4-BE49-F238E27FC236}">
                  <a16:creationId xmlns:a16="http://schemas.microsoft.com/office/drawing/2014/main" id="{02F44E44-D4D2-84B9-81A3-6F7F06E9CD04}"/>
                </a:ext>
              </a:extLst>
            </p:cNvPr>
            <p:cNvSpPr/>
            <p:nvPr/>
          </p:nvSpPr>
          <p:spPr>
            <a:xfrm>
              <a:off x="559119" y="4365369"/>
              <a:ext cx="576000" cy="659799"/>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6" name="L-Shape 55">
              <a:extLst>
                <a:ext uri="{FF2B5EF4-FFF2-40B4-BE49-F238E27FC236}">
                  <a16:creationId xmlns:a16="http://schemas.microsoft.com/office/drawing/2014/main" id="{CEA53ACF-990B-24FA-759E-03799BDA1F48}"/>
                </a:ext>
              </a:extLst>
            </p:cNvPr>
            <p:cNvSpPr/>
            <p:nvPr/>
          </p:nvSpPr>
          <p:spPr>
            <a:xfrm rot="13500000">
              <a:off x="710285" y="4586589"/>
              <a:ext cx="217358" cy="217358"/>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cxnSp>
        <p:nvCxnSpPr>
          <p:cNvPr id="2048" name="Straight Connector 2047">
            <a:extLst>
              <a:ext uri="{FF2B5EF4-FFF2-40B4-BE49-F238E27FC236}">
                <a16:creationId xmlns:a16="http://schemas.microsoft.com/office/drawing/2014/main" id="{DA709264-D157-A64D-78F3-6582000E8EA4}"/>
              </a:ext>
            </a:extLst>
          </p:cNvPr>
          <p:cNvCxnSpPr>
            <a:cxnSpLocks/>
          </p:cNvCxnSpPr>
          <p:nvPr/>
        </p:nvCxnSpPr>
        <p:spPr>
          <a:xfrm>
            <a:off x="1238789" y="3918923"/>
            <a:ext cx="4552411" cy="1588"/>
          </a:xfrm>
          <a:prstGeom prst="line">
            <a:avLst/>
          </a:prstGeom>
          <a:ln w="3175" cap="sq">
            <a:solidFill>
              <a:srgbClr val="525A72"/>
            </a:solidFill>
          </a:ln>
        </p:spPr>
        <p:style>
          <a:lnRef idx="1">
            <a:schemeClr val="accent1"/>
          </a:lnRef>
          <a:fillRef idx="0">
            <a:schemeClr val="accent1"/>
          </a:fillRef>
          <a:effectRef idx="0">
            <a:schemeClr val="dk1"/>
          </a:effectRef>
          <a:fontRef idx="minor">
            <a:schemeClr val="lt1"/>
          </a:fontRef>
        </p:style>
      </p:cxnSp>
      <p:cxnSp>
        <p:nvCxnSpPr>
          <p:cNvPr id="2051" name="Straight Connector 2050">
            <a:extLst>
              <a:ext uri="{FF2B5EF4-FFF2-40B4-BE49-F238E27FC236}">
                <a16:creationId xmlns:a16="http://schemas.microsoft.com/office/drawing/2014/main" id="{4629FA8E-2A5A-5F1F-EFC9-8C0143413C50}"/>
              </a:ext>
            </a:extLst>
          </p:cNvPr>
          <p:cNvCxnSpPr>
            <a:cxnSpLocks/>
          </p:cNvCxnSpPr>
          <p:nvPr/>
        </p:nvCxnSpPr>
        <p:spPr>
          <a:xfrm>
            <a:off x="1238789" y="4334608"/>
            <a:ext cx="4552411" cy="1588"/>
          </a:xfrm>
          <a:prstGeom prst="line">
            <a:avLst/>
          </a:prstGeom>
          <a:ln w="3175" cap="sq">
            <a:solidFill>
              <a:srgbClr val="525A72"/>
            </a:solidFill>
          </a:ln>
        </p:spPr>
        <p:style>
          <a:lnRef idx="1">
            <a:schemeClr val="accent1"/>
          </a:lnRef>
          <a:fillRef idx="0">
            <a:schemeClr val="accent1"/>
          </a:fillRef>
          <a:effectRef idx="0">
            <a:schemeClr val="dk1"/>
          </a:effectRef>
          <a:fontRef idx="minor">
            <a:schemeClr val="lt1"/>
          </a:fontRef>
        </p:style>
      </p:cxnSp>
      <p:sp>
        <p:nvSpPr>
          <p:cNvPr id="2054" name="Rectangle 2053">
            <a:extLst>
              <a:ext uri="{FF2B5EF4-FFF2-40B4-BE49-F238E27FC236}">
                <a16:creationId xmlns:a16="http://schemas.microsoft.com/office/drawing/2014/main" id="{1BF2EDEF-E89A-C7CA-3FC7-47AABDFD59BE}"/>
              </a:ext>
            </a:extLst>
          </p:cNvPr>
          <p:cNvSpPr/>
          <p:nvPr/>
        </p:nvSpPr>
        <p:spPr>
          <a:xfrm>
            <a:off x="6280524" y="5671078"/>
            <a:ext cx="5481638" cy="50112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055" name="Freeform 50">
            <a:extLst>
              <a:ext uri="{FF2B5EF4-FFF2-40B4-BE49-F238E27FC236}">
                <a16:creationId xmlns:a16="http://schemas.microsoft.com/office/drawing/2014/main" id="{A896D36C-3AB5-1A1F-22BF-6C50EC4AD455}"/>
              </a:ext>
            </a:extLst>
          </p:cNvPr>
          <p:cNvSpPr>
            <a:spLocks noChangeAspect="1"/>
          </p:cNvSpPr>
          <p:nvPr/>
        </p:nvSpPr>
        <p:spPr bwMode="auto">
          <a:xfrm>
            <a:off x="6411123" y="578003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056" name="Google Shape;2685;p25">
            <a:extLst>
              <a:ext uri="{FF2B5EF4-FFF2-40B4-BE49-F238E27FC236}">
                <a16:creationId xmlns:a16="http://schemas.microsoft.com/office/drawing/2014/main" id="{770B72B2-7D90-50CE-3BC9-993F0EC1B866}"/>
              </a:ext>
            </a:extLst>
          </p:cNvPr>
          <p:cNvSpPr txBox="1"/>
          <p:nvPr/>
        </p:nvSpPr>
        <p:spPr>
          <a:xfrm>
            <a:off x="6870756" y="5829306"/>
            <a:ext cx="4742622" cy="184666"/>
          </a:xfrm>
          <a:prstGeom prst="rect">
            <a:avLst/>
          </a:prstGeom>
          <a:noFill/>
          <a:ln>
            <a:noFill/>
          </a:ln>
        </p:spPr>
        <p:txBody>
          <a:bodyPr spcFirstLastPara="1" wrap="square" lIns="0" tIns="0" rIns="72000" bIns="0" anchor="ctr" anchorCtr="0">
            <a:spAutoFit/>
          </a:bodyPr>
          <a:lstStyle/>
          <a:p>
            <a:r>
              <a:rPr lang="lv-LV" sz="1200" i="0">
                <a:effectLst/>
                <a:hlinkClick r:id="rId7">
                  <a:extLst>
                    <a:ext uri="{A12FA001-AC4F-418D-AE19-62706E023703}">
                      <ahyp:hlinkClr xmlns:ahyp="http://schemas.microsoft.com/office/drawing/2018/hyperlinkcolor" val="tx"/>
                    </a:ext>
                  </a:extLst>
                </a:hlinkClick>
              </a:rPr>
              <a:t>Par ārkārtējo situāciju un izņēmuma stāvokli</a:t>
            </a:r>
            <a:endParaRPr lang="lv-LV" sz="1200" i="0">
              <a:effectLst/>
            </a:endParaRPr>
          </a:p>
        </p:txBody>
      </p:sp>
      <p:sp>
        <p:nvSpPr>
          <p:cNvPr id="4" name="Rectangle 3">
            <a:extLst>
              <a:ext uri="{FF2B5EF4-FFF2-40B4-BE49-F238E27FC236}">
                <a16:creationId xmlns:a16="http://schemas.microsoft.com/office/drawing/2014/main" id="{D2DC2135-6C91-C657-7AF3-7AE1A1FE4EA9}"/>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rgbClr val="A4A3B2"/>
                </a:solidFill>
                <a:effectLst/>
                <a:uLnTx/>
                <a:uFillTx/>
                <a:ea typeface="Georgia"/>
                <a:cs typeface="Georgia"/>
                <a:sym typeface="Georgia"/>
              </a:rPr>
              <a:t>2. CIVILĀS AIZSARDZĪBAS SISTĒMA UN NORMATĪVAIS UN POLITIKAS PLĀNOŠANAS IETVARS</a:t>
            </a:r>
          </a:p>
        </p:txBody>
      </p:sp>
      <p:grpSp>
        <p:nvGrpSpPr>
          <p:cNvPr id="2049" name="Group 2048">
            <a:extLst>
              <a:ext uri="{FF2B5EF4-FFF2-40B4-BE49-F238E27FC236}">
                <a16:creationId xmlns:a16="http://schemas.microsoft.com/office/drawing/2014/main" id="{023AD1A3-AAC5-35A1-8F05-9ABB3C6C1DC1}"/>
              </a:ext>
            </a:extLst>
          </p:cNvPr>
          <p:cNvGrpSpPr/>
          <p:nvPr/>
        </p:nvGrpSpPr>
        <p:grpSpPr>
          <a:xfrm>
            <a:off x="6406877" y="127593"/>
            <a:ext cx="5342171" cy="220690"/>
            <a:chOff x="6167418" y="135399"/>
            <a:chExt cx="5342171" cy="220690"/>
          </a:xfrm>
        </p:grpSpPr>
        <p:sp>
          <p:nvSpPr>
            <p:cNvPr id="2053" name="Rectangle 2052">
              <a:extLst>
                <a:ext uri="{FF2B5EF4-FFF2-40B4-BE49-F238E27FC236}">
                  <a16:creationId xmlns:a16="http://schemas.microsoft.com/office/drawing/2014/main" id="{0ECD4AE9-C58A-7B4F-5776-2EDCB013787D}"/>
                </a:ext>
              </a:extLst>
            </p:cNvPr>
            <p:cNvSpPr/>
            <p:nvPr/>
          </p:nvSpPr>
          <p:spPr>
            <a:xfrm>
              <a:off x="6167418" y="13860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057" name="Rectangle 2056">
              <a:extLst>
                <a:ext uri="{FF2B5EF4-FFF2-40B4-BE49-F238E27FC236}">
                  <a16:creationId xmlns:a16="http://schemas.microsoft.com/office/drawing/2014/main" id="{85E05270-D33B-3CDD-CBB6-DCC9EEA5D7C9}"/>
                </a:ext>
              </a:extLst>
            </p:cNvPr>
            <p:cNvSpPr/>
            <p:nvPr/>
          </p:nvSpPr>
          <p:spPr>
            <a:xfrm>
              <a:off x="6409245" y="13860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2061" name="Rectangle 2060">
              <a:extLst>
                <a:ext uri="{FF2B5EF4-FFF2-40B4-BE49-F238E27FC236}">
                  <a16:creationId xmlns:a16="http://schemas.microsoft.com/office/drawing/2014/main" id="{0AA84628-5C24-AB24-0C28-ED8473D48584}"/>
                </a:ext>
              </a:extLst>
            </p:cNvPr>
            <p:cNvSpPr/>
            <p:nvPr/>
          </p:nvSpPr>
          <p:spPr>
            <a:xfrm>
              <a:off x="6651072" y="138601"/>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062" name="Rectangle 2061">
              <a:extLst>
                <a:ext uri="{FF2B5EF4-FFF2-40B4-BE49-F238E27FC236}">
                  <a16:creationId xmlns:a16="http://schemas.microsoft.com/office/drawing/2014/main" id="{6393887F-B9C8-6177-3D6A-6054B7E6C4EC}"/>
                </a:ext>
              </a:extLst>
            </p:cNvPr>
            <p:cNvSpPr/>
            <p:nvPr/>
          </p:nvSpPr>
          <p:spPr>
            <a:xfrm>
              <a:off x="7369589" y="135399"/>
              <a:ext cx="414000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lv-LV" sz="800" b="1"/>
                <a:t>Īpašie tiesiskie režīmi</a:t>
              </a:r>
            </a:p>
          </p:txBody>
        </p:sp>
        <p:sp>
          <p:nvSpPr>
            <p:cNvPr id="2063" name="Rectangle 2062">
              <a:extLst>
                <a:ext uri="{FF2B5EF4-FFF2-40B4-BE49-F238E27FC236}">
                  <a16:creationId xmlns:a16="http://schemas.microsoft.com/office/drawing/2014/main" id="{FE8002F2-ACE3-DCE0-3364-ED45B33A50FB}"/>
                </a:ext>
              </a:extLst>
            </p:cNvPr>
            <p:cNvSpPr/>
            <p:nvPr/>
          </p:nvSpPr>
          <p:spPr>
            <a:xfrm>
              <a:off x="7127762" y="135399"/>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5</a:t>
              </a:r>
              <a:endParaRPr kumimoji="0" lang="lv-LV" sz="800" b="1" i="0" u="none" strike="noStrike" kern="0" cap="none" spc="0" normalizeH="0" baseline="0">
                <a:ln>
                  <a:noFill/>
                </a:ln>
                <a:effectLst/>
                <a:uLnTx/>
                <a:uFillTx/>
                <a:ea typeface="Georgia"/>
                <a:cs typeface="Georgia"/>
                <a:sym typeface="Georgia"/>
              </a:endParaRPr>
            </a:p>
          </p:txBody>
        </p:sp>
        <p:sp>
          <p:nvSpPr>
            <p:cNvPr id="2064" name="Rectangle 2063">
              <a:extLst>
                <a:ext uri="{FF2B5EF4-FFF2-40B4-BE49-F238E27FC236}">
                  <a16:creationId xmlns:a16="http://schemas.microsoft.com/office/drawing/2014/main" id="{9FC49241-E7B5-17FF-0AA8-A83C82467E75}"/>
                </a:ext>
              </a:extLst>
            </p:cNvPr>
            <p:cNvSpPr/>
            <p:nvPr/>
          </p:nvSpPr>
          <p:spPr>
            <a:xfrm>
              <a:off x="6892899" y="13860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A56ABBE-808E-2B50-2746-01A9549F0243}"/>
              </a:ext>
            </a:extLst>
          </p:cNvPr>
          <p:cNvSpPr>
            <a:spLocks noGrp="1"/>
          </p:cNvSpPr>
          <p:nvPr>
            <p:ph type="title"/>
          </p:nvPr>
        </p:nvSpPr>
        <p:spPr>
          <a:xfrm>
            <a:off x="442913" y="432001"/>
            <a:ext cx="11306175" cy="1387274"/>
          </a:xfrm>
        </p:spPr>
        <p:txBody>
          <a:bodyPr vert="horz" lIns="0" tIns="0" rIns="0" bIns="0" rtlCol="0" anchor="t" anchorCtr="0">
            <a:noAutofit/>
          </a:bodyPr>
          <a:lstStyle/>
          <a:p>
            <a:r>
              <a:rPr lang="lv-LV"/>
              <a:t>Izsludinot ārkārtējo situāciju, Ministru kabinetam ir tiesības noteikt:</a:t>
            </a:r>
          </a:p>
        </p:txBody>
      </p:sp>
      <p:sp>
        <p:nvSpPr>
          <p:cNvPr id="18" name="Rectangle 17">
            <a:extLst>
              <a:ext uri="{FF2B5EF4-FFF2-40B4-BE49-F238E27FC236}">
                <a16:creationId xmlns:a16="http://schemas.microsoft.com/office/drawing/2014/main" id="{0E1A1199-7305-2CEF-748D-6F5A22855534}"/>
              </a:ext>
            </a:extLst>
          </p:cNvPr>
          <p:cNvSpPr/>
          <p:nvPr/>
        </p:nvSpPr>
        <p:spPr>
          <a:xfrm>
            <a:off x="1144242" y="1820863"/>
            <a:ext cx="4772372" cy="7143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a:solidFill>
                  <a:schemeClr val="tx1"/>
                </a:solidFill>
              </a:rPr>
              <a:t>Īpašu </a:t>
            </a:r>
            <a:r>
              <a:rPr lang="lv-LV" sz="1200" b="1">
                <a:solidFill>
                  <a:schemeClr val="tx1"/>
                </a:solidFill>
              </a:rPr>
              <a:t>pārvietošanās un pulcēšanās </a:t>
            </a:r>
            <a:r>
              <a:rPr lang="lv-LV" sz="1200">
                <a:solidFill>
                  <a:schemeClr val="tx1"/>
                </a:solidFill>
              </a:rPr>
              <a:t>kārtību vai pārvietošanās un pulcēšanās ierobežojumus</a:t>
            </a:r>
          </a:p>
        </p:txBody>
      </p:sp>
      <p:sp>
        <p:nvSpPr>
          <p:cNvPr id="21" name="Rectangle 20">
            <a:extLst>
              <a:ext uri="{FF2B5EF4-FFF2-40B4-BE49-F238E27FC236}">
                <a16:creationId xmlns:a16="http://schemas.microsoft.com/office/drawing/2014/main" id="{D2B8CCD4-519B-DC9C-9476-0A79B896B75D}"/>
              </a:ext>
            </a:extLst>
          </p:cNvPr>
          <p:cNvSpPr/>
          <p:nvPr/>
        </p:nvSpPr>
        <p:spPr>
          <a:xfrm>
            <a:off x="1144242" y="2695667"/>
            <a:ext cx="4772372" cy="7143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a:solidFill>
                  <a:schemeClr val="tx1"/>
                </a:solidFill>
              </a:rPr>
              <a:t>Īpašu kārtību </a:t>
            </a:r>
            <a:r>
              <a:rPr lang="lv-LV" sz="1200" b="1">
                <a:solidFill>
                  <a:schemeClr val="tx1"/>
                </a:solidFill>
              </a:rPr>
              <a:t>transportlīdzekļu kustībai </a:t>
            </a:r>
            <a:r>
              <a:rPr lang="lv-LV" sz="1200">
                <a:solidFill>
                  <a:schemeClr val="tx1"/>
                </a:solidFill>
              </a:rPr>
              <a:t>vai šīs kustības ierobežojumus</a:t>
            </a:r>
          </a:p>
        </p:txBody>
      </p:sp>
      <p:sp>
        <p:nvSpPr>
          <p:cNvPr id="22" name="Rectangle 21">
            <a:extLst>
              <a:ext uri="{FF2B5EF4-FFF2-40B4-BE49-F238E27FC236}">
                <a16:creationId xmlns:a16="http://schemas.microsoft.com/office/drawing/2014/main" id="{C2E2F87E-C09F-4B30-1919-F5E2A78F3541}"/>
              </a:ext>
            </a:extLst>
          </p:cNvPr>
          <p:cNvSpPr/>
          <p:nvPr/>
        </p:nvSpPr>
        <p:spPr>
          <a:xfrm>
            <a:off x="1144242" y="3570471"/>
            <a:ext cx="4772372" cy="7143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a:solidFill>
                  <a:schemeClr val="tx1"/>
                </a:solidFill>
              </a:rPr>
              <a:t>Īpašu </a:t>
            </a:r>
            <a:r>
              <a:rPr lang="lv-LV" sz="1200" b="1">
                <a:solidFill>
                  <a:schemeClr val="tx1"/>
                </a:solidFill>
              </a:rPr>
              <a:t>saimnieciskās darbības </a:t>
            </a:r>
            <a:r>
              <a:rPr lang="lv-LV" sz="1200">
                <a:solidFill>
                  <a:schemeClr val="tx1"/>
                </a:solidFill>
              </a:rPr>
              <a:t>kārtību vai šīs darbības ierobežojumus</a:t>
            </a:r>
          </a:p>
        </p:txBody>
      </p:sp>
      <p:sp>
        <p:nvSpPr>
          <p:cNvPr id="23" name="Rectangle 22">
            <a:extLst>
              <a:ext uri="{FF2B5EF4-FFF2-40B4-BE49-F238E27FC236}">
                <a16:creationId xmlns:a16="http://schemas.microsoft.com/office/drawing/2014/main" id="{B285B1A9-5FD7-D286-0263-BDDA47CD84FC}"/>
              </a:ext>
            </a:extLst>
          </p:cNvPr>
          <p:cNvSpPr/>
          <p:nvPr/>
        </p:nvSpPr>
        <p:spPr>
          <a:xfrm>
            <a:off x="1144242" y="4445275"/>
            <a:ext cx="4772372" cy="7143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a:solidFill>
                  <a:schemeClr val="tx1"/>
                </a:solidFill>
              </a:rPr>
              <a:t>Īpašu kārtību </a:t>
            </a:r>
            <a:r>
              <a:rPr lang="lv-LV" sz="1200" b="1">
                <a:solidFill>
                  <a:schemeClr val="tx1"/>
                </a:solidFill>
              </a:rPr>
              <a:t>preču, medikamentu, energoresursu, pakalpojumu un citu materiāltehnisko resursu pieejamībai</a:t>
            </a:r>
          </a:p>
        </p:txBody>
      </p:sp>
      <p:sp>
        <p:nvSpPr>
          <p:cNvPr id="19" name="Rectangle 18">
            <a:extLst>
              <a:ext uri="{FF2B5EF4-FFF2-40B4-BE49-F238E27FC236}">
                <a16:creationId xmlns:a16="http://schemas.microsoft.com/office/drawing/2014/main" id="{9B029BEC-72B3-C1E2-7AFC-D65ACADC991B}"/>
              </a:ext>
            </a:extLst>
          </p:cNvPr>
          <p:cNvSpPr/>
          <p:nvPr/>
        </p:nvSpPr>
        <p:spPr>
          <a:xfrm>
            <a:off x="442913" y="1821656"/>
            <a:ext cx="576000" cy="715256"/>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r>
              <a:rPr lang="lv-LV" sz="2000" b="1"/>
              <a:t>1</a:t>
            </a:r>
          </a:p>
        </p:txBody>
      </p:sp>
      <p:sp>
        <p:nvSpPr>
          <p:cNvPr id="41" name="Rectangle 40">
            <a:extLst>
              <a:ext uri="{FF2B5EF4-FFF2-40B4-BE49-F238E27FC236}">
                <a16:creationId xmlns:a16="http://schemas.microsoft.com/office/drawing/2014/main" id="{FE9D8B49-4A0A-7A7F-FD0C-28B19FB420B0}"/>
              </a:ext>
            </a:extLst>
          </p:cNvPr>
          <p:cNvSpPr/>
          <p:nvPr/>
        </p:nvSpPr>
        <p:spPr>
          <a:xfrm>
            <a:off x="442913" y="2695902"/>
            <a:ext cx="576000" cy="715256"/>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r>
              <a:rPr lang="lv-LV" sz="2000" b="1"/>
              <a:t>2</a:t>
            </a:r>
          </a:p>
        </p:txBody>
      </p:sp>
      <p:sp>
        <p:nvSpPr>
          <p:cNvPr id="44" name="Rectangle 43">
            <a:extLst>
              <a:ext uri="{FF2B5EF4-FFF2-40B4-BE49-F238E27FC236}">
                <a16:creationId xmlns:a16="http://schemas.microsoft.com/office/drawing/2014/main" id="{3059FFBF-6C6A-4892-2611-202B20CDF34F}"/>
              </a:ext>
            </a:extLst>
          </p:cNvPr>
          <p:cNvSpPr/>
          <p:nvPr/>
        </p:nvSpPr>
        <p:spPr>
          <a:xfrm>
            <a:off x="442913" y="3570148"/>
            <a:ext cx="576000" cy="715256"/>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r>
              <a:rPr lang="lv-LV" sz="2000" b="1"/>
              <a:t>3</a:t>
            </a:r>
          </a:p>
        </p:txBody>
      </p:sp>
      <p:sp>
        <p:nvSpPr>
          <p:cNvPr id="47" name="Rectangle 46">
            <a:extLst>
              <a:ext uri="{FF2B5EF4-FFF2-40B4-BE49-F238E27FC236}">
                <a16:creationId xmlns:a16="http://schemas.microsoft.com/office/drawing/2014/main" id="{7CC6E599-8343-DBA8-C499-038C17FC9A02}"/>
              </a:ext>
            </a:extLst>
          </p:cNvPr>
          <p:cNvSpPr/>
          <p:nvPr/>
        </p:nvSpPr>
        <p:spPr>
          <a:xfrm>
            <a:off x="442913" y="4444394"/>
            <a:ext cx="576000" cy="715256"/>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r>
              <a:rPr lang="lv-LV" sz="2000" b="1"/>
              <a:t>4</a:t>
            </a:r>
          </a:p>
        </p:txBody>
      </p:sp>
      <p:sp>
        <p:nvSpPr>
          <p:cNvPr id="24" name="Rectangle 23">
            <a:extLst>
              <a:ext uri="{FF2B5EF4-FFF2-40B4-BE49-F238E27FC236}">
                <a16:creationId xmlns:a16="http://schemas.microsoft.com/office/drawing/2014/main" id="{85A647CD-F728-A196-CBAF-3E4BB87AD2EB}"/>
              </a:ext>
            </a:extLst>
          </p:cNvPr>
          <p:cNvSpPr/>
          <p:nvPr/>
        </p:nvSpPr>
        <p:spPr>
          <a:xfrm>
            <a:off x="1144242" y="5318641"/>
            <a:ext cx="4772372" cy="85329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a:solidFill>
                  <a:schemeClr val="tx1"/>
                </a:solidFill>
              </a:rPr>
              <a:t>Valsts pārvaldes un pašvaldību institūciju tiesības pieņemt lēmumu par </a:t>
            </a:r>
            <a:r>
              <a:rPr lang="lv-LV" sz="1200" b="1">
                <a:solidFill>
                  <a:schemeClr val="tx1"/>
                </a:solidFill>
              </a:rPr>
              <a:t>iedzīvotāju un viņu kustamā īpašuma evakuāciju</a:t>
            </a:r>
            <a:r>
              <a:rPr lang="lv-LV" sz="1200">
                <a:solidFill>
                  <a:schemeClr val="tx1"/>
                </a:solidFill>
              </a:rPr>
              <a:t>, kā arī, ja nepieciešams, nodrošināt pieņemtā lēmuma izpildi ar piespiedu pārvietošanu</a:t>
            </a:r>
          </a:p>
        </p:txBody>
      </p:sp>
      <p:sp>
        <p:nvSpPr>
          <p:cNvPr id="50" name="Rectangle 49">
            <a:extLst>
              <a:ext uri="{FF2B5EF4-FFF2-40B4-BE49-F238E27FC236}">
                <a16:creationId xmlns:a16="http://schemas.microsoft.com/office/drawing/2014/main" id="{5C8EF04C-E54F-0070-5E45-D8BA791CF7BE}"/>
              </a:ext>
            </a:extLst>
          </p:cNvPr>
          <p:cNvSpPr/>
          <p:nvPr/>
        </p:nvSpPr>
        <p:spPr>
          <a:xfrm>
            <a:off x="442913" y="5318641"/>
            <a:ext cx="576000" cy="853474"/>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r>
              <a:rPr lang="lv-LV" sz="2000" b="1"/>
              <a:t>5</a:t>
            </a:r>
          </a:p>
        </p:txBody>
      </p:sp>
      <p:sp>
        <p:nvSpPr>
          <p:cNvPr id="52" name="Rectangle 51">
            <a:extLst>
              <a:ext uri="{FF2B5EF4-FFF2-40B4-BE49-F238E27FC236}">
                <a16:creationId xmlns:a16="http://schemas.microsoft.com/office/drawing/2014/main" id="{1A6F0133-A49C-46D0-BAE7-D428793C46FD}"/>
              </a:ext>
            </a:extLst>
          </p:cNvPr>
          <p:cNvSpPr/>
          <p:nvPr/>
        </p:nvSpPr>
        <p:spPr>
          <a:xfrm>
            <a:off x="6976717" y="1821656"/>
            <a:ext cx="4772372" cy="576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a:solidFill>
                  <a:schemeClr val="tx1"/>
                </a:solidFill>
              </a:rPr>
              <a:t>Valsts pārvaldes un pašvaldību institūciju amatpersonu </a:t>
            </a:r>
            <a:r>
              <a:rPr lang="lv-LV" sz="1200" b="1">
                <a:solidFill>
                  <a:schemeClr val="tx1"/>
                </a:solidFill>
              </a:rPr>
              <a:t>tiesības iekļūt privātā īpašumā</a:t>
            </a:r>
          </a:p>
        </p:txBody>
      </p:sp>
      <p:sp>
        <p:nvSpPr>
          <p:cNvPr id="54" name="Rectangle 53">
            <a:extLst>
              <a:ext uri="{FF2B5EF4-FFF2-40B4-BE49-F238E27FC236}">
                <a16:creationId xmlns:a16="http://schemas.microsoft.com/office/drawing/2014/main" id="{1D5212EC-CBFC-B416-1119-5B504592501B}"/>
              </a:ext>
            </a:extLst>
          </p:cNvPr>
          <p:cNvSpPr/>
          <p:nvPr/>
        </p:nvSpPr>
        <p:spPr>
          <a:xfrm>
            <a:off x="6275388" y="1821656"/>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r>
              <a:rPr lang="lv-LV" sz="2000" b="1"/>
              <a:t>6</a:t>
            </a:r>
          </a:p>
        </p:txBody>
      </p:sp>
      <p:sp>
        <p:nvSpPr>
          <p:cNvPr id="56" name="Rectangle 55">
            <a:extLst>
              <a:ext uri="{FF2B5EF4-FFF2-40B4-BE49-F238E27FC236}">
                <a16:creationId xmlns:a16="http://schemas.microsoft.com/office/drawing/2014/main" id="{7AEA07A3-0C18-A843-A268-AC0CB6F31980}"/>
              </a:ext>
            </a:extLst>
          </p:cNvPr>
          <p:cNvSpPr/>
          <p:nvPr/>
        </p:nvSpPr>
        <p:spPr>
          <a:xfrm>
            <a:off x="6977063" y="2516919"/>
            <a:ext cx="4772025" cy="105991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a:solidFill>
                  <a:schemeClr val="tx1"/>
                </a:solidFill>
              </a:rPr>
              <a:t>Valsts pārvaldes un pašvaldību institūciju amatpersonām papildu tiesības </a:t>
            </a:r>
            <a:r>
              <a:rPr lang="lv-LV" sz="1200" b="1">
                <a:solidFill>
                  <a:schemeClr val="tx1"/>
                </a:solidFill>
              </a:rPr>
              <a:t>aizturēt un nodot tiesībaizsardzības institūciju amatpersonām </a:t>
            </a:r>
            <a:r>
              <a:rPr lang="lv-LV" sz="1200">
                <a:solidFill>
                  <a:schemeClr val="tx1"/>
                </a:solidFill>
              </a:rPr>
              <a:t>lēmuma pieņemšanai </a:t>
            </a:r>
            <a:r>
              <a:rPr lang="lv-LV" sz="1200" b="1">
                <a:solidFill>
                  <a:schemeClr val="tx1"/>
                </a:solidFill>
              </a:rPr>
              <a:t>personas, kuras nepakļaujas amatpersonu likumīgajām prasībām </a:t>
            </a:r>
            <a:r>
              <a:rPr lang="lv-LV" sz="1200">
                <a:solidFill>
                  <a:schemeClr val="tx1"/>
                </a:solidFill>
              </a:rPr>
              <a:t>vai izdara citus pārkāpumus</a:t>
            </a:r>
          </a:p>
        </p:txBody>
      </p:sp>
      <p:sp>
        <p:nvSpPr>
          <p:cNvPr id="61" name="Rectangle 60">
            <a:extLst>
              <a:ext uri="{FF2B5EF4-FFF2-40B4-BE49-F238E27FC236}">
                <a16:creationId xmlns:a16="http://schemas.microsoft.com/office/drawing/2014/main" id="{57317571-1017-A381-336C-D567569D729C}"/>
              </a:ext>
            </a:extLst>
          </p:cNvPr>
          <p:cNvSpPr/>
          <p:nvPr/>
        </p:nvSpPr>
        <p:spPr>
          <a:xfrm>
            <a:off x="6280524" y="2516919"/>
            <a:ext cx="576000" cy="105991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r>
              <a:rPr lang="lv-LV" sz="2000" b="1"/>
              <a:t>7</a:t>
            </a:r>
          </a:p>
        </p:txBody>
      </p:sp>
      <p:sp>
        <p:nvSpPr>
          <p:cNvPr id="57" name="Rectangle 56">
            <a:extLst>
              <a:ext uri="{FF2B5EF4-FFF2-40B4-BE49-F238E27FC236}">
                <a16:creationId xmlns:a16="http://schemas.microsoft.com/office/drawing/2014/main" id="{C2D01315-F971-7FFE-2E24-AD8D7102576E}"/>
              </a:ext>
            </a:extLst>
          </p:cNvPr>
          <p:cNvSpPr/>
          <p:nvPr/>
        </p:nvSpPr>
        <p:spPr>
          <a:xfrm>
            <a:off x="6977063" y="3690822"/>
            <a:ext cx="4772025" cy="76952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a:solidFill>
                  <a:schemeClr val="tx1"/>
                </a:solidFill>
              </a:rPr>
              <a:t>Valsts pārvaldes un pašvaldību institūcijām tiesības noteikt </a:t>
            </a:r>
            <a:r>
              <a:rPr lang="lv-LV" sz="1200" b="1">
                <a:solidFill>
                  <a:schemeClr val="tx1"/>
                </a:solidFill>
              </a:rPr>
              <a:t>aizliegumu personām atrasties noteiktās vietās</a:t>
            </a:r>
            <a:r>
              <a:rPr lang="lv-LV" sz="1200">
                <a:solidFill>
                  <a:schemeClr val="tx1"/>
                </a:solidFill>
              </a:rPr>
              <a:t> bez atļaujām vai personu apliecinošiem dokumentiem</a:t>
            </a:r>
          </a:p>
        </p:txBody>
      </p:sp>
      <p:sp>
        <p:nvSpPr>
          <p:cNvPr id="64" name="Rectangle 63">
            <a:extLst>
              <a:ext uri="{FF2B5EF4-FFF2-40B4-BE49-F238E27FC236}">
                <a16:creationId xmlns:a16="http://schemas.microsoft.com/office/drawing/2014/main" id="{5FF56CE1-3337-0CBD-A7C2-65C83CA6DA2E}"/>
              </a:ext>
            </a:extLst>
          </p:cNvPr>
          <p:cNvSpPr/>
          <p:nvPr/>
        </p:nvSpPr>
        <p:spPr>
          <a:xfrm>
            <a:off x="6280524" y="3690660"/>
            <a:ext cx="576000" cy="769686"/>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r>
              <a:rPr lang="en-US" sz="2000" b="1"/>
              <a:t>8</a:t>
            </a:r>
            <a:endParaRPr lang="lv-LV" sz="2000" b="1"/>
          </a:p>
        </p:txBody>
      </p:sp>
      <p:sp>
        <p:nvSpPr>
          <p:cNvPr id="58" name="Rectangle 57">
            <a:extLst>
              <a:ext uri="{FF2B5EF4-FFF2-40B4-BE49-F238E27FC236}">
                <a16:creationId xmlns:a16="http://schemas.microsoft.com/office/drawing/2014/main" id="{6665E9AF-F625-24C7-85AC-71AFED4DC103}"/>
              </a:ext>
            </a:extLst>
          </p:cNvPr>
          <p:cNvSpPr/>
          <p:nvPr/>
        </p:nvSpPr>
        <p:spPr>
          <a:xfrm>
            <a:off x="6977063" y="4583387"/>
            <a:ext cx="4772025" cy="5762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a:solidFill>
                  <a:schemeClr val="tx1"/>
                </a:solidFill>
              </a:rPr>
              <a:t>Valsts pārvaldes un pašvaldību </a:t>
            </a:r>
            <a:r>
              <a:rPr lang="lv-LV" sz="1200" b="1">
                <a:solidFill>
                  <a:schemeClr val="tx1"/>
                </a:solidFill>
              </a:rPr>
              <a:t>institūcijas, kuras sagatavo un izplata oficiālu informāciju </a:t>
            </a:r>
            <a:r>
              <a:rPr lang="lv-LV" sz="1200">
                <a:solidFill>
                  <a:schemeClr val="tx1"/>
                </a:solidFill>
              </a:rPr>
              <a:t>par ārkārtējo situāciju</a:t>
            </a:r>
          </a:p>
        </p:txBody>
      </p:sp>
      <p:sp>
        <p:nvSpPr>
          <p:cNvPr id="67" name="Rectangle 66">
            <a:extLst>
              <a:ext uri="{FF2B5EF4-FFF2-40B4-BE49-F238E27FC236}">
                <a16:creationId xmlns:a16="http://schemas.microsoft.com/office/drawing/2014/main" id="{71A71A3E-AD6D-856D-F53F-04F575C6101E}"/>
              </a:ext>
            </a:extLst>
          </p:cNvPr>
          <p:cNvSpPr/>
          <p:nvPr/>
        </p:nvSpPr>
        <p:spPr>
          <a:xfrm>
            <a:off x="6280524" y="4583387"/>
            <a:ext cx="576000" cy="57626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r>
              <a:rPr lang="en-US" sz="2000" b="1"/>
              <a:t>9</a:t>
            </a:r>
            <a:endParaRPr lang="lv-LV" sz="2000" b="1"/>
          </a:p>
        </p:txBody>
      </p:sp>
      <p:sp>
        <p:nvSpPr>
          <p:cNvPr id="59" name="Rectangle 58">
            <a:extLst>
              <a:ext uri="{FF2B5EF4-FFF2-40B4-BE49-F238E27FC236}">
                <a16:creationId xmlns:a16="http://schemas.microsoft.com/office/drawing/2014/main" id="{6B50B2CF-5150-1138-87C8-04385F2B498F}"/>
              </a:ext>
            </a:extLst>
          </p:cNvPr>
          <p:cNvSpPr/>
          <p:nvPr/>
        </p:nvSpPr>
        <p:spPr>
          <a:xfrm>
            <a:off x="6977063" y="5318641"/>
            <a:ext cx="4772025" cy="8540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b="1">
                <a:solidFill>
                  <a:schemeClr val="tx1"/>
                </a:solidFill>
              </a:rPr>
              <a:t>Starptautiskajos līgumos noteikto saistību izpildes pilnīgu vai daļēju apturēšanu</a:t>
            </a:r>
            <a:r>
              <a:rPr lang="lv-LV" sz="1200">
                <a:solidFill>
                  <a:schemeClr val="tx1"/>
                </a:solidFill>
              </a:rPr>
              <a:t>, ja to izpilde var negatīvi ietekmēt valsts apdraudējuma novēršanas vai pārvarēšanas spējas</a:t>
            </a:r>
          </a:p>
        </p:txBody>
      </p:sp>
      <p:sp>
        <p:nvSpPr>
          <p:cNvPr id="70" name="Rectangle 69">
            <a:extLst>
              <a:ext uri="{FF2B5EF4-FFF2-40B4-BE49-F238E27FC236}">
                <a16:creationId xmlns:a16="http://schemas.microsoft.com/office/drawing/2014/main" id="{9027457A-A81B-F937-C14C-AF852EE6A94B}"/>
              </a:ext>
            </a:extLst>
          </p:cNvPr>
          <p:cNvSpPr/>
          <p:nvPr/>
        </p:nvSpPr>
        <p:spPr>
          <a:xfrm>
            <a:off x="6280524" y="5318641"/>
            <a:ext cx="576000" cy="8540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r>
              <a:rPr lang="en-US" sz="2000" b="1"/>
              <a:t>10</a:t>
            </a:r>
            <a:endParaRPr lang="lv-LV" sz="2000" b="1"/>
          </a:p>
        </p:txBody>
      </p:sp>
      <p:sp>
        <p:nvSpPr>
          <p:cNvPr id="72" name="object 24">
            <a:extLst>
              <a:ext uri="{FF2B5EF4-FFF2-40B4-BE49-F238E27FC236}">
                <a16:creationId xmlns:a16="http://schemas.microsoft.com/office/drawing/2014/main" id="{A91771DC-D1A3-5745-DF45-3AC32AB1D932}"/>
              </a:ext>
            </a:extLst>
          </p:cNvPr>
          <p:cNvSpPr txBox="1">
            <a:spLocks noGrp="1"/>
          </p:cNvSpPr>
          <p:nvPr>
            <p:ph type="sldNum" sz="quarter" idx="11"/>
          </p:nvPr>
        </p:nvSpPr>
        <p:spPr>
          <a:xfrm>
            <a:off x="9984296" y="6492240"/>
            <a:ext cx="1764792" cy="137160"/>
          </a:xfrm>
        </p:spPr>
        <p:txBody>
          <a:bodyPr vert="horz" wrap="square" lIns="0" tIns="0" rIns="0" bIns="0" rtlCol="0">
            <a:spAutoFit/>
          </a:bodyPr>
          <a:lstStyle>
            <a:defPPr>
              <a:defRPr kern="0"/>
            </a:defPPr>
            <a:lvl1pPr>
              <a:defRPr sz="900" b="0" i="0">
                <a:solidFill>
                  <a:srgbClr val="888888"/>
                </a:solidFill>
                <a:latin typeface="Calibri"/>
                <a:cs typeface="Calibri"/>
              </a:defRPr>
            </a:lvl1pPr>
          </a:lstStyle>
          <a:p>
            <a:fld id="{81D60167-4931-47E6-BA6A-407CBD079E47}" type="slidenum">
              <a:rPr lang="lv-LV" smtClean="0"/>
              <a:pPr/>
              <a:t>27</a:t>
            </a:fld>
            <a:endParaRPr lang="lv-LV"/>
          </a:p>
        </p:txBody>
      </p:sp>
      <p:sp>
        <p:nvSpPr>
          <p:cNvPr id="36" name="Rectangle 35">
            <a:extLst>
              <a:ext uri="{FF2B5EF4-FFF2-40B4-BE49-F238E27FC236}">
                <a16:creationId xmlns:a16="http://schemas.microsoft.com/office/drawing/2014/main" id="{04C71625-7DF7-41E4-DA8A-3264225FDB5D}"/>
              </a:ext>
            </a:extLst>
          </p:cNvPr>
          <p:cNvSpPr/>
          <p:nvPr/>
        </p:nvSpPr>
        <p:spPr>
          <a:xfrm>
            <a:off x="442912" y="6341400"/>
            <a:ext cx="7775575" cy="36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7" name="Freeform 50">
            <a:extLst>
              <a:ext uri="{FF2B5EF4-FFF2-40B4-BE49-F238E27FC236}">
                <a16:creationId xmlns:a16="http://schemas.microsoft.com/office/drawing/2014/main" id="{39A462D5-9AEF-DF46-F583-14CCD45BBFF6}"/>
              </a:ext>
            </a:extLst>
          </p:cNvPr>
          <p:cNvSpPr>
            <a:spLocks noChangeAspect="1"/>
          </p:cNvSpPr>
          <p:nvPr/>
        </p:nvSpPr>
        <p:spPr bwMode="auto">
          <a:xfrm>
            <a:off x="620569" y="6410325"/>
            <a:ext cx="220688" cy="222150"/>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8" name="Google Shape;2685;p25">
            <a:extLst>
              <a:ext uri="{FF2B5EF4-FFF2-40B4-BE49-F238E27FC236}">
                <a16:creationId xmlns:a16="http://schemas.microsoft.com/office/drawing/2014/main" id="{ED81CEB1-80E1-B817-014B-E0B1DC08E694}"/>
              </a:ext>
            </a:extLst>
          </p:cNvPr>
          <p:cNvSpPr txBox="1"/>
          <p:nvPr/>
        </p:nvSpPr>
        <p:spPr>
          <a:xfrm>
            <a:off x="950595" y="6444456"/>
            <a:ext cx="7192645" cy="153888"/>
          </a:xfrm>
          <a:prstGeom prst="rect">
            <a:avLst/>
          </a:prstGeom>
          <a:noFill/>
          <a:ln>
            <a:noFill/>
          </a:ln>
        </p:spPr>
        <p:txBody>
          <a:bodyPr spcFirstLastPara="1" wrap="square" lIns="0" tIns="0" rIns="72000" bIns="0" anchor="ctr" anchorCtr="0">
            <a:spAutoFit/>
          </a:bodyPr>
          <a:lstStyle/>
          <a:p>
            <a:r>
              <a:rPr lang="lv-LV" sz="1000" i="0">
                <a:effectLst/>
                <a:latin typeface="Arial" panose="020B0604020202020204" pitchFamily="34" charset="0"/>
                <a:hlinkClick r:id="rId3">
                  <a:extLst>
                    <a:ext uri="{A12FA001-AC4F-418D-AE19-62706E023703}">
                      <ahyp:hlinkClr xmlns:ahyp="http://schemas.microsoft.com/office/drawing/2018/hyperlinkcolor" val="tx"/>
                    </a:ext>
                  </a:extLst>
                </a:hlinkClick>
              </a:rPr>
              <a:t>Kārtība, kādā valsts augstākās amatpersonas apziņojamas valsts apdraudējuma gadījumā un par ārkārtas notikumiem valstī</a:t>
            </a:r>
            <a:endParaRPr lang="lv-LV" sz="1000"/>
          </a:p>
        </p:txBody>
      </p:sp>
      <p:sp>
        <p:nvSpPr>
          <p:cNvPr id="3" name="Rectangle 2">
            <a:extLst>
              <a:ext uri="{FF2B5EF4-FFF2-40B4-BE49-F238E27FC236}">
                <a16:creationId xmlns:a16="http://schemas.microsoft.com/office/drawing/2014/main" id="{50BE8D0B-0159-6A39-A753-7CB43C7CF41D}"/>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rgbClr val="A4A3B2"/>
                </a:solidFill>
                <a:effectLst/>
                <a:uLnTx/>
                <a:uFillTx/>
                <a:ea typeface="Georgia"/>
                <a:cs typeface="Georgia"/>
                <a:sym typeface="Georgia"/>
              </a:rPr>
              <a:t>2. CIVILĀS AIZSARDZĪBAS SISTĒMA UN NORMATĪVAIS UN POLITIKAS PLĀNOŠANAS IETVARS</a:t>
            </a:r>
          </a:p>
        </p:txBody>
      </p:sp>
      <p:grpSp>
        <p:nvGrpSpPr>
          <p:cNvPr id="26" name="Group 25">
            <a:extLst>
              <a:ext uri="{FF2B5EF4-FFF2-40B4-BE49-F238E27FC236}">
                <a16:creationId xmlns:a16="http://schemas.microsoft.com/office/drawing/2014/main" id="{8EB6E735-FE8B-C38E-E5EF-AE6C75ACC517}"/>
              </a:ext>
            </a:extLst>
          </p:cNvPr>
          <p:cNvGrpSpPr/>
          <p:nvPr/>
        </p:nvGrpSpPr>
        <p:grpSpPr>
          <a:xfrm>
            <a:off x="6406877" y="127593"/>
            <a:ext cx="5342171" cy="220690"/>
            <a:chOff x="6167418" y="135399"/>
            <a:chExt cx="5342171" cy="220690"/>
          </a:xfrm>
        </p:grpSpPr>
        <p:sp>
          <p:nvSpPr>
            <p:cNvPr id="27" name="Rectangle 26">
              <a:extLst>
                <a:ext uri="{FF2B5EF4-FFF2-40B4-BE49-F238E27FC236}">
                  <a16:creationId xmlns:a16="http://schemas.microsoft.com/office/drawing/2014/main" id="{38FED362-973D-FFD8-7C2E-7CA081FE02F7}"/>
                </a:ext>
              </a:extLst>
            </p:cNvPr>
            <p:cNvSpPr/>
            <p:nvPr/>
          </p:nvSpPr>
          <p:spPr>
            <a:xfrm>
              <a:off x="6167418" y="13860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8" name="Rectangle 27">
              <a:extLst>
                <a:ext uri="{FF2B5EF4-FFF2-40B4-BE49-F238E27FC236}">
                  <a16:creationId xmlns:a16="http://schemas.microsoft.com/office/drawing/2014/main" id="{DE404215-265C-F869-7DEF-699695E0EC06}"/>
                </a:ext>
              </a:extLst>
            </p:cNvPr>
            <p:cNvSpPr/>
            <p:nvPr/>
          </p:nvSpPr>
          <p:spPr>
            <a:xfrm>
              <a:off x="6409245" y="13860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29" name="Rectangle 28">
              <a:extLst>
                <a:ext uri="{FF2B5EF4-FFF2-40B4-BE49-F238E27FC236}">
                  <a16:creationId xmlns:a16="http://schemas.microsoft.com/office/drawing/2014/main" id="{96E88C83-7C97-D291-A6D3-A065BA728F18}"/>
                </a:ext>
              </a:extLst>
            </p:cNvPr>
            <p:cNvSpPr/>
            <p:nvPr/>
          </p:nvSpPr>
          <p:spPr>
            <a:xfrm>
              <a:off x="6651072" y="138601"/>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0" name="Rectangle 29">
              <a:extLst>
                <a:ext uri="{FF2B5EF4-FFF2-40B4-BE49-F238E27FC236}">
                  <a16:creationId xmlns:a16="http://schemas.microsoft.com/office/drawing/2014/main" id="{F346E968-DC1B-CEA0-9F14-8A2CFA278348}"/>
                </a:ext>
              </a:extLst>
            </p:cNvPr>
            <p:cNvSpPr/>
            <p:nvPr/>
          </p:nvSpPr>
          <p:spPr>
            <a:xfrm>
              <a:off x="7369589" y="135399"/>
              <a:ext cx="414000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lv-LV" sz="800" b="1"/>
                <a:t>Īpašie tiesiskie režīmi</a:t>
              </a:r>
            </a:p>
          </p:txBody>
        </p:sp>
        <p:sp>
          <p:nvSpPr>
            <p:cNvPr id="31" name="Rectangle 30">
              <a:extLst>
                <a:ext uri="{FF2B5EF4-FFF2-40B4-BE49-F238E27FC236}">
                  <a16:creationId xmlns:a16="http://schemas.microsoft.com/office/drawing/2014/main" id="{F9053317-CE83-46AD-71F3-21B8EF924C58}"/>
                </a:ext>
              </a:extLst>
            </p:cNvPr>
            <p:cNvSpPr/>
            <p:nvPr/>
          </p:nvSpPr>
          <p:spPr>
            <a:xfrm>
              <a:off x="7127762" y="135399"/>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5</a:t>
              </a:r>
              <a:endParaRPr kumimoji="0" lang="lv-LV" sz="800" b="1" i="0" u="none" strike="noStrike" kern="0" cap="none" spc="0" normalizeH="0" baseline="0">
                <a:ln>
                  <a:noFill/>
                </a:ln>
                <a:effectLst/>
                <a:uLnTx/>
                <a:uFillTx/>
                <a:ea typeface="Georgia"/>
                <a:cs typeface="Georgia"/>
                <a:sym typeface="Georgia"/>
              </a:endParaRPr>
            </a:p>
          </p:txBody>
        </p:sp>
        <p:sp>
          <p:nvSpPr>
            <p:cNvPr id="32" name="Rectangle 31">
              <a:extLst>
                <a:ext uri="{FF2B5EF4-FFF2-40B4-BE49-F238E27FC236}">
                  <a16:creationId xmlns:a16="http://schemas.microsoft.com/office/drawing/2014/main" id="{1785A767-FFCD-89C0-D307-BEC830C28B52}"/>
                </a:ext>
              </a:extLst>
            </p:cNvPr>
            <p:cNvSpPr/>
            <p:nvPr/>
          </p:nvSpPr>
          <p:spPr>
            <a:xfrm>
              <a:off x="6892899" y="13860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42040945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a:extLst>
              <a:ext uri="{FF2B5EF4-FFF2-40B4-BE49-F238E27FC236}">
                <a16:creationId xmlns:a16="http://schemas.microsoft.com/office/drawing/2014/main" id="{AC1A8412-4F65-DDBA-F381-5226A1078715}"/>
              </a:ext>
            </a:extLst>
          </p:cNvPr>
          <p:cNvSpPr>
            <a:spLocks noGrp="1"/>
          </p:cNvSpPr>
          <p:nvPr>
            <p:ph type="title"/>
          </p:nvPr>
        </p:nvSpPr>
        <p:spPr/>
        <p:txBody>
          <a:bodyPr vert="horz"/>
          <a:lstStyle/>
          <a:p>
            <a:r>
              <a:rPr lang="lv-LV"/>
              <a:t>Izņēmuma stāvoklis (IS)</a:t>
            </a:r>
          </a:p>
        </p:txBody>
      </p:sp>
      <p:sp>
        <p:nvSpPr>
          <p:cNvPr id="22" name="object 22"/>
          <p:cNvSpPr txBox="1">
            <a:spLocks noGrp="1"/>
          </p:cNvSpPr>
          <p:nvPr>
            <p:ph type="sldNum" sz="quarter" idx="11"/>
          </p:nvPr>
        </p:nvSpPr>
        <p:spPr>
          <a:xfrm>
            <a:off x="9984296" y="6492240"/>
            <a:ext cx="1764792" cy="137160"/>
          </a:xfrm>
        </p:spPr>
        <p:txBody>
          <a:bodyPr vert="horz" wrap="square" lIns="0" tIns="0" rIns="0" bIns="0" rtlCol="0">
            <a:spAutoFit/>
          </a:bodyPr>
          <a:lstStyle>
            <a:defPPr>
              <a:defRPr kern="0"/>
            </a:defPPr>
            <a:lvl1pPr>
              <a:defRPr sz="900" b="0" i="0">
                <a:solidFill>
                  <a:srgbClr val="888888"/>
                </a:solidFill>
                <a:latin typeface="Calibri"/>
                <a:cs typeface="Calibri"/>
              </a:defRPr>
            </a:lvl1pPr>
          </a:lstStyle>
          <a:p>
            <a:fld id="{81D60167-4931-47E6-BA6A-407CBD079E47}" type="slidenum">
              <a:rPr lang="lv-LV" smtClean="0"/>
              <a:pPr/>
              <a:t>28</a:t>
            </a:fld>
            <a:endParaRPr lang="lv-LV"/>
          </a:p>
        </p:txBody>
      </p:sp>
      <p:sp>
        <p:nvSpPr>
          <p:cNvPr id="11" name="object 5">
            <a:extLst>
              <a:ext uri="{FF2B5EF4-FFF2-40B4-BE49-F238E27FC236}">
                <a16:creationId xmlns:a16="http://schemas.microsoft.com/office/drawing/2014/main" id="{290F56A8-6522-E630-36BB-EDFB9FCA0E46}"/>
              </a:ext>
            </a:extLst>
          </p:cNvPr>
          <p:cNvSpPr txBox="1"/>
          <p:nvPr/>
        </p:nvSpPr>
        <p:spPr>
          <a:xfrm>
            <a:off x="442913" y="5038726"/>
            <a:ext cx="5473700" cy="1133473"/>
          </a:xfrm>
          <a:prstGeom prst="rect">
            <a:avLst/>
          </a:prstGeom>
          <a:solidFill>
            <a:srgbClr val="525A72"/>
          </a:solidFill>
          <a:ln w="19811">
            <a:noFill/>
          </a:ln>
        </p:spPr>
        <p:txBody>
          <a:bodyPr vert="horz" wrap="square" lIns="72000" tIns="72000" rIns="72000" bIns="72000" rtlCol="0" anchor="ctr">
            <a:noAutofit/>
          </a:bodyPr>
          <a:lstStyle/>
          <a:p>
            <a:pPr>
              <a:spcAft>
                <a:spcPts val="1200"/>
              </a:spcAft>
            </a:pPr>
            <a:r>
              <a:rPr lang="lv-LV" sz="1400" b="1">
                <a:solidFill>
                  <a:schemeClr val="bg1"/>
                </a:solidFill>
                <a:cs typeface="Times New Roman"/>
              </a:rPr>
              <a:t>Izņēmuma stāvokļa ilgums: </a:t>
            </a:r>
            <a:r>
              <a:rPr lang="lv-LV" sz="1400">
                <a:solidFill>
                  <a:schemeClr val="bg1"/>
                </a:solidFill>
                <a:cs typeface="Times New Roman"/>
              </a:rPr>
              <a:t>ne ilgāk par 6 mēnešiem + pagarinājums, kas nav ilgāks par 6 mēnešiem</a:t>
            </a:r>
          </a:p>
          <a:p>
            <a:r>
              <a:rPr lang="lv-LV" sz="1400" b="1">
                <a:solidFill>
                  <a:schemeClr val="bg1"/>
                </a:solidFill>
                <a:cs typeface="Times New Roman"/>
              </a:rPr>
              <a:t>Izsludināšanas teritorija: </a:t>
            </a:r>
            <a:r>
              <a:rPr lang="lv-LV" sz="1400">
                <a:solidFill>
                  <a:schemeClr val="bg1"/>
                </a:solidFill>
                <a:cs typeface="Times New Roman"/>
              </a:rPr>
              <a:t>visā valstī vai tās daļā</a:t>
            </a:r>
          </a:p>
        </p:txBody>
      </p:sp>
      <p:sp>
        <p:nvSpPr>
          <p:cNvPr id="4101" name="Rectangle 4100">
            <a:extLst>
              <a:ext uri="{FF2B5EF4-FFF2-40B4-BE49-F238E27FC236}">
                <a16:creationId xmlns:a16="http://schemas.microsoft.com/office/drawing/2014/main" id="{03F1F4CB-D386-BC1E-505A-3B383D164A5F}"/>
              </a:ext>
            </a:extLst>
          </p:cNvPr>
          <p:cNvSpPr/>
          <p:nvPr/>
        </p:nvSpPr>
        <p:spPr>
          <a:xfrm>
            <a:off x="6275386" y="1834493"/>
            <a:ext cx="5473700" cy="94056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4102" name="Rectangle 4101">
            <a:extLst>
              <a:ext uri="{FF2B5EF4-FFF2-40B4-BE49-F238E27FC236}">
                <a16:creationId xmlns:a16="http://schemas.microsoft.com/office/drawing/2014/main" id="{832A24C4-E6FA-B24F-FED5-0D1601E6D48D}"/>
              </a:ext>
            </a:extLst>
          </p:cNvPr>
          <p:cNvSpPr/>
          <p:nvPr/>
        </p:nvSpPr>
        <p:spPr>
          <a:xfrm>
            <a:off x="6275386" y="3182689"/>
            <a:ext cx="5473700" cy="9398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4103" name="Rectangle 4102">
            <a:extLst>
              <a:ext uri="{FF2B5EF4-FFF2-40B4-BE49-F238E27FC236}">
                <a16:creationId xmlns:a16="http://schemas.microsoft.com/office/drawing/2014/main" id="{44A83C43-D18D-07D9-9D43-7338978140F3}"/>
              </a:ext>
            </a:extLst>
          </p:cNvPr>
          <p:cNvSpPr/>
          <p:nvPr/>
        </p:nvSpPr>
        <p:spPr>
          <a:xfrm>
            <a:off x="6275386" y="4554972"/>
            <a:ext cx="5473700" cy="9398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nvGrpSpPr>
          <p:cNvPr id="4104" name="Group 4103">
            <a:extLst>
              <a:ext uri="{FF2B5EF4-FFF2-40B4-BE49-F238E27FC236}">
                <a16:creationId xmlns:a16="http://schemas.microsoft.com/office/drawing/2014/main" id="{9B91CE0C-F285-C23B-1E88-E2BED0D5CEDD}"/>
              </a:ext>
            </a:extLst>
          </p:cNvPr>
          <p:cNvGrpSpPr/>
          <p:nvPr/>
        </p:nvGrpSpPr>
        <p:grpSpPr>
          <a:xfrm>
            <a:off x="6275388" y="2879316"/>
            <a:ext cx="5473700" cy="241090"/>
            <a:chOff x="6275388" y="2666162"/>
            <a:chExt cx="5473700" cy="241090"/>
          </a:xfrm>
        </p:grpSpPr>
        <p:grpSp>
          <p:nvGrpSpPr>
            <p:cNvPr id="4105" name="Group 4104">
              <a:extLst>
                <a:ext uri="{FF2B5EF4-FFF2-40B4-BE49-F238E27FC236}">
                  <a16:creationId xmlns:a16="http://schemas.microsoft.com/office/drawing/2014/main" id="{97D7EC11-0D53-25FC-04AB-452B7E2D2469}"/>
                </a:ext>
              </a:extLst>
            </p:cNvPr>
            <p:cNvGrpSpPr/>
            <p:nvPr/>
          </p:nvGrpSpPr>
          <p:grpSpPr>
            <a:xfrm>
              <a:off x="6275388" y="2693466"/>
              <a:ext cx="5473700" cy="102868"/>
              <a:chOff x="442913" y="2705100"/>
              <a:chExt cx="11306175" cy="102868"/>
            </a:xfrm>
          </p:grpSpPr>
          <p:cxnSp>
            <p:nvCxnSpPr>
              <p:cNvPr id="4107" name="Straight Connector 4106">
                <a:extLst>
                  <a:ext uri="{FF2B5EF4-FFF2-40B4-BE49-F238E27FC236}">
                    <a16:creationId xmlns:a16="http://schemas.microsoft.com/office/drawing/2014/main" id="{1AFA6CC9-E3B1-61D7-0479-5989F0A05A28}"/>
                  </a:ext>
                </a:extLst>
              </p:cNvPr>
              <p:cNvCxnSpPr>
                <a:cxnSpLocks/>
              </p:cNvCxnSpPr>
              <p:nvPr/>
            </p:nvCxnSpPr>
            <p:spPr>
              <a:xfrm>
                <a:off x="442913" y="2756534"/>
                <a:ext cx="11306175" cy="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108" name="Rectangle 4107">
                <a:extLst>
                  <a:ext uri="{FF2B5EF4-FFF2-40B4-BE49-F238E27FC236}">
                    <a16:creationId xmlns:a16="http://schemas.microsoft.com/office/drawing/2014/main" id="{729D4AF8-9E2A-3239-FEB5-9E52AD9B817C}"/>
                  </a:ext>
                </a:extLst>
              </p:cNvPr>
              <p:cNvSpPr/>
              <p:nvPr/>
            </p:nvSpPr>
            <p:spPr>
              <a:xfrm>
                <a:off x="5730240" y="2705100"/>
                <a:ext cx="731520" cy="102868"/>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sp>
          <p:nvSpPr>
            <p:cNvPr id="4106" name="L-Shape 4105">
              <a:extLst>
                <a:ext uri="{FF2B5EF4-FFF2-40B4-BE49-F238E27FC236}">
                  <a16:creationId xmlns:a16="http://schemas.microsoft.com/office/drawing/2014/main" id="{54AE58E5-2ED4-70FF-E0B2-44701F1CA042}"/>
                </a:ext>
              </a:extLst>
            </p:cNvPr>
            <p:cNvSpPr/>
            <p:nvPr/>
          </p:nvSpPr>
          <p:spPr>
            <a:xfrm rot="8100000">
              <a:off x="8891693" y="2666162"/>
              <a:ext cx="241090" cy="241090"/>
            </a:xfrm>
            <a:prstGeom prst="corner">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grpSp>
        <p:nvGrpSpPr>
          <p:cNvPr id="4109" name="Group 4108">
            <a:extLst>
              <a:ext uri="{FF2B5EF4-FFF2-40B4-BE49-F238E27FC236}">
                <a16:creationId xmlns:a16="http://schemas.microsoft.com/office/drawing/2014/main" id="{15E718F9-1045-AEC7-769A-D3F821A96991}"/>
              </a:ext>
            </a:extLst>
          </p:cNvPr>
          <p:cNvGrpSpPr/>
          <p:nvPr/>
        </p:nvGrpSpPr>
        <p:grpSpPr>
          <a:xfrm flipV="1">
            <a:off x="6275388" y="4164880"/>
            <a:ext cx="5473700" cy="241090"/>
            <a:chOff x="6275388" y="2666162"/>
            <a:chExt cx="5473700" cy="241090"/>
          </a:xfrm>
        </p:grpSpPr>
        <p:grpSp>
          <p:nvGrpSpPr>
            <p:cNvPr id="4110" name="Group 4109">
              <a:extLst>
                <a:ext uri="{FF2B5EF4-FFF2-40B4-BE49-F238E27FC236}">
                  <a16:creationId xmlns:a16="http://schemas.microsoft.com/office/drawing/2014/main" id="{8FC18CA4-250E-1BF0-C0FA-530EFA11DF15}"/>
                </a:ext>
              </a:extLst>
            </p:cNvPr>
            <p:cNvGrpSpPr/>
            <p:nvPr/>
          </p:nvGrpSpPr>
          <p:grpSpPr>
            <a:xfrm>
              <a:off x="6275388" y="2693466"/>
              <a:ext cx="5473700" cy="102868"/>
              <a:chOff x="442913" y="2705100"/>
              <a:chExt cx="11306175" cy="102868"/>
            </a:xfrm>
          </p:grpSpPr>
          <p:cxnSp>
            <p:nvCxnSpPr>
              <p:cNvPr id="4112" name="Straight Connector 4111">
                <a:extLst>
                  <a:ext uri="{FF2B5EF4-FFF2-40B4-BE49-F238E27FC236}">
                    <a16:creationId xmlns:a16="http://schemas.microsoft.com/office/drawing/2014/main" id="{517486C3-8C91-B93B-8967-C85604CBF688}"/>
                  </a:ext>
                </a:extLst>
              </p:cNvPr>
              <p:cNvCxnSpPr>
                <a:cxnSpLocks/>
              </p:cNvCxnSpPr>
              <p:nvPr/>
            </p:nvCxnSpPr>
            <p:spPr>
              <a:xfrm>
                <a:off x="442913" y="2756534"/>
                <a:ext cx="11306175" cy="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113" name="Rectangle 4112">
                <a:extLst>
                  <a:ext uri="{FF2B5EF4-FFF2-40B4-BE49-F238E27FC236}">
                    <a16:creationId xmlns:a16="http://schemas.microsoft.com/office/drawing/2014/main" id="{ACA1CA86-6968-335C-7B6A-C0C86A76FB71}"/>
                  </a:ext>
                </a:extLst>
              </p:cNvPr>
              <p:cNvSpPr/>
              <p:nvPr/>
            </p:nvSpPr>
            <p:spPr>
              <a:xfrm>
                <a:off x="5730240" y="2705100"/>
                <a:ext cx="731520" cy="102868"/>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sp>
          <p:nvSpPr>
            <p:cNvPr id="4111" name="L-Shape 4110">
              <a:extLst>
                <a:ext uri="{FF2B5EF4-FFF2-40B4-BE49-F238E27FC236}">
                  <a16:creationId xmlns:a16="http://schemas.microsoft.com/office/drawing/2014/main" id="{D4347655-A5EA-5A5B-FCBC-0ED4B7E3876F}"/>
                </a:ext>
              </a:extLst>
            </p:cNvPr>
            <p:cNvSpPr/>
            <p:nvPr/>
          </p:nvSpPr>
          <p:spPr>
            <a:xfrm rot="8100000">
              <a:off x="8891693" y="2666162"/>
              <a:ext cx="241090" cy="241090"/>
            </a:xfrm>
            <a:prstGeom prst="corner">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sp>
        <p:nvSpPr>
          <p:cNvPr id="4114" name="object 10">
            <a:extLst>
              <a:ext uri="{FF2B5EF4-FFF2-40B4-BE49-F238E27FC236}">
                <a16:creationId xmlns:a16="http://schemas.microsoft.com/office/drawing/2014/main" id="{F74E23CE-0B04-3AF6-ED5B-8AB02302EBB3}"/>
              </a:ext>
            </a:extLst>
          </p:cNvPr>
          <p:cNvSpPr txBox="1"/>
          <p:nvPr/>
        </p:nvSpPr>
        <p:spPr>
          <a:xfrm>
            <a:off x="6275386" y="2131047"/>
            <a:ext cx="1582453" cy="430887"/>
          </a:xfrm>
          <a:prstGeom prst="rect">
            <a:avLst/>
          </a:prstGeom>
        </p:spPr>
        <p:txBody>
          <a:bodyPr vert="horz" wrap="square" lIns="72000" tIns="0" rIns="0" bIns="0" rtlCol="0">
            <a:spAutoFit/>
          </a:bodyPr>
          <a:lstStyle/>
          <a:p>
            <a:pPr marL="12700">
              <a:spcBef>
                <a:spcPts val="100"/>
              </a:spcBef>
            </a:pPr>
            <a:r>
              <a:rPr lang="lv-LV" sz="1400">
                <a:cs typeface="Verdana"/>
              </a:rPr>
              <a:t>Ierosina MK </a:t>
            </a:r>
            <a:r>
              <a:rPr lang="lv-LV" sz="1400">
                <a:solidFill>
                  <a:srgbClr val="A8192D"/>
                </a:solidFill>
                <a:cs typeface="Verdana"/>
              </a:rPr>
              <a:t>izvērtēt</a:t>
            </a:r>
            <a:r>
              <a:rPr lang="lv-LV" sz="1400">
                <a:cs typeface="Verdana"/>
              </a:rPr>
              <a:t> IS:</a:t>
            </a:r>
          </a:p>
        </p:txBody>
      </p:sp>
      <p:sp>
        <p:nvSpPr>
          <p:cNvPr id="4115" name="object 16">
            <a:extLst>
              <a:ext uri="{FF2B5EF4-FFF2-40B4-BE49-F238E27FC236}">
                <a16:creationId xmlns:a16="http://schemas.microsoft.com/office/drawing/2014/main" id="{8A552A7C-C5C1-DBF9-CF87-8C87EA1ADE6F}"/>
              </a:ext>
            </a:extLst>
          </p:cNvPr>
          <p:cNvSpPr txBox="1"/>
          <p:nvPr/>
        </p:nvSpPr>
        <p:spPr>
          <a:xfrm>
            <a:off x="6275386" y="3329424"/>
            <a:ext cx="1484578" cy="646331"/>
          </a:xfrm>
          <a:prstGeom prst="rect">
            <a:avLst/>
          </a:prstGeom>
        </p:spPr>
        <p:txBody>
          <a:bodyPr vert="horz" wrap="square" lIns="72000" tIns="0" rIns="0" bIns="0" rtlCol="0">
            <a:spAutoFit/>
          </a:bodyPr>
          <a:lstStyle/>
          <a:p>
            <a:pPr marL="12700">
              <a:spcBef>
                <a:spcPts val="100"/>
              </a:spcBef>
            </a:pPr>
            <a:r>
              <a:rPr lang="lv-LV" sz="1400">
                <a:cs typeface="Verdana"/>
              </a:rPr>
              <a:t>Var </a:t>
            </a:r>
            <a:r>
              <a:rPr lang="lv-LV" sz="1400">
                <a:solidFill>
                  <a:srgbClr val="A8192D"/>
                </a:solidFill>
                <a:cs typeface="Verdana"/>
              </a:rPr>
              <a:t>izsludināt </a:t>
            </a:r>
            <a:r>
              <a:rPr lang="lv-LV" sz="1400" i="1">
                <a:solidFill>
                  <a:srgbClr val="A8192D"/>
                </a:solidFill>
                <a:cs typeface="Verdana"/>
              </a:rPr>
              <a:t>(pieņemt </a:t>
            </a:r>
            <a:br>
              <a:rPr lang="lv-LV" sz="1400" i="1">
                <a:solidFill>
                  <a:srgbClr val="A8192D"/>
                </a:solidFill>
                <a:cs typeface="Verdana"/>
              </a:rPr>
            </a:br>
            <a:r>
              <a:rPr lang="lv-LV" sz="1400" i="1">
                <a:solidFill>
                  <a:srgbClr val="A8192D"/>
                </a:solidFill>
                <a:cs typeface="Verdana"/>
              </a:rPr>
              <a:t>lēmumu) </a:t>
            </a:r>
            <a:r>
              <a:rPr lang="lv-LV" sz="1400">
                <a:cs typeface="Verdana"/>
              </a:rPr>
              <a:t>IS:</a:t>
            </a:r>
          </a:p>
        </p:txBody>
      </p:sp>
      <p:sp>
        <p:nvSpPr>
          <p:cNvPr id="4116" name="object 21">
            <a:extLst>
              <a:ext uri="{FF2B5EF4-FFF2-40B4-BE49-F238E27FC236}">
                <a16:creationId xmlns:a16="http://schemas.microsoft.com/office/drawing/2014/main" id="{61200748-FE47-40D4-9790-221D78895C3F}"/>
              </a:ext>
            </a:extLst>
          </p:cNvPr>
          <p:cNvSpPr txBox="1"/>
          <p:nvPr/>
        </p:nvSpPr>
        <p:spPr>
          <a:xfrm>
            <a:off x="6275385" y="4809429"/>
            <a:ext cx="1484579" cy="430887"/>
          </a:xfrm>
          <a:prstGeom prst="rect">
            <a:avLst/>
          </a:prstGeom>
        </p:spPr>
        <p:txBody>
          <a:bodyPr vert="horz" wrap="square" lIns="72000" tIns="0" rIns="0" bIns="0" rtlCol="0">
            <a:spAutoFit/>
          </a:bodyPr>
          <a:lstStyle/>
          <a:p>
            <a:pPr marL="12700">
              <a:spcBef>
                <a:spcPts val="100"/>
              </a:spcBef>
            </a:pPr>
            <a:r>
              <a:rPr lang="lv-LV" sz="1400">
                <a:solidFill>
                  <a:srgbClr val="A8192D"/>
                </a:solidFill>
                <a:cs typeface="Verdana"/>
              </a:rPr>
              <a:t>Lemj</a:t>
            </a:r>
            <a:r>
              <a:rPr lang="lv-LV" sz="1400">
                <a:solidFill>
                  <a:srgbClr val="C00000"/>
                </a:solidFill>
                <a:cs typeface="Verdana"/>
              </a:rPr>
              <a:t> </a:t>
            </a:r>
            <a:r>
              <a:rPr lang="lv-LV" sz="1400">
                <a:solidFill>
                  <a:srgbClr val="414142"/>
                </a:solidFill>
                <a:cs typeface="Verdana"/>
              </a:rPr>
              <a:t>par IS</a:t>
            </a:r>
            <a:r>
              <a:rPr lang="lv-LV" sz="1400" spc="10">
                <a:solidFill>
                  <a:srgbClr val="414142"/>
                </a:solidFill>
                <a:cs typeface="Verdana"/>
              </a:rPr>
              <a:t> </a:t>
            </a:r>
            <a:r>
              <a:rPr lang="lv-LV" sz="1400" spc="-10">
                <a:solidFill>
                  <a:srgbClr val="A8192D"/>
                </a:solidFill>
                <a:cs typeface="Verdana"/>
              </a:rPr>
              <a:t>pamatotību</a:t>
            </a:r>
            <a:r>
              <a:rPr lang="lv-LV" sz="1400" spc="-10">
                <a:solidFill>
                  <a:srgbClr val="414142"/>
                </a:solidFill>
                <a:cs typeface="Verdana"/>
              </a:rPr>
              <a:t>:</a:t>
            </a:r>
            <a:endParaRPr lang="lv-LV" sz="1400">
              <a:cs typeface="Verdana"/>
            </a:endParaRPr>
          </a:p>
        </p:txBody>
      </p:sp>
      <p:sp>
        <p:nvSpPr>
          <p:cNvPr id="4125" name="Rectangle 4124">
            <a:extLst>
              <a:ext uri="{FF2B5EF4-FFF2-40B4-BE49-F238E27FC236}">
                <a16:creationId xmlns:a16="http://schemas.microsoft.com/office/drawing/2014/main" id="{71E84A0B-D987-F209-8AF9-C111BF7BD3EE}"/>
              </a:ext>
            </a:extLst>
          </p:cNvPr>
          <p:cNvSpPr/>
          <p:nvPr/>
        </p:nvSpPr>
        <p:spPr>
          <a:xfrm>
            <a:off x="6280524" y="5671078"/>
            <a:ext cx="5481638" cy="50112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126" name="Freeform 50">
            <a:extLst>
              <a:ext uri="{FF2B5EF4-FFF2-40B4-BE49-F238E27FC236}">
                <a16:creationId xmlns:a16="http://schemas.microsoft.com/office/drawing/2014/main" id="{0A7906AD-F0C5-7DAB-1E83-AC59319F8513}"/>
              </a:ext>
            </a:extLst>
          </p:cNvPr>
          <p:cNvSpPr>
            <a:spLocks noChangeAspect="1"/>
          </p:cNvSpPr>
          <p:nvPr/>
        </p:nvSpPr>
        <p:spPr bwMode="auto">
          <a:xfrm>
            <a:off x="6411123" y="578003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127" name="Google Shape;2685;p25">
            <a:extLst>
              <a:ext uri="{FF2B5EF4-FFF2-40B4-BE49-F238E27FC236}">
                <a16:creationId xmlns:a16="http://schemas.microsoft.com/office/drawing/2014/main" id="{C1B7A38B-5EF7-37FD-3C2B-2128B5F96EAD}"/>
              </a:ext>
            </a:extLst>
          </p:cNvPr>
          <p:cNvSpPr txBox="1"/>
          <p:nvPr/>
        </p:nvSpPr>
        <p:spPr>
          <a:xfrm>
            <a:off x="6870756" y="5829306"/>
            <a:ext cx="4742622" cy="184666"/>
          </a:xfrm>
          <a:prstGeom prst="rect">
            <a:avLst/>
          </a:prstGeom>
          <a:noFill/>
          <a:ln>
            <a:noFill/>
          </a:ln>
        </p:spPr>
        <p:txBody>
          <a:bodyPr spcFirstLastPara="1" wrap="square" lIns="0" tIns="0" rIns="72000" bIns="0" anchor="ctr" anchorCtr="0">
            <a:spAutoFit/>
          </a:bodyPr>
          <a:lstStyle/>
          <a:p>
            <a:r>
              <a:rPr lang="lv-LV" sz="1200" i="0">
                <a:effectLst/>
                <a:hlinkClick r:id="rId3">
                  <a:extLst>
                    <a:ext uri="{A12FA001-AC4F-418D-AE19-62706E023703}">
                      <ahyp:hlinkClr xmlns:ahyp="http://schemas.microsoft.com/office/drawing/2018/hyperlinkcolor" val="tx"/>
                    </a:ext>
                  </a:extLst>
                </a:hlinkClick>
              </a:rPr>
              <a:t>Par ārkārtējo situāciju un izņēmuma stāvokli</a:t>
            </a:r>
            <a:endParaRPr lang="lv-LV" sz="1200" i="0">
              <a:effectLst/>
            </a:endParaRPr>
          </a:p>
        </p:txBody>
      </p:sp>
      <p:pic>
        <p:nvPicPr>
          <p:cNvPr id="23" name="Picture 4" descr="Ministru kabinets">
            <a:extLst>
              <a:ext uri="{FF2B5EF4-FFF2-40B4-BE49-F238E27FC236}">
                <a16:creationId xmlns:a16="http://schemas.microsoft.com/office/drawing/2014/main" id="{5405C980-BA08-225D-2856-1DC55C2BBF7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829915" y="3245252"/>
            <a:ext cx="833621" cy="814675"/>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2B17CB0A-87A6-59CD-ACB6-DDBB312D153C}"/>
              </a:ext>
            </a:extLst>
          </p:cNvPr>
          <p:cNvPicPr>
            <a:picLocks noChangeAspect="1"/>
          </p:cNvPicPr>
          <p:nvPr/>
        </p:nvPicPr>
        <p:blipFill>
          <a:blip r:embed="rId5"/>
          <a:stretch>
            <a:fillRect/>
          </a:stretch>
        </p:blipFill>
        <p:spPr>
          <a:xfrm>
            <a:off x="9920436" y="4592389"/>
            <a:ext cx="798602" cy="849577"/>
          </a:xfrm>
          <a:prstGeom prst="rect">
            <a:avLst/>
          </a:prstGeom>
        </p:spPr>
      </p:pic>
      <p:pic>
        <p:nvPicPr>
          <p:cNvPr id="4098" name="Picture 2" descr="Iekšlietu ministrija">
            <a:extLst>
              <a:ext uri="{FF2B5EF4-FFF2-40B4-BE49-F238E27FC236}">
                <a16:creationId xmlns:a16="http://schemas.microsoft.com/office/drawing/2014/main" id="{F2D4255E-3175-5AF4-40E6-D4E4D5914E3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15557" y="1890304"/>
            <a:ext cx="890371" cy="832304"/>
          </a:xfrm>
          <a:prstGeom prst="rect">
            <a:avLst/>
          </a:prstGeom>
          <a:noFill/>
          <a:extLst>
            <a:ext uri="{909E8E84-426E-40DD-AFC4-6F175D3DCCD1}">
              <a14:hiddenFill xmlns:a14="http://schemas.microsoft.com/office/drawing/2010/main">
                <a:solidFill>
                  <a:srgbClr val="FFFFFF"/>
                </a:solidFill>
              </a14:hiddenFill>
            </a:ext>
          </a:extLst>
        </p:spPr>
      </p:pic>
      <p:grpSp>
        <p:nvGrpSpPr>
          <p:cNvPr id="53" name="Group 52">
            <a:extLst>
              <a:ext uri="{FF2B5EF4-FFF2-40B4-BE49-F238E27FC236}">
                <a16:creationId xmlns:a16="http://schemas.microsoft.com/office/drawing/2014/main" id="{97D2A114-E307-6FF9-D5F0-B0DEBFDEA73F}"/>
              </a:ext>
            </a:extLst>
          </p:cNvPr>
          <p:cNvGrpSpPr/>
          <p:nvPr/>
        </p:nvGrpSpPr>
        <p:grpSpPr>
          <a:xfrm>
            <a:off x="10311839" y="1885575"/>
            <a:ext cx="890371" cy="838408"/>
            <a:chOff x="10244662" y="1994782"/>
            <a:chExt cx="792291" cy="746051"/>
          </a:xfrm>
        </p:grpSpPr>
        <p:pic>
          <p:nvPicPr>
            <p:cNvPr id="26" name="Picture 25">
              <a:extLst>
                <a:ext uri="{FF2B5EF4-FFF2-40B4-BE49-F238E27FC236}">
                  <a16:creationId xmlns:a16="http://schemas.microsoft.com/office/drawing/2014/main" id="{3C9D5DC1-90A7-FA9F-42BB-229BE140F0D5}"/>
                </a:ext>
              </a:extLst>
            </p:cNvPr>
            <p:cNvPicPr>
              <a:picLocks noChangeAspect="1"/>
            </p:cNvPicPr>
            <p:nvPr/>
          </p:nvPicPr>
          <p:blipFill rotWithShape="1">
            <a:blip r:embed="rId7"/>
            <a:srcRect t="84093"/>
            <a:stretch/>
          </p:blipFill>
          <p:spPr>
            <a:xfrm>
              <a:off x="10270157" y="2620109"/>
              <a:ext cx="741302" cy="120724"/>
            </a:xfrm>
            <a:prstGeom prst="rect">
              <a:avLst/>
            </a:prstGeom>
          </p:spPr>
        </p:pic>
        <p:pic>
          <p:nvPicPr>
            <p:cNvPr id="52" name="Picture 2" descr="Iekšlietu ministrija">
              <a:extLst>
                <a:ext uri="{FF2B5EF4-FFF2-40B4-BE49-F238E27FC236}">
                  <a16:creationId xmlns:a16="http://schemas.microsoft.com/office/drawing/2014/main" id="{710A0315-D2D9-ACE2-AA6D-79B34CA502D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b="17622"/>
            <a:stretch/>
          </p:blipFill>
          <p:spPr bwMode="auto">
            <a:xfrm>
              <a:off x="10244662" y="1994782"/>
              <a:ext cx="792291" cy="610110"/>
            </a:xfrm>
            <a:prstGeom prst="rect">
              <a:avLst/>
            </a:prstGeom>
            <a:noFill/>
            <a:extLst>
              <a:ext uri="{909E8E84-426E-40DD-AFC4-6F175D3DCCD1}">
                <a14:hiddenFill xmlns:a14="http://schemas.microsoft.com/office/drawing/2010/main">
                  <a:solidFill>
                    <a:srgbClr val="FFFFFF"/>
                  </a:solidFill>
                </a14:hiddenFill>
              </a:ext>
            </a:extLst>
          </p:spPr>
        </p:pic>
      </p:grpSp>
      <p:sp>
        <p:nvSpPr>
          <p:cNvPr id="3" name="object 3">
            <a:extLst>
              <a:ext uri="{FF2B5EF4-FFF2-40B4-BE49-F238E27FC236}">
                <a16:creationId xmlns:a16="http://schemas.microsoft.com/office/drawing/2014/main" id="{1F0214FA-217F-A1F4-9E8B-DFF75B96BA2C}"/>
              </a:ext>
            </a:extLst>
          </p:cNvPr>
          <p:cNvSpPr txBox="1">
            <a:spLocks/>
          </p:cNvSpPr>
          <p:nvPr/>
        </p:nvSpPr>
        <p:spPr>
          <a:xfrm>
            <a:off x="442914" y="1834493"/>
            <a:ext cx="5473700" cy="1015388"/>
          </a:xfrm>
          <a:prstGeom prst="rect">
            <a:avLst/>
          </a:prstGeom>
          <a:solidFill>
            <a:srgbClr val="A8192D"/>
          </a:solidFill>
        </p:spPr>
        <p:txBody>
          <a:bodyPr vert="horz" wrap="square"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R="5080">
              <a:spcAft>
                <a:spcPts val="0"/>
              </a:spcAft>
            </a:pPr>
            <a:r>
              <a:rPr lang="lv-LV" sz="1400">
                <a:solidFill>
                  <a:schemeClr val="bg1"/>
                </a:solidFill>
                <a:cs typeface="Times New Roman"/>
              </a:rPr>
              <a:t>Izņēmuma stāvoklis </a:t>
            </a:r>
            <a:r>
              <a:rPr lang="lv-LV" sz="1400" b="0">
                <a:solidFill>
                  <a:schemeClr val="bg1"/>
                </a:solidFill>
                <a:cs typeface="Times New Roman"/>
              </a:rPr>
              <a:t>–</a:t>
            </a:r>
            <a:r>
              <a:rPr lang="lv-LV" sz="1400" b="0" spc="65">
                <a:solidFill>
                  <a:schemeClr val="bg1"/>
                </a:solidFill>
                <a:cs typeface="Times New Roman"/>
              </a:rPr>
              <a:t> </a:t>
            </a:r>
            <a:r>
              <a:rPr lang="lv-LV" sz="1400" b="0">
                <a:solidFill>
                  <a:schemeClr val="bg1"/>
                </a:solidFill>
                <a:cs typeface="Times New Roman"/>
              </a:rPr>
              <a:t>īpašs tiesiskais režīms, kas ļauj likumā noteiktajā apjomā un kārtībā ierobežot fizisko un juridisko personu tiesības un brīvības, kā arī uzlikt tām papildu pienākumus.</a:t>
            </a:r>
            <a:endParaRPr lang="lv-LV" sz="1400" b="0">
              <a:solidFill>
                <a:schemeClr val="bg1"/>
              </a:solidFill>
              <a:ea typeface="+mn-lt"/>
              <a:cs typeface="+mn-lt"/>
            </a:endParaRPr>
          </a:p>
        </p:txBody>
      </p:sp>
      <p:sp>
        <p:nvSpPr>
          <p:cNvPr id="4" name="TextBox 3">
            <a:extLst>
              <a:ext uri="{FF2B5EF4-FFF2-40B4-BE49-F238E27FC236}">
                <a16:creationId xmlns:a16="http://schemas.microsoft.com/office/drawing/2014/main" id="{3BA727F4-D622-2FE3-C89F-CAEDA9FEED47}"/>
              </a:ext>
            </a:extLst>
          </p:cNvPr>
          <p:cNvSpPr txBox="1"/>
          <p:nvPr/>
        </p:nvSpPr>
        <p:spPr>
          <a:xfrm>
            <a:off x="442912" y="2981601"/>
            <a:ext cx="5480301" cy="1851384"/>
          </a:xfrm>
          <a:prstGeom prst="rect">
            <a:avLst/>
          </a:prstGeom>
          <a:solidFill>
            <a:srgbClr val="CFD6E8"/>
          </a:solidFill>
        </p:spPr>
        <p:txBody>
          <a:bodyPr wrap="square" lIns="72000" tIns="72000" rIns="72000" bIns="72000">
            <a:noAutofit/>
          </a:bodyPr>
          <a:lstStyle/>
          <a:p>
            <a:pPr marR="5080"/>
            <a:r>
              <a:rPr lang="lv-LV" sz="1400" b="1" spc="-10">
                <a:ea typeface="+mn-lt"/>
                <a:cs typeface="+mn-lt"/>
              </a:rPr>
              <a:t>Izņēmuma stāvoklis ir izsludināms, ja</a:t>
            </a:r>
          </a:p>
          <a:p>
            <a:pPr marR="5080"/>
            <a:endParaRPr lang="lv-LV" sz="1400">
              <a:ea typeface="+mn-lt"/>
              <a:cs typeface="+mn-lt"/>
            </a:endParaRPr>
          </a:p>
        </p:txBody>
      </p:sp>
      <p:grpSp>
        <p:nvGrpSpPr>
          <p:cNvPr id="5" name="Group 4">
            <a:extLst>
              <a:ext uri="{FF2B5EF4-FFF2-40B4-BE49-F238E27FC236}">
                <a16:creationId xmlns:a16="http://schemas.microsoft.com/office/drawing/2014/main" id="{882C970D-1AFE-8DCA-D3F3-2C7B8DD0F765}"/>
              </a:ext>
            </a:extLst>
          </p:cNvPr>
          <p:cNvGrpSpPr/>
          <p:nvPr/>
        </p:nvGrpSpPr>
        <p:grpSpPr>
          <a:xfrm>
            <a:off x="559119" y="3534000"/>
            <a:ext cx="5349874" cy="360000"/>
            <a:chOff x="559119" y="3534000"/>
            <a:chExt cx="5349874" cy="360000"/>
          </a:xfrm>
        </p:grpSpPr>
        <p:sp>
          <p:nvSpPr>
            <p:cNvPr id="6" name="Rectangle 5">
              <a:extLst>
                <a:ext uri="{FF2B5EF4-FFF2-40B4-BE49-F238E27FC236}">
                  <a16:creationId xmlns:a16="http://schemas.microsoft.com/office/drawing/2014/main" id="{9917DBA6-24E2-6F47-2F29-AB73FE7DD9E3}"/>
                </a:ext>
              </a:extLst>
            </p:cNvPr>
            <p:cNvSpPr/>
            <p:nvPr/>
          </p:nvSpPr>
          <p:spPr>
            <a:xfrm>
              <a:off x="1238789" y="3534000"/>
              <a:ext cx="4670204" cy="36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defRPr/>
              </a:pPr>
              <a:r>
                <a:rPr lang="lv-LV" sz="1400">
                  <a:solidFill>
                    <a:schemeClr val="tx1"/>
                  </a:solidFill>
                  <a:ea typeface="+mn-lt"/>
                  <a:cs typeface="+mn-lt"/>
                </a:rPr>
                <a:t>valsti apdraud ārējais ienaidnieks,</a:t>
              </a:r>
            </a:p>
          </p:txBody>
        </p:sp>
        <p:sp>
          <p:nvSpPr>
            <p:cNvPr id="7" name="Rectangle 6">
              <a:extLst>
                <a:ext uri="{FF2B5EF4-FFF2-40B4-BE49-F238E27FC236}">
                  <a16:creationId xmlns:a16="http://schemas.microsoft.com/office/drawing/2014/main" id="{97C1D1BF-199A-E974-E065-ECA91B5CD024}"/>
                </a:ext>
              </a:extLst>
            </p:cNvPr>
            <p:cNvSpPr/>
            <p:nvPr/>
          </p:nvSpPr>
          <p:spPr>
            <a:xfrm>
              <a:off x="559119" y="3534000"/>
              <a:ext cx="576000" cy="360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 name="L-Shape 7">
              <a:extLst>
                <a:ext uri="{FF2B5EF4-FFF2-40B4-BE49-F238E27FC236}">
                  <a16:creationId xmlns:a16="http://schemas.microsoft.com/office/drawing/2014/main" id="{E0BE5812-6F71-F36F-B894-BF429256E0E4}"/>
                </a:ext>
              </a:extLst>
            </p:cNvPr>
            <p:cNvSpPr/>
            <p:nvPr/>
          </p:nvSpPr>
          <p:spPr>
            <a:xfrm rot="13500000">
              <a:off x="710285" y="3605321"/>
              <a:ext cx="217358" cy="217358"/>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36" name="Group 35">
            <a:extLst>
              <a:ext uri="{FF2B5EF4-FFF2-40B4-BE49-F238E27FC236}">
                <a16:creationId xmlns:a16="http://schemas.microsoft.com/office/drawing/2014/main" id="{E113E43C-7913-E4DC-36B0-2767C8A7EEA3}"/>
              </a:ext>
            </a:extLst>
          </p:cNvPr>
          <p:cNvGrpSpPr/>
          <p:nvPr/>
        </p:nvGrpSpPr>
        <p:grpSpPr>
          <a:xfrm>
            <a:off x="559119" y="4071604"/>
            <a:ext cx="5349874" cy="457200"/>
            <a:chOff x="559119" y="4071604"/>
            <a:chExt cx="5349874" cy="457200"/>
          </a:xfrm>
        </p:grpSpPr>
        <p:sp>
          <p:nvSpPr>
            <p:cNvPr id="10" name="Rectangle 9">
              <a:extLst>
                <a:ext uri="{FF2B5EF4-FFF2-40B4-BE49-F238E27FC236}">
                  <a16:creationId xmlns:a16="http://schemas.microsoft.com/office/drawing/2014/main" id="{CC6738D2-EE44-4137-26D7-371FBB07D62E}"/>
                </a:ext>
              </a:extLst>
            </p:cNvPr>
            <p:cNvSpPr/>
            <p:nvPr/>
          </p:nvSpPr>
          <p:spPr>
            <a:xfrm>
              <a:off x="1238789" y="4117324"/>
              <a:ext cx="4670204" cy="36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defRPr/>
              </a:pPr>
              <a:r>
                <a:rPr lang="lv-LV" sz="1400">
                  <a:solidFill>
                    <a:schemeClr val="tx1"/>
                  </a:solidFill>
                  <a:ea typeface="+mn-lt"/>
                  <a:cs typeface="+mn-lt"/>
                </a:rPr>
                <a:t>valstī vai tās daļā ir izcēlušies vai draud izcelties iekšēji nemieri, kas apdraud demokrātisko valsts iekārtu.</a:t>
              </a:r>
            </a:p>
          </p:txBody>
        </p:sp>
        <p:sp>
          <p:nvSpPr>
            <p:cNvPr id="27" name="Rectangle 26">
              <a:extLst>
                <a:ext uri="{FF2B5EF4-FFF2-40B4-BE49-F238E27FC236}">
                  <a16:creationId xmlns:a16="http://schemas.microsoft.com/office/drawing/2014/main" id="{4D88B19E-A226-37FC-F0E8-28DFC633DFD5}"/>
                </a:ext>
              </a:extLst>
            </p:cNvPr>
            <p:cNvSpPr/>
            <p:nvPr/>
          </p:nvSpPr>
          <p:spPr>
            <a:xfrm>
              <a:off x="559119" y="4071604"/>
              <a:ext cx="576000" cy="4572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grpSp>
      <p:sp>
        <p:nvSpPr>
          <p:cNvPr id="28" name="L-Shape 27">
            <a:extLst>
              <a:ext uri="{FF2B5EF4-FFF2-40B4-BE49-F238E27FC236}">
                <a16:creationId xmlns:a16="http://schemas.microsoft.com/office/drawing/2014/main" id="{4966D0B6-1275-62FF-A7FD-1F25CAD4AB9C}"/>
              </a:ext>
            </a:extLst>
          </p:cNvPr>
          <p:cNvSpPr/>
          <p:nvPr/>
        </p:nvSpPr>
        <p:spPr>
          <a:xfrm rot="13500000">
            <a:off x="710285" y="4188645"/>
            <a:ext cx="217358" cy="217358"/>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cxnSp>
        <p:nvCxnSpPr>
          <p:cNvPr id="34" name="Straight Connector 33">
            <a:extLst>
              <a:ext uri="{FF2B5EF4-FFF2-40B4-BE49-F238E27FC236}">
                <a16:creationId xmlns:a16="http://schemas.microsoft.com/office/drawing/2014/main" id="{7B938D4C-63CB-701A-E560-B0C65277242A}"/>
              </a:ext>
            </a:extLst>
          </p:cNvPr>
          <p:cNvCxnSpPr>
            <a:cxnSpLocks/>
          </p:cNvCxnSpPr>
          <p:nvPr/>
        </p:nvCxnSpPr>
        <p:spPr>
          <a:xfrm>
            <a:off x="1238789" y="3918923"/>
            <a:ext cx="4552411" cy="1588"/>
          </a:xfrm>
          <a:prstGeom prst="line">
            <a:avLst/>
          </a:prstGeom>
          <a:ln w="3175" cap="sq">
            <a:solidFill>
              <a:srgbClr val="525A72"/>
            </a:solidFill>
          </a:ln>
        </p:spPr>
        <p:style>
          <a:lnRef idx="1">
            <a:schemeClr val="accent1"/>
          </a:lnRef>
          <a:fillRef idx="0">
            <a:schemeClr val="accent1"/>
          </a:fillRef>
          <a:effectRef idx="0">
            <a:schemeClr val="dk1"/>
          </a:effectRef>
          <a:fontRef idx="minor">
            <a:schemeClr val="lt1"/>
          </a:fontRef>
        </p:style>
      </p:cxnSp>
      <p:sp>
        <p:nvSpPr>
          <p:cNvPr id="2" name="Rectangle 1">
            <a:extLst>
              <a:ext uri="{FF2B5EF4-FFF2-40B4-BE49-F238E27FC236}">
                <a16:creationId xmlns:a16="http://schemas.microsoft.com/office/drawing/2014/main" id="{53B30FED-9B53-D0C4-3815-3E91A10C1E57}"/>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rgbClr val="A4A3B2"/>
                </a:solidFill>
                <a:effectLst/>
                <a:uLnTx/>
                <a:uFillTx/>
                <a:ea typeface="Georgia"/>
                <a:cs typeface="Georgia"/>
                <a:sym typeface="Georgia"/>
              </a:rPr>
              <a:t>2. CIVILĀS AIZSARDZĪBAS SISTĒMA UN NORMATĪVAIS UN POLITIKAS PLĀNOŠANAS IETVARS</a:t>
            </a:r>
          </a:p>
        </p:txBody>
      </p:sp>
      <p:grpSp>
        <p:nvGrpSpPr>
          <p:cNvPr id="35" name="Group 34">
            <a:extLst>
              <a:ext uri="{FF2B5EF4-FFF2-40B4-BE49-F238E27FC236}">
                <a16:creationId xmlns:a16="http://schemas.microsoft.com/office/drawing/2014/main" id="{17F9ACE5-F250-DAA2-5DE6-31C24F5F6124}"/>
              </a:ext>
            </a:extLst>
          </p:cNvPr>
          <p:cNvGrpSpPr/>
          <p:nvPr/>
        </p:nvGrpSpPr>
        <p:grpSpPr>
          <a:xfrm>
            <a:off x="6406877" y="127593"/>
            <a:ext cx="5342171" cy="220690"/>
            <a:chOff x="6167418" y="135399"/>
            <a:chExt cx="5342171" cy="220690"/>
          </a:xfrm>
        </p:grpSpPr>
        <p:sp>
          <p:nvSpPr>
            <p:cNvPr id="37" name="Rectangle 36">
              <a:extLst>
                <a:ext uri="{FF2B5EF4-FFF2-40B4-BE49-F238E27FC236}">
                  <a16:creationId xmlns:a16="http://schemas.microsoft.com/office/drawing/2014/main" id="{D0B7764A-860A-9FDF-9FA3-A62050BC4033}"/>
                </a:ext>
              </a:extLst>
            </p:cNvPr>
            <p:cNvSpPr/>
            <p:nvPr/>
          </p:nvSpPr>
          <p:spPr>
            <a:xfrm>
              <a:off x="6167418" y="13860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8" name="Rectangle 37">
              <a:extLst>
                <a:ext uri="{FF2B5EF4-FFF2-40B4-BE49-F238E27FC236}">
                  <a16:creationId xmlns:a16="http://schemas.microsoft.com/office/drawing/2014/main" id="{C3CD6F89-FD78-0119-72C3-7AB35911A4F1}"/>
                </a:ext>
              </a:extLst>
            </p:cNvPr>
            <p:cNvSpPr/>
            <p:nvPr/>
          </p:nvSpPr>
          <p:spPr>
            <a:xfrm>
              <a:off x="6409245" y="13860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39" name="Rectangle 38">
              <a:extLst>
                <a:ext uri="{FF2B5EF4-FFF2-40B4-BE49-F238E27FC236}">
                  <a16:creationId xmlns:a16="http://schemas.microsoft.com/office/drawing/2014/main" id="{D24A85EA-720A-D5B7-7D05-04FF54AC763F}"/>
                </a:ext>
              </a:extLst>
            </p:cNvPr>
            <p:cNvSpPr/>
            <p:nvPr/>
          </p:nvSpPr>
          <p:spPr>
            <a:xfrm>
              <a:off x="6651072" y="138601"/>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0" name="Rectangle 39">
              <a:extLst>
                <a:ext uri="{FF2B5EF4-FFF2-40B4-BE49-F238E27FC236}">
                  <a16:creationId xmlns:a16="http://schemas.microsoft.com/office/drawing/2014/main" id="{754A1035-DDF2-321C-640B-1ADE8BA85C77}"/>
                </a:ext>
              </a:extLst>
            </p:cNvPr>
            <p:cNvSpPr/>
            <p:nvPr/>
          </p:nvSpPr>
          <p:spPr>
            <a:xfrm>
              <a:off x="7369589" y="135399"/>
              <a:ext cx="414000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lv-LV" sz="800" b="1"/>
                <a:t>Īpašie tiesiskie režīmi</a:t>
              </a:r>
            </a:p>
          </p:txBody>
        </p:sp>
        <p:sp>
          <p:nvSpPr>
            <p:cNvPr id="41" name="Rectangle 40">
              <a:extLst>
                <a:ext uri="{FF2B5EF4-FFF2-40B4-BE49-F238E27FC236}">
                  <a16:creationId xmlns:a16="http://schemas.microsoft.com/office/drawing/2014/main" id="{FC89C715-F786-DA2B-101C-C3BFE3174E4C}"/>
                </a:ext>
              </a:extLst>
            </p:cNvPr>
            <p:cNvSpPr/>
            <p:nvPr/>
          </p:nvSpPr>
          <p:spPr>
            <a:xfrm>
              <a:off x="7127762" y="135399"/>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5</a:t>
              </a:r>
              <a:endParaRPr kumimoji="0" lang="lv-LV" sz="800" b="1" i="0" u="none" strike="noStrike" kern="0" cap="none" spc="0" normalizeH="0" baseline="0">
                <a:ln>
                  <a:noFill/>
                </a:ln>
                <a:effectLst/>
                <a:uLnTx/>
                <a:uFillTx/>
                <a:ea typeface="Georgia"/>
                <a:cs typeface="Georgia"/>
                <a:sym typeface="Georgia"/>
              </a:endParaRPr>
            </a:p>
          </p:txBody>
        </p:sp>
        <p:sp>
          <p:nvSpPr>
            <p:cNvPr id="42" name="Rectangle 41">
              <a:extLst>
                <a:ext uri="{FF2B5EF4-FFF2-40B4-BE49-F238E27FC236}">
                  <a16:creationId xmlns:a16="http://schemas.microsoft.com/office/drawing/2014/main" id="{62F4651E-6A29-2FBD-9B0A-D8D3491005E1}"/>
                </a:ext>
              </a:extLst>
            </p:cNvPr>
            <p:cNvSpPr/>
            <p:nvPr/>
          </p:nvSpPr>
          <p:spPr>
            <a:xfrm>
              <a:off x="6892899" y="13860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726685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A56ABBE-808E-2B50-2746-01A9549F0243}"/>
              </a:ext>
            </a:extLst>
          </p:cNvPr>
          <p:cNvSpPr>
            <a:spLocks noGrp="1"/>
          </p:cNvSpPr>
          <p:nvPr>
            <p:ph type="title"/>
          </p:nvPr>
        </p:nvSpPr>
        <p:spPr>
          <a:xfrm>
            <a:off x="442913" y="432001"/>
            <a:ext cx="11306175" cy="1387274"/>
          </a:xfrm>
        </p:spPr>
        <p:txBody>
          <a:bodyPr vert="horz" lIns="0" tIns="0" rIns="0" bIns="0" rtlCol="0" anchor="t" anchorCtr="0">
            <a:noAutofit/>
          </a:bodyPr>
          <a:lstStyle/>
          <a:p>
            <a:r>
              <a:rPr lang="nn-NO"/>
              <a:t>Atkarībā no valsts apdraudējuma veida, intensitātes un rakstura Ministru kabinets var noteikt:</a:t>
            </a:r>
            <a:r>
              <a:rPr lang="lv-LV"/>
              <a:t> </a:t>
            </a:r>
            <a:br>
              <a:rPr lang="lv-LV"/>
            </a:br>
            <a:r>
              <a:rPr lang="lv-LV"/>
              <a:t>(1/2)</a:t>
            </a:r>
          </a:p>
        </p:txBody>
      </p:sp>
      <p:sp>
        <p:nvSpPr>
          <p:cNvPr id="18" name="Rectangle 17">
            <a:extLst>
              <a:ext uri="{FF2B5EF4-FFF2-40B4-BE49-F238E27FC236}">
                <a16:creationId xmlns:a16="http://schemas.microsoft.com/office/drawing/2014/main" id="{0E1A1199-7305-2CEF-748D-6F5A22855534}"/>
              </a:ext>
            </a:extLst>
          </p:cNvPr>
          <p:cNvSpPr/>
          <p:nvPr/>
        </p:nvSpPr>
        <p:spPr>
          <a:xfrm>
            <a:off x="1144242" y="1820863"/>
            <a:ext cx="4772372" cy="7159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b="1">
                <a:solidFill>
                  <a:schemeClr val="tx1"/>
                </a:solidFill>
              </a:rPr>
              <a:t>Pārvietošanās, </a:t>
            </a:r>
            <a:r>
              <a:rPr lang="lv-LV" sz="1200">
                <a:solidFill>
                  <a:schemeClr val="tx1"/>
                </a:solidFill>
              </a:rPr>
              <a:t>tai skaitā pāri valsts robežai</a:t>
            </a:r>
            <a:r>
              <a:rPr lang="lv-LV" sz="1200" b="1">
                <a:solidFill>
                  <a:schemeClr val="tx1"/>
                </a:solidFill>
              </a:rPr>
              <a:t>, uzturēšanās un atrašanās vietas </a:t>
            </a:r>
            <a:r>
              <a:rPr lang="lv-LV" sz="1200">
                <a:solidFill>
                  <a:schemeClr val="tx1"/>
                </a:solidFill>
              </a:rPr>
              <a:t>ierobežojumus</a:t>
            </a:r>
          </a:p>
        </p:txBody>
      </p:sp>
      <p:sp>
        <p:nvSpPr>
          <p:cNvPr id="19" name="Rectangle 18">
            <a:extLst>
              <a:ext uri="{FF2B5EF4-FFF2-40B4-BE49-F238E27FC236}">
                <a16:creationId xmlns:a16="http://schemas.microsoft.com/office/drawing/2014/main" id="{9B029BEC-72B3-C1E2-7AFC-D65ACADC991B}"/>
              </a:ext>
            </a:extLst>
          </p:cNvPr>
          <p:cNvSpPr/>
          <p:nvPr/>
        </p:nvSpPr>
        <p:spPr>
          <a:xfrm>
            <a:off x="442913" y="1820863"/>
            <a:ext cx="576000" cy="71596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a:lnSpc>
                <a:spcPct val="100000"/>
              </a:lnSpc>
            </a:pPr>
            <a:r>
              <a:rPr lang="lv-LV" sz="2000" b="1"/>
              <a:t>1</a:t>
            </a:r>
          </a:p>
        </p:txBody>
      </p:sp>
      <p:sp>
        <p:nvSpPr>
          <p:cNvPr id="21" name="Rectangle 20">
            <a:extLst>
              <a:ext uri="{FF2B5EF4-FFF2-40B4-BE49-F238E27FC236}">
                <a16:creationId xmlns:a16="http://schemas.microsoft.com/office/drawing/2014/main" id="{D2B8CCD4-519B-DC9C-9476-0A79B896B75D}"/>
              </a:ext>
            </a:extLst>
          </p:cNvPr>
          <p:cNvSpPr/>
          <p:nvPr/>
        </p:nvSpPr>
        <p:spPr>
          <a:xfrm>
            <a:off x="1144242" y="2697896"/>
            <a:ext cx="4772372" cy="49254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a:solidFill>
                  <a:schemeClr val="tx1"/>
                </a:solidFill>
              </a:rPr>
              <a:t>Īpašu kārtību vai ierobežojumus </a:t>
            </a:r>
            <a:r>
              <a:rPr lang="lv-LV" sz="1200" b="1">
                <a:solidFill>
                  <a:schemeClr val="tx1"/>
                </a:solidFill>
              </a:rPr>
              <a:t>masu pasākumu organizēšanai</a:t>
            </a:r>
          </a:p>
        </p:txBody>
      </p:sp>
      <p:sp>
        <p:nvSpPr>
          <p:cNvPr id="41" name="Rectangle 40">
            <a:extLst>
              <a:ext uri="{FF2B5EF4-FFF2-40B4-BE49-F238E27FC236}">
                <a16:creationId xmlns:a16="http://schemas.microsoft.com/office/drawing/2014/main" id="{FE9D8B49-4A0A-7A7F-FD0C-28B19FB420B0}"/>
              </a:ext>
            </a:extLst>
          </p:cNvPr>
          <p:cNvSpPr/>
          <p:nvPr/>
        </p:nvSpPr>
        <p:spPr>
          <a:xfrm>
            <a:off x="442913" y="2697984"/>
            <a:ext cx="576000" cy="492543"/>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a:lnSpc>
                <a:spcPct val="100000"/>
              </a:lnSpc>
            </a:pPr>
            <a:r>
              <a:rPr lang="lv-LV" sz="2000" b="1"/>
              <a:t>2</a:t>
            </a:r>
          </a:p>
        </p:txBody>
      </p:sp>
      <p:sp>
        <p:nvSpPr>
          <p:cNvPr id="22" name="Rectangle 21">
            <a:extLst>
              <a:ext uri="{FF2B5EF4-FFF2-40B4-BE49-F238E27FC236}">
                <a16:creationId xmlns:a16="http://schemas.microsoft.com/office/drawing/2014/main" id="{C2E2F87E-C09F-4B30-1919-F5E2A78F3541}"/>
              </a:ext>
            </a:extLst>
          </p:cNvPr>
          <p:cNvSpPr/>
          <p:nvPr/>
        </p:nvSpPr>
        <p:spPr>
          <a:xfrm>
            <a:off x="1144242" y="3351509"/>
            <a:ext cx="4772372" cy="68041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a:solidFill>
                  <a:schemeClr val="tx1"/>
                </a:solidFill>
              </a:rPr>
              <a:t>Ierobežojumus </a:t>
            </a:r>
            <a:r>
              <a:rPr lang="lv-LV" sz="1200" b="1">
                <a:solidFill>
                  <a:schemeClr val="tx1"/>
                </a:solidFill>
              </a:rPr>
              <a:t>bīstamu vielu, materiālu un ieroču kontrolei</a:t>
            </a:r>
            <a:r>
              <a:rPr lang="lv-LV" sz="1200">
                <a:solidFill>
                  <a:schemeClr val="tx1"/>
                </a:solidFill>
              </a:rPr>
              <a:t>, kā arī </a:t>
            </a:r>
            <a:r>
              <a:rPr lang="lv-LV" sz="1200" b="1">
                <a:solidFill>
                  <a:schemeClr val="tx1"/>
                </a:solidFill>
              </a:rPr>
              <a:t>stratēģiski svarīgu izejvielu un preču izvešanai no valsts</a:t>
            </a:r>
          </a:p>
        </p:txBody>
      </p:sp>
      <p:sp>
        <p:nvSpPr>
          <p:cNvPr id="44" name="Rectangle 43">
            <a:extLst>
              <a:ext uri="{FF2B5EF4-FFF2-40B4-BE49-F238E27FC236}">
                <a16:creationId xmlns:a16="http://schemas.microsoft.com/office/drawing/2014/main" id="{3059FFBF-6C6A-4892-2611-202B20CDF34F}"/>
              </a:ext>
            </a:extLst>
          </p:cNvPr>
          <p:cNvSpPr/>
          <p:nvPr/>
        </p:nvSpPr>
        <p:spPr>
          <a:xfrm>
            <a:off x="442913" y="3351685"/>
            <a:ext cx="576000" cy="68066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a:lnSpc>
                <a:spcPct val="100000"/>
              </a:lnSpc>
            </a:pPr>
            <a:r>
              <a:rPr lang="en-US" sz="2000" b="1"/>
              <a:t>3</a:t>
            </a:r>
            <a:endParaRPr lang="lv-LV" sz="2000" b="1"/>
          </a:p>
        </p:txBody>
      </p:sp>
      <p:sp>
        <p:nvSpPr>
          <p:cNvPr id="23" name="Rectangle 22">
            <a:extLst>
              <a:ext uri="{FF2B5EF4-FFF2-40B4-BE49-F238E27FC236}">
                <a16:creationId xmlns:a16="http://schemas.microsoft.com/office/drawing/2014/main" id="{B285B1A9-5FD7-D286-0263-BDDA47CD84FC}"/>
              </a:ext>
            </a:extLst>
          </p:cNvPr>
          <p:cNvSpPr/>
          <p:nvPr/>
        </p:nvSpPr>
        <p:spPr>
          <a:xfrm>
            <a:off x="1144242" y="4192995"/>
            <a:ext cx="4772372" cy="9639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a:solidFill>
                  <a:schemeClr val="tx1"/>
                </a:solidFill>
              </a:rPr>
              <a:t>Aizliegumu valsts apdraudējuma pārvarēšanā iesaistītajām amatpersonām un darbiniekiem </a:t>
            </a:r>
            <a:r>
              <a:rPr lang="lv-LV" sz="1200" b="1">
                <a:solidFill>
                  <a:schemeClr val="tx1"/>
                </a:solidFill>
              </a:rPr>
              <a:t>pārtraukt darba attiecības vai darba pienākumu pildīšanu</a:t>
            </a:r>
            <a:r>
              <a:rPr lang="lv-LV" sz="1200">
                <a:solidFill>
                  <a:schemeClr val="tx1"/>
                </a:solidFill>
              </a:rPr>
              <a:t>, un </a:t>
            </a:r>
            <a:r>
              <a:rPr lang="lv-LV" sz="1200" b="1">
                <a:solidFill>
                  <a:schemeClr val="tx1"/>
                </a:solidFill>
              </a:rPr>
              <a:t>kritiskās infrastruktūras vai kritisko finanšu pakalpojumu darbību</a:t>
            </a:r>
          </a:p>
        </p:txBody>
      </p:sp>
      <p:sp>
        <p:nvSpPr>
          <p:cNvPr id="47" name="Rectangle 46">
            <a:extLst>
              <a:ext uri="{FF2B5EF4-FFF2-40B4-BE49-F238E27FC236}">
                <a16:creationId xmlns:a16="http://schemas.microsoft.com/office/drawing/2014/main" id="{7CC6E599-8343-DBA8-C499-038C17FC9A02}"/>
              </a:ext>
            </a:extLst>
          </p:cNvPr>
          <p:cNvSpPr/>
          <p:nvPr/>
        </p:nvSpPr>
        <p:spPr>
          <a:xfrm>
            <a:off x="442913" y="4193508"/>
            <a:ext cx="576000" cy="9639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a:lnSpc>
                <a:spcPct val="100000"/>
              </a:lnSpc>
            </a:pPr>
            <a:r>
              <a:rPr lang="en-US" sz="2000" b="1"/>
              <a:t>4</a:t>
            </a:r>
            <a:endParaRPr lang="lv-LV" sz="2000" b="1"/>
          </a:p>
        </p:txBody>
      </p:sp>
      <p:sp>
        <p:nvSpPr>
          <p:cNvPr id="24" name="Rectangle 23">
            <a:extLst>
              <a:ext uri="{FF2B5EF4-FFF2-40B4-BE49-F238E27FC236}">
                <a16:creationId xmlns:a16="http://schemas.microsoft.com/office/drawing/2014/main" id="{85A647CD-F728-A196-CBAF-3E4BB87AD2EB}"/>
              </a:ext>
            </a:extLst>
          </p:cNvPr>
          <p:cNvSpPr/>
          <p:nvPr/>
        </p:nvSpPr>
        <p:spPr>
          <a:xfrm>
            <a:off x="1144242" y="5318040"/>
            <a:ext cx="4772372" cy="8540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a:solidFill>
                  <a:schemeClr val="tx1"/>
                </a:solidFill>
              </a:rPr>
              <a:t>Noteikumus par </a:t>
            </a:r>
            <a:r>
              <a:rPr lang="lv-LV" sz="1200" b="1">
                <a:solidFill>
                  <a:schemeClr val="tx1"/>
                </a:solidFill>
              </a:rPr>
              <a:t>sabiedrības informēšanu, plašsaziņas līdzekļu darbības nodrošināšanu un valsts iestāžu informācijas apriti</a:t>
            </a:r>
          </a:p>
        </p:txBody>
      </p:sp>
      <p:sp>
        <p:nvSpPr>
          <p:cNvPr id="50" name="Rectangle 49">
            <a:extLst>
              <a:ext uri="{FF2B5EF4-FFF2-40B4-BE49-F238E27FC236}">
                <a16:creationId xmlns:a16="http://schemas.microsoft.com/office/drawing/2014/main" id="{5C8EF04C-E54F-0070-5E45-D8BA791CF7BE}"/>
              </a:ext>
            </a:extLst>
          </p:cNvPr>
          <p:cNvSpPr/>
          <p:nvPr/>
        </p:nvSpPr>
        <p:spPr>
          <a:xfrm>
            <a:off x="442913" y="5318641"/>
            <a:ext cx="576000" cy="853474"/>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a:lnSpc>
                <a:spcPct val="100000"/>
              </a:lnSpc>
            </a:pPr>
            <a:r>
              <a:rPr lang="en-US" sz="2000" b="1"/>
              <a:t>5</a:t>
            </a:r>
            <a:endParaRPr lang="lv-LV" sz="2000" b="1"/>
          </a:p>
        </p:txBody>
      </p:sp>
      <p:sp>
        <p:nvSpPr>
          <p:cNvPr id="56" name="Rectangle 55">
            <a:extLst>
              <a:ext uri="{FF2B5EF4-FFF2-40B4-BE49-F238E27FC236}">
                <a16:creationId xmlns:a16="http://schemas.microsoft.com/office/drawing/2014/main" id="{7AEA07A3-0C18-A843-A268-AC0CB6F31980}"/>
              </a:ext>
            </a:extLst>
          </p:cNvPr>
          <p:cNvSpPr/>
          <p:nvPr/>
        </p:nvSpPr>
        <p:spPr>
          <a:xfrm>
            <a:off x="6977063" y="1820863"/>
            <a:ext cx="4772025" cy="7159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a:solidFill>
                  <a:schemeClr val="tx1"/>
                </a:solidFill>
              </a:rPr>
              <a:t>Īpašu kārtību </a:t>
            </a:r>
            <a:r>
              <a:rPr lang="lv-LV" sz="1200" b="1">
                <a:solidFill>
                  <a:schemeClr val="tx1"/>
                </a:solidFill>
              </a:rPr>
              <a:t>preču, energoresursu, pakalpojumu un citu materiāltehnisko resursu pieejamībai</a:t>
            </a:r>
          </a:p>
        </p:txBody>
      </p:sp>
      <p:sp>
        <p:nvSpPr>
          <p:cNvPr id="61" name="Rectangle 60">
            <a:extLst>
              <a:ext uri="{FF2B5EF4-FFF2-40B4-BE49-F238E27FC236}">
                <a16:creationId xmlns:a16="http://schemas.microsoft.com/office/drawing/2014/main" id="{57317571-1017-A381-336C-D567569D729C}"/>
              </a:ext>
            </a:extLst>
          </p:cNvPr>
          <p:cNvSpPr/>
          <p:nvPr/>
        </p:nvSpPr>
        <p:spPr>
          <a:xfrm>
            <a:off x="6275388" y="1820863"/>
            <a:ext cx="576000" cy="715963"/>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a:lnSpc>
                <a:spcPct val="100000"/>
              </a:lnSpc>
            </a:pPr>
            <a:r>
              <a:rPr lang="lv-LV" sz="2000" b="1"/>
              <a:t>6</a:t>
            </a:r>
          </a:p>
        </p:txBody>
      </p:sp>
      <p:sp>
        <p:nvSpPr>
          <p:cNvPr id="57" name="Rectangle 56">
            <a:extLst>
              <a:ext uri="{FF2B5EF4-FFF2-40B4-BE49-F238E27FC236}">
                <a16:creationId xmlns:a16="http://schemas.microsoft.com/office/drawing/2014/main" id="{C2D01315-F971-7FFE-2E24-AD8D7102576E}"/>
              </a:ext>
            </a:extLst>
          </p:cNvPr>
          <p:cNvSpPr/>
          <p:nvPr/>
        </p:nvSpPr>
        <p:spPr>
          <a:xfrm>
            <a:off x="6977063" y="2691659"/>
            <a:ext cx="4772025" cy="83056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a:solidFill>
                  <a:schemeClr val="tx1"/>
                </a:solidFill>
              </a:rPr>
              <a:t>Pastiprinātus </a:t>
            </a:r>
            <a:r>
              <a:rPr lang="lv-LV" sz="1200" b="1">
                <a:solidFill>
                  <a:schemeClr val="tx1"/>
                </a:solidFill>
              </a:rPr>
              <a:t>sabiedriskās kārtības nodrošināšanas pasākumus un atsevišķu objektu apsardzību</a:t>
            </a:r>
            <a:r>
              <a:rPr lang="lv-LV" sz="1200">
                <a:solidFill>
                  <a:schemeClr val="tx1"/>
                </a:solidFill>
              </a:rPr>
              <a:t>, kā arī </a:t>
            </a:r>
            <a:r>
              <a:rPr lang="lv-LV" sz="1200" b="1">
                <a:solidFill>
                  <a:schemeClr val="tx1"/>
                </a:solidFill>
              </a:rPr>
              <a:t>iedzīvotāju iesaistīšanu brīvprātīgajos darbos</a:t>
            </a:r>
          </a:p>
        </p:txBody>
      </p:sp>
      <p:sp>
        <p:nvSpPr>
          <p:cNvPr id="64" name="Rectangle 63">
            <a:extLst>
              <a:ext uri="{FF2B5EF4-FFF2-40B4-BE49-F238E27FC236}">
                <a16:creationId xmlns:a16="http://schemas.microsoft.com/office/drawing/2014/main" id="{5FF56CE1-3337-0CBD-A7C2-65C83CA6DA2E}"/>
              </a:ext>
            </a:extLst>
          </p:cNvPr>
          <p:cNvSpPr/>
          <p:nvPr/>
        </p:nvSpPr>
        <p:spPr>
          <a:xfrm>
            <a:off x="6275388" y="2691660"/>
            <a:ext cx="576000" cy="830569"/>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a:lnSpc>
                <a:spcPct val="100000"/>
              </a:lnSpc>
            </a:pPr>
            <a:r>
              <a:rPr lang="en-US" sz="2000" b="1"/>
              <a:t>7</a:t>
            </a:r>
            <a:endParaRPr lang="lv-LV" sz="2000" b="1"/>
          </a:p>
        </p:txBody>
      </p:sp>
      <p:sp>
        <p:nvSpPr>
          <p:cNvPr id="72" name="object 24">
            <a:extLst>
              <a:ext uri="{FF2B5EF4-FFF2-40B4-BE49-F238E27FC236}">
                <a16:creationId xmlns:a16="http://schemas.microsoft.com/office/drawing/2014/main" id="{A91771DC-D1A3-5745-DF45-3AC32AB1D932}"/>
              </a:ext>
            </a:extLst>
          </p:cNvPr>
          <p:cNvSpPr txBox="1">
            <a:spLocks noGrp="1"/>
          </p:cNvSpPr>
          <p:nvPr>
            <p:ph type="sldNum" sz="quarter" idx="11"/>
          </p:nvPr>
        </p:nvSpPr>
        <p:spPr>
          <a:xfrm>
            <a:off x="9984296" y="6492240"/>
            <a:ext cx="1764792" cy="137160"/>
          </a:xfrm>
        </p:spPr>
        <p:txBody>
          <a:bodyPr vert="horz" wrap="square" lIns="0" tIns="0" rIns="0" bIns="0" rtlCol="0">
            <a:spAutoFit/>
          </a:bodyPr>
          <a:lstStyle>
            <a:defPPr>
              <a:defRPr kern="0"/>
            </a:defPPr>
            <a:lvl1pPr>
              <a:defRPr sz="900" b="0" i="0">
                <a:solidFill>
                  <a:srgbClr val="888888"/>
                </a:solidFill>
                <a:latin typeface="Calibri"/>
                <a:cs typeface="Calibri"/>
              </a:defRPr>
            </a:lvl1pPr>
          </a:lstStyle>
          <a:p>
            <a:fld id="{81D60167-4931-47E6-BA6A-407CBD079E47}" type="slidenum">
              <a:rPr lang="lv-LV" smtClean="0"/>
              <a:pPr/>
              <a:t>29</a:t>
            </a:fld>
            <a:endParaRPr lang="lv-LV"/>
          </a:p>
        </p:txBody>
      </p:sp>
      <p:sp>
        <p:nvSpPr>
          <p:cNvPr id="13" name="Rectangle 12">
            <a:extLst>
              <a:ext uri="{FF2B5EF4-FFF2-40B4-BE49-F238E27FC236}">
                <a16:creationId xmlns:a16="http://schemas.microsoft.com/office/drawing/2014/main" id="{2FCB9AE2-6ABC-1153-E4E3-060E6F1E3AAF}"/>
              </a:ext>
            </a:extLst>
          </p:cNvPr>
          <p:cNvSpPr/>
          <p:nvPr/>
        </p:nvSpPr>
        <p:spPr>
          <a:xfrm>
            <a:off x="6977063" y="3677061"/>
            <a:ext cx="4772025" cy="79609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a:solidFill>
                  <a:schemeClr val="tx1"/>
                </a:solidFill>
              </a:rPr>
              <a:t>Valsts institūciju </a:t>
            </a:r>
            <a:r>
              <a:rPr lang="lv-LV" sz="1200" b="1">
                <a:solidFill>
                  <a:schemeClr val="tx1"/>
                </a:solidFill>
              </a:rPr>
              <a:t>darba režīmu </a:t>
            </a:r>
            <a:r>
              <a:rPr lang="lv-LV" sz="1200">
                <a:solidFill>
                  <a:schemeClr val="tx1"/>
                </a:solidFill>
              </a:rPr>
              <a:t>un apdraudējuma pārvarēšanā iesaistīto </a:t>
            </a:r>
            <a:r>
              <a:rPr lang="lv-LV" sz="1200" b="1">
                <a:solidFill>
                  <a:schemeClr val="tx1"/>
                </a:solidFill>
              </a:rPr>
              <a:t>institūciju un formējumu nodrošināšanu ar energoresursiem</a:t>
            </a:r>
          </a:p>
        </p:txBody>
      </p:sp>
      <p:sp>
        <p:nvSpPr>
          <p:cNvPr id="16" name="Rectangle 15">
            <a:extLst>
              <a:ext uri="{FF2B5EF4-FFF2-40B4-BE49-F238E27FC236}">
                <a16:creationId xmlns:a16="http://schemas.microsoft.com/office/drawing/2014/main" id="{2643E0A1-87FF-2791-3660-8C7F224D3E0F}"/>
              </a:ext>
            </a:extLst>
          </p:cNvPr>
          <p:cNvSpPr/>
          <p:nvPr/>
        </p:nvSpPr>
        <p:spPr>
          <a:xfrm>
            <a:off x="6275388" y="3677063"/>
            <a:ext cx="576000" cy="796096"/>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a:lnSpc>
                <a:spcPct val="100000"/>
              </a:lnSpc>
            </a:pPr>
            <a:r>
              <a:rPr lang="en-US" sz="2000" b="1"/>
              <a:t>8</a:t>
            </a:r>
            <a:endParaRPr lang="lv-LV" sz="2000" b="1"/>
          </a:p>
        </p:txBody>
      </p:sp>
      <p:sp>
        <p:nvSpPr>
          <p:cNvPr id="28" name="Rectangle 27">
            <a:extLst>
              <a:ext uri="{FF2B5EF4-FFF2-40B4-BE49-F238E27FC236}">
                <a16:creationId xmlns:a16="http://schemas.microsoft.com/office/drawing/2014/main" id="{A8479FCA-91DD-67F0-9AFB-B095F10CA66F}"/>
              </a:ext>
            </a:extLst>
          </p:cNvPr>
          <p:cNvSpPr/>
          <p:nvPr/>
        </p:nvSpPr>
        <p:spPr>
          <a:xfrm>
            <a:off x="6977063" y="4627991"/>
            <a:ext cx="4772025" cy="8265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a:solidFill>
                  <a:schemeClr val="tx1"/>
                </a:solidFill>
              </a:rPr>
              <a:t>Finanšu ministram pilnvarojumu </a:t>
            </a:r>
            <a:r>
              <a:rPr lang="lv-LV" sz="1200" b="1">
                <a:solidFill>
                  <a:schemeClr val="tx1"/>
                </a:solidFill>
              </a:rPr>
              <a:t>mainīt likumā noteikto apropriāciju</a:t>
            </a:r>
            <a:r>
              <a:rPr lang="lv-LV" sz="1200">
                <a:solidFill>
                  <a:schemeClr val="tx1"/>
                </a:solidFill>
              </a:rPr>
              <a:t>, </a:t>
            </a:r>
            <a:r>
              <a:rPr lang="lv-LV" sz="1200" b="1">
                <a:solidFill>
                  <a:schemeClr val="tx1"/>
                </a:solidFill>
              </a:rPr>
              <a:t>nodrošināt finanšu resursus, maksājumu veikšanu</a:t>
            </a:r>
            <a:r>
              <a:rPr lang="lv-LV" sz="1200">
                <a:solidFill>
                  <a:schemeClr val="tx1"/>
                </a:solidFill>
              </a:rPr>
              <a:t>, nepieciešamības gadījumā ar Ministru prezidentu pieņemot lēmumu par apropriācijas izmaiņām</a:t>
            </a:r>
          </a:p>
        </p:txBody>
      </p:sp>
      <p:sp>
        <p:nvSpPr>
          <p:cNvPr id="29" name="Rectangle 28">
            <a:extLst>
              <a:ext uri="{FF2B5EF4-FFF2-40B4-BE49-F238E27FC236}">
                <a16:creationId xmlns:a16="http://schemas.microsoft.com/office/drawing/2014/main" id="{DA982DD2-60F8-7B32-275E-AD24B7F6D9B8}"/>
              </a:ext>
            </a:extLst>
          </p:cNvPr>
          <p:cNvSpPr/>
          <p:nvPr/>
        </p:nvSpPr>
        <p:spPr>
          <a:xfrm>
            <a:off x="6275388" y="4627993"/>
            <a:ext cx="576000" cy="826574"/>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a:lnSpc>
                <a:spcPct val="100000"/>
              </a:lnSpc>
            </a:pPr>
            <a:r>
              <a:rPr lang="lv-LV" sz="2000" b="1"/>
              <a:t>9</a:t>
            </a:r>
          </a:p>
        </p:txBody>
      </p:sp>
      <p:sp>
        <p:nvSpPr>
          <p:cNvPr id="60" name="Rectangle 59">
            <a:extLst>
              <a:ext uri="{FF2B5EF4-FFF2-40B4-BE49-F238E27FC236}">
                <a16:creationId xmlns:a16="http://schemas.microsoft.com/office/drawing/2014/main" id="{4B18C935-8881-CA66-88AA-26C6C95D9B4D}"/>
              </a:ext>
            </a:extLst>
          </p:cNvPr>
          <p:cNvSpPr/>
          <p:nvPr/>
        </p:nvSpPr>
        <p:spPr>
          <a:xfrm>
            <a:off x="442912" y="6341400"/>
            <a:ext cx="3200400" cy="36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3" name="Freeform 50">
            <a:extLst>
              <a:ext uri="{FF2B5EF4-FFF2-40B4-BE49-F238E27FC236}">
                <a16:creationId xmlns:a16="http://schemas.microsoft.com/office/drawing/2014/main" id="{18DE640C-9DE8-C937-0C8B-A7FD4B5DEB7B}"/>
              </a:ext>
            </a:extLst>
          </p:cNvPr>
          <p:cNvSpPr>
            <a:spLocks noChangeAspect="1"/>
          </p:cNvSpPr>
          <p:nvPr/>
        </p:nvSpPr>
        <p:spPr bwMode="auto">
          <a:xfrm>
            <a:off x="620569" y="6410325"/>
            <a:ext cx="220688" cy="222150"/>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66" name="Google Shape;2685;p25">
            <a:extLst>
              <a:ext uri="{FF2B5EF4-FFF2-40B4-BE49-F238E27FC236}">
                <a16:creationId xmlns:a16="http://schemas.microsoft.com/office/drawing/2014/main" id="{9268F77E-B7CD-EFE8-34CF-FD97C9102130}"/>
              </a:ext>
            </a:extLst>
          </p:cNvPr>
          <p:cNvSpPr txBox="1"/>
          <p:nvPr/>
        </p:nvSpPr>
        <p:spPr>
          <a:xfrm>
            <a:off x="950595" y="6444456"/>
            <a:ext cx="2560320" cy="153888"/>
          </a:xfrm>
          <a:prstGeom prst="rect">
            <a:avLst/>
          </a:prstGeom>
          <a:noFill/>
          <a:ln>
            <a:noFill/>
          </a:ln>
        </p:spPr>
        <p:txBody>
          <a:bodyPr spcFirstLastPara="1" wrap="square" lIns="0" tIns="0" rIns="72000" bIns="0" anchor="ctr" anchorCtr="0">
            <a:spAutoFit/>
          </a:bodyPr>
          <a:lstStyle/>
          <a:p>
            <a:r>
              <a:rPr lang="lv-LV" sz="1000" i="0">
                <a:effectLst/>
                <a:latin typeface="Arial" panose="020B0604020202020204" pitchFamily="34" charset="0"/>
                <a:hlinkClick r:id="rId3">
                  <a:extLst>
                    <a:ext uri="{A12FA001-AC4F-418D-AE19-62706E023703}">
                      <ahyp:hlinkClr xmlns:ahyp="http://schemas.microsoft.com/office/drawing/2018/hyperlinkcolor" val="tx"/>
                    </a:ext>
                  </a:extLst>
                </a:hlinkClick>
              </a:rPr>
              <a:t>Par ārkārtējo situāciju un izņēmuma stāvokli</a:t>
            </a:r>
            <a:endParaRPr lang="lv-LV" sz="1000"/>
          </a:p>
        </p:txBody>
      </p:sp>
      <p:sp>
        <p:nvSpPr>
          <p:cNvPr id="69" name="Rectangle 68">
            <a:extLst>
              <a:ext uri="{FF2B5EF4-FFF2-40B4-BE49-F238E27FC236}">
                <a16:creationId xmlns:a16="http://schemas.microsoft.com/office/drawing/2014/main" id="{77BC55D2-854D-6882-B684-BAE9F3538AE5}"/>
              </a:ext>
            </a:extLst>
          </p:cNvPr>
          <p:cNvSpPr/>
          <p:nvPr/>
        </p:nvSpPr>
        <p:spPr>
          <a:xfrm>
            <a:off x="6977063" y="5609400"/>
            <a:ext cx="4772025" cy="56271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a:solidFill>
                  <a:schemeClr val="tx1"/>
                </a:solidFill>
              </a:rPr>
              <a:t>Īpašu </a:t>
            </a:r>
            <a:r>
              <a:rPr lang="lv-LV" sz="1200" b="1">
                <a:solidFill>
                  <a:schemeClr val="tx1"/>
                </a:solidFill>
              </a:rPr>
              <a:t>atlīdzības regulējumu </a:t>
            </a:r>
            <a:r>
              <a:rPr lang="lv-LV" sz="1200">
                <a:solidFill>
                  <a:schemeClr val="tx1"/>
                </a:solidFill>
              </a:rPr>
              <a:t>valsts institūciju amatpersonām un darbiniekiem</a:t>
            </a:r>
          </a:p>
        </p:txBody>
      </p:sp>
      <p:sp>
        <p:nvSpPr>
          <p:cNvPr id="73" name="Rectangle 72">
            <a:extLst>
              <a:ext uri="{FF2B5EF4-FFF2-40B4-BE49-F238E27FC236}">
                <a16:creationId xmlns:a16="http://schemas.microsoft.com/office/drawing/2014/main" id="{A5EFBFB2-518C-14CB-52B4-CCC2FBCEC9B5}"/>
              </a:ext>
            </a:extLst>
          </p:cNvPr>
          <p:cNvSpPr/>
          <p:nvPr/>
        </p:nvSpPr>
        <p:spPr>
          <a:xfrm>
            <a:off x="6275388" y="5609400"/>
            <a:ext cx="576000" cy="562716"/>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a:lnSpc>
                <a:spcPct val="100000"/>
              </a:lnSpc>
            </a:pPr>
            <a:r>
              <a:rPr lang="lv-LV" sz="2000" b="1"/>
              <a:t>10</a:t>
            </a:r>
          </a:p>
        </p:txBody>
      </p:sp>
      <p:sp>
        <p:nvSpPr>
          <p:cNvPr id="2" name="Rectangle 1">
            <a:extLst>
              <a:ext uri="{FF2B5EF4-FFF2-40B4-BE49-F238E27FC236}">
                <a16:creationId xmlns:a16="http://schemas.microsoft.com/office/drawing/2014/main" id="{BEC6511E-C33A-6752-120D-B54808D54898}"/>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rgbClr val="A4A3B2"/>
                </a:solidFill>
                <a:effectLst/>
                <a:uLnTx/>
                <a:uFillTx/>
                <a:ea typeface="Georgia"/>
                <a:cs typeface="Georgia"/>
                <a:sym typeface="Georgia"/>
              </a:rPr>
              <a:t>2. CIVILĀS AIZSARDZĪBAS SISTĒMA UN NORMATĪVAIS UN POLITIKAS PLĀNOŠANAS IETVARS</a:t>
            </a:r>
          </a:p>
        </p:txBody>
      </p:sp>
      <p:grpSp>
        <p:nvGrpSpPr>
          <p:cNvPr id="30" name="Group 29">
            <a:extLst>
              <a:ext uri="{FF2B5EF4-FFF2-40B4-BE49-F238E27FC236}">
                <a16:creationId xmlns:a16="http://schemas.microsoft.com/office/drawing/2014/main" id="{FC3C1F91-1680-0B6A-54D2-EE443C4A1D73}"/>
              </a:ext>
            </a:extLst>
          </p:cNvPr>
          <p:cNvGrpSpPr/>
          <p:nvPr/>
        </p:nvGrpSpPr>
        <p:grpSpPr>
          <a:xfrm>
            <a:off x="6406877" y="127593"/>
            <a:ext cx="5342171" cy="220690"/>
            <a:chOff x="6167418" y="135399"/>
            <a:chExt cx="5342171" cy="220690"/>
          </a:xfrm>
        </p:grpSpPr>
        <p:sp>
          <p:nvSpPr>
            <p:cNvPr id="31" name="Rectangle 30">
              <a:extLst>
                <a:ext uri="{FF2B5EF4-FFF2-40B4-BE49-F238E27FC236}">
                  <a16:creationId xmlns:a16="http://schemas.microsoft.com/office/drawing/2014/main" id="{4C45F5D8-454F-D1DA-B888-BD8393D29AB2}"/>
                </a:ext>
              </a:extLst>
            </p:cNvPr>
            <p:cNvSpPr/>
            <p:nvPr/>
          </p:nvSpPr>
          <p:spPr>
            <a:xfrm>
              <a:off x="6167418" y="13860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2" name="Rectangle 31">
              <a:extLst>
                <a:ext uri="{FF2B5EF4-FFF2-40B4-BE49-F238E27FC236}">
                  <a16:creationId xmlns:a16="http://schemas.microsoft.com/office/drawing/2014/main" id="{962A0AB5-1528-1FA1-7ABB-354ECFC14075}"/>
                </a:ext>
              </a:extLst>
            </p:cNvPr>
            <p:cNvSpPr/>
            <p:nvPr/>
          </p:nvSpPr>
          <p:spPr>
            <a:xfrm>
              <a:off x="6409245" y="13860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33" name="Rectangle 32">
              <a:extLst>
                <a:ext uri="{FF2B5EF4-FFF2-40B4-BE49-F238E27FC236}">
                  <a16:creationId xmlns:a16="http://schemas.microsoft.com/office/drawing/2014/main" id="{87243747-3691-E1B8-E4CC-AC56B9D9AEEA}"/>
                </a:ext>
              </a:extLst>
            </p:cNvPr>
            <p:cNvSpPr/>
            <p:nvPr/>
          </p:nvSpPr>
          <p:spPr>
            <a:xfrm>
              <a:off x="6651072" y="138601"/>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4" name="Rectangle 33">
              <a:extLst>
                <a:ext uri="{FF2B5EF4-FFF2-40B4-BE49-F238E27FC236}">
                  <a16:creationId xmlns:a16="http://schemas.microsoft.com/office/drawing/2014/main" id="{172B24E9-2DE6-54FF-CC86-EBD4DD341CC9}"/>
                </a:ext>
              </a:extLst>
            </p:cNvPr>
            <p:cNvSpPr/>
            <p:nvPr/>
          </p:nvSpPr>
          <p:spPr>
            <a:xfrm>
              <a:off x="7369589" y="135399"/>
              <a:ext cx="414000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lv-LV" sz="800" b="1"/>
                <a:t>Īpašie tiesiskie režīmi</a:t>
              </a:r>
            </a:p>
          </p:txBody>
        </p:sp>
        <p:sp>
          <p:nvSpPr>
            <p:cNvPr id="35" name="Rectangle 34">
              <a:extLst>
                <a:ext uri="{FF2B5EF4-FFF2-40B4-BE49-F238E27FC236}">
                  <a16:creationId xmlns:a16="http://schemas.microsoft.com/office/drawing/2014/main" id="{73279EE3-62F3-EEBA-1971-F53D30C665CB}"/>
                </a:ext>
              </a:extLst>
            </p:cNvPr>
            <p:cNvSpPr/>
            <p:nvPr/>
          </p:nvSpPr>
          <p:spPr>
            <a:xfrm>
              <a:off x="7127762" y="135399"/>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5</a:t>
              </a:r>
              <a:endParaRPr kumimoji="0" lang="lv-LV" sz="800" b="1" i="0" u="none" strike="noStrike" kern="0" cap="none" spc="0" normalizeH="0" baseline="0">
                <a:ln>
                  <a:noFill/>
                </a:ln>
                <a:effectLst/>
                <a:uLnTx/>
                <a:uFillTx/>
                <a:ea typeface="Georgia"/>
                <a:cs typeface="Georgia"/>
                <a:sym typeface="Georgia"/>
              </a:endParaRPr>
            </a:p>
          </p:txBody>
        </p:sp>
        <p:sp>
          <p:nvSpPr>
            <p:cNvPr id="36" name="Rectangle 35">
              <a:extLst>
                <a:ext uri="{FF2B5EF4-FFF2-40B4-BE49-F238E27FC236}">
                  <a16:creationId xmlns:a16="http://schemas.microsoft.com/office/drawing/2014/main" id="{90222B69-B079-36F9-6C24-D4EAEEAFF689}"/>
                </a:ext>
              </a:extLst>
            </p:cNvPr>
            <p:cNvSpPr/>
            <p:nvPr/>
          </p:nvSpPr>
          <p:spPr>
            <a:xfrm>
              <a:off x="6892899" y="13860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24940490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41C4F-F07F-7C71-88DD-EEFC9A9A1906}"/>
              </a:ext>
            </a:extLst>
          </p:cNvPr>
          <p:cNvSpPr>
            <a:spLocks noGrp="1"/>
          </p:cNvSpPr>
          <p:nvPr>
            <p:ph type="title"/>
          </p:nvPr>
        </p:nvSpPr>
        <p:spPr>
          <a:xfrm>
            <a:off x="442914" y="432001"/>
            <a:ext cx="5473700" cy="1387274"/>
          </a:xfrm>
        </p:spPr>
        <p:txBody>
          <a:bodyPr vert="horz">
            <a:normAutofit/>
          </a:bodyPr>
          <a:lstStyle/>
          <a:p>
            <a:r>
              <a:rPr lang="lv-LV"/>
              <a:t>Satura rādītājs</a:t>
            </a:r>
          </a:p>
        </p:txBody>
      </p:sp>
      <p:sp>
        <p:nvSpPr>
          <p:cNvPr id="14" name="Rectangle 13">
            <a:extLst>
              <a:ext uri="{FF2B5EF4-FFF2-40B4-BE49-F238E27FC236}">
                <a16:creationId xmlns:a16="http://schemas.microsoft.com/office/drawing/2014/main" id="{59636C67-B850-5B1A-8125-2D4FF2708A42}"/>
              </a:ext>
            </a:extLst>
          </p:cNvPr>
          <p:cNvSpPr/>
          <p:nvPr/>
        </p:nvSpPr>
        <p:spPr>
          <a:xfrm>
            <a:off x="442913" y="955542"/>
            <a:ext cx="11312525"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a:xfrm>
            <a:off x="9983788" y="6492875"/>
            <a:ext cx="1765300" cy="136525"/>
          </a:xfrm>
        </p:spPr>
        <p:txBody>
          <a:bodyPr/>
          <a:lstStyle/>
          <a:p>
            <a:fld id="{7870704B-CE94-48CC-AF30-84932A1262A7}" type="slidenum">
              <a:rPr lang="lv-LV" smtClean="0"/>
              <a:pPr/>
              <a:t>3</a:t>
            </a:fld>
            <a:endParaRPr lang="lv-LV"/>
          </a:p>
        </p:txBody>
      </p:sp>
      <p:sp>
        <p:nvSpPr>
          <p:cNvPr id="12" name="Freeform 106">
            <a:extLst>
              <a:ext uri="{FF2B5EF4-FFF2-40B4-BE49-F238E27FC236}">
                <a16:creationId xmlns:a16="http://schemas.microsoft.com/office/drawing/2014/main" id="{15CA2F5B-A3B7-ED25-E1DA-6A0E2C10A241}"/>
              </a:ext>
            </a:extLst>
          </p:cNvPr>
          <p:cNvSpPr/>
          <p:nvPr/>
        </p:nvSpPr>
        <p:spPr>
          <a:xfrm>
            <a:off x="519578" y="1027542"/>
            <a:ext cx="432000" cy="432000"/>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GB"/>
          </a:p>
        </p:txBody>
      </p:sp>
      <p:sp>
        <p:nvSpPr>
          <p:cNvPr id="3" name="TextBox 2">
            <a:extLst>
              <a:ext uri="{FF2B5EF4-FFF2-40B4-BE49-F238E27FC236}">
                <a16:creationId xmlns:a16="http://schemas.microsoft.com/office/drawing/2014/main" id="{6A355E03-E3D4-57E7-8E5C-EA6D87D67D07}"/>
              </a:ext>
            </a:extLst>
          </p:cNvPr>
          <p:cNvSpPr txBox="1"/>
          <p:nvPr/>
        </p:nvSpPr>
        <p:spPr>
          <a:xfrm>
            <a:off x="442912" y="1819275"/>
            <a:ext cx="11306174" cy="2878237"/>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Aft>
                <a:spcPts val="600"/>
              </a:spcAft>
            </a:pPr>
            <a:r>
              <a:rPr lang="lv-LV" sz="1400">
                <a:cs typeface="Arial"/>
              </a:rPr>
              <a:t>2.1. Civilās aizsardzības sistēmas struktūra un loma nacionālās drošības sistēmā</a:t>
            </a:r>
          </a:p>
          <a:p>
            <a:pPr>
              <a:spcAft>
                <a:spcPts val="600"/>
              </a:spcAft>
            </a:pPr>
            <a:r>
              <a:rPr lang="lv-LV" sz="1400">
                <a:cs typeface="Arial"/>
              </a:rPr>
              <a:t>2.2. Tiesiskais regulējums civilās aizsardzības sistēmas darbības nodrošināšanai</a:t>
            </a:r>
          </a:p>
          <a:p>
            <a:pPr>
              <a:spcAft>
                <a:spcPts val="600"/>
              </a:spcAft>
            </a:pPr>
            <a:r>
              <a:rPr lang="lv-LV" sz="1400">
                <a:cs typeface="Arial"/>
              </a:rPr>
              <a:t>2.3. Civilās aizsardzības sistēmas organizācija un vadība</a:t>
            </a:r>
          </a:p>
          <a:p>
            <a:pPr>
              <a:spcAft>
                <a:spcPts val="600"/>
              </a:spcAft>
            </a:pPr>
            <a:r>
              <a:rPr lang="lv-LV" sz="1400">
                <a:cs typeface="Arial"/>
              </a:rPr>
              <a:t>2.4. Civilās aizsardzības pasākumu plānošana </a:t>
            </a:r>
          </a:p>
          <a:p>
            <a:pPr>
              <a:spcAft>
                <a:spcPts val="600"/>
              </a:spcAft>
            </a:pPr>
            <a:r>
              <a:rPr lang="lv-LV" sz="1400">
                <a:cs typeface="Arial"/>
              </a:rPr>
              <a:t>2.5. Īpašie tiesiskie režīmi </a:t>
            </a:r>
            <a:endParaRPr lang="en-US" sz="1400">
              <a:cs typeface="Arial"/>
            </a:endParaRPr>
          </a:p>
        </p:txBody>
      </p:sp>
      <p:pic>
        <p:nvPicPr>
          <p:cNvPr id="9" name="Picture 8">
            <a:extLst>
              <a:ext uri="{FF2B5EF4-FFF2-40B4-BE49-F238E27FC236}">
                <a16:creationId xmlns:a16="http://schemas.microsoft.com/office/drawing/2014/main" id="{07AB9A9E-8F8D-8F87-4358-87E23AF3C102}"/>
              </a:ext>
            </a:extLst>
          </p:cNvPr>
          <p:cNvPicPr>
            <a:picLocks noChangeAspect="1"/>
          </p:cNvPicPr>
          <p:nvPr/>
        </p:nvPicPr>
        <p:blipFill rotWithShape="1">
          <a:blip r:embed="rId3"/>
          <a:srcRect l="56" t="33926" r="-56" b="50336"/>
          <a:stretch/>
        </p:blipFill>
        <p:spPr>
          <a:xfrm>
            <a:off x="442913" y="4985245"/>
            <a:ext cx="11312524" cy="1186955"/>
          </a:xfrm>
          <a:prstGeom prst="rect">
            <a:avLst/>
          </a:prstGeom>
        </p:spPr>
      </p:pic>
      <p:sp>
        <p:nvSpPr>
          <p:cNvPr id="7" name="Rectangle 6">
            <a:extLst>
              <a:ext uri="{FF2B5EF4-FFF2-40B4-BE49-F238E27FC236}">
                <a16:creationId xmlns:a16="http://schemas.microsoft.com/office/drawing/2014/main" id="{99589C5F-A268-A9F2-6268-411BE0E28F8C}"/>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rgbClr val="A4A3B2"/>
                </a:solidFill>
                <a:effectLst/>
                <a:uLnTx/>
                <a:uFillTx/>
                <a:ea typeface="Georgia"/>
                <a:cs typeface="Georgia"/>
                <a:sym typeface="Georgia"/>
              </a:rPr>
              <a:t>2. CIVILĀS AIZSARDZĪBAS SISTĒMA UN NORMATĪVAIS UN POLITIKAS PLĀNOŠANAS IETVARS</a:t>
            </a:r>
          </a:p>
        </p:txBody>
      </p:sp>
    </p:spTree>
    <p:extLst>
      <p:ext uri="{BB962C8B-B14F-4D97-AF65-F5344CB8AC3E}">
        <p14:creationId xmlns:p14="http://schemas.microsoft.com/office/powerpoint/2010/main" val="1920980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A56ABBE-808E-2B50-2746-01A9549F0243}"/>
              </a:ext>
            </a:extLst>
          </p:cNvPr>
          <p:cNvSpPr>
            <a:spLocks noGrp="1"/>
          </p:cNvSpPr>
          <p:nvPr>
            <p:ph type="title"/>
          </p:nvPr>
        </p:nvSpPr>
        <p:spPr>
          <a:xfrm>
            <a:off x="442913" y="432001"/>
            <a:ext cx="11306175" cy="1387274"/>
          </a:xfrm>
        </p:spPr>
        <p:txBody>
          <a:bodyPr vert="horz" lIns="0" tIns="0" rIns="0" bIns="0" rtlCol="0" anchor="t" anchorCtr="0">
            <a:noAutofit/>
          </a:bodyPr>
          <a:lstStyle/>
          <a:p>
            <a:r>
              <a:rPr lang="nn-NO"/>
              <a:t>Atkarībā no valsts apdraudējuma veida, intensitātes un rakstura Ministru kabinets var noteikt:</a:t>
            </a:r>
            <a:r>
              <a:rPr lang="lv-LV"/>
              <a:t> </a:t>
            </a:r>
            <a:br>
              <a:rPr lang="lv-LV"/>
            </a:br>
            <a:r>
              <a:rPr lang="lv-LV"/>
              <a:t>(2/2)</a:t>
            </a:r>
          </a:p>
        </p:txBody>
      </p:sp>
      <p:sp>
        <p:nvSpPr>
          <p:cNvPr id="18" name="Rectangle 17">
            <a:extLst>
              <a:ext uri="{FF2B5EF4-FFF2-40B4-BE49-F238E27FC236}">
                <a16:creationId xmlns:a16="http://schemas.microsoft.com/office/drawing/2014/main" id="{0E1A1199-7305-2CEF-748D-6F5A22855534}"/>
              </a:ext>
            </a:extLst>
          </p:cNvPr>
          <p:cNvSpPr/>
          <p:nvPr/>
        </p:nvSpPr>
        <p:spPr>
          <a:xfrm>
            <a:off x="1144242" y="1820863"/>
            <a:ext cx="4772372" cy="7159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a:solidFill>
                  <a:schemeClr val="tx1"/>
                </a:solidFill>
              </a:rPr>
              <a:t>Starptautiskajos līgumos noteikto </a:t>
            </a:r>
            <a:r>
              <a:rPr lang="lv-LV" sz="1200" b="1">
                <a:solidFill>
                  <a:schemeClr val="tx1"/>
                </a:solidFill>
              </a:rPr>
              <a:t>saistību izpildes pilnīgu vai daļēju apturēšanu</a:t>
            </a:r>
            <a:r>
              <a:rPr lang="lv-LV" sz="1200">
                <a:solidFill>
                  <a:schemeClr val="tx1"/>
                </a:solidFill>
              </a:rPr>
              <a:t>, ja to izpilde var negatīvi ietekmēt valsts apdraudējuma novēršanas vai pārvarēšanas spējas</a:t>
            </a:r>
          </a:p>
        </p:txBody>
      </p:sp>
      <p:sp>
        <p:nvSpPr>
          <p:cNvPr id="19" name="Rectangle 18">
            <a:extLst>
              <a:ext uri="{FF2B5EF4-FFF2-40B4-BE49-F238E27FC236}">
                <a16:creationId xmlns:a16="http://schemas.microsoft.com/office/drawing/2014/main" id="{9B029BEC-72B3-C1E2-7AFC-D65ACADC991B}"/>
              </a:ext>
            </a:extLst>
          </p:cNvPr>
          <p:cNvSpPr/>
          <p:nvPr/>
        </p:nvSpPr>
        <p:spPr>
          <a:xfrm>
            <a:off x="442913" y="1820863"/>
            <a:ext cx="576000" cy="71596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a:lnSpc>
                <a:spcPct val="100000"/>
              </a:lnSpc>
            </a:pPr>
            <a:r>
              <a:rPr lang="lv-LV" sz="2000" b="1"/>
              <a:t>11</a:t>
            </a:r>
          </a:p>
        </p:txBody>
      </p:sp>
      <p:sp>
        <p:nvSpPr>
          <p:cNvPr id="21" name="Rectangle 20">
            <a:extLst>
              <a:ext uri="{FF2B5EF4-FFF2-40B4-BE49-F238E27FC236}">
                <a16:creationId xmlns:a16="http://schemas.microsoft.com/office/drawing/2014/main" id="{D2B8CCD4-519B-DC9C-9476-0A79B896B75D}"/>
              </a:ext>
            </a:extLst>
          </p:cNvPr>
          <p:cNvSpPr/>
          <p:nvPr/>
        </p:nvSpPr>
        <p:spPr>
          <a:xfrm>
            <a:off x="1144242" y="2701556"/>
            <a:ext cx="4772372" cy="64061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b="1">
                <a:solidFill>
                  <a:schemeClr val="tx1"/>
                </a:solidFill>
              </a:rPr>
              <a:t>Uzņemošās valsts atbalsta funkciju nodrošināšanu</a:t>
            </a:r>
            <a:r>
              <a:rPr lang="lv-LV" sz="1200">
                <a:solidFill>
                  <a:schemeClr val="tx1"/>
                </a:solidFill>
              </a:rPr>
              <a:t>, uzņemot NATO vai ES bruņotos spēkus, un normatīvo aktu prasību nepiemērošanu nepieciešamā atbalsta sniegšanas pasākumiem</a:t>
            </a:r>
          </a:p>
        </p:txBody>
      </p:sp>
      <p:sp>
        <p:nvSpPr>
          <p:cNvPr id="41" name="Rectangle 40">
            <a:extLst>
              <a:ext uri="{FF2B5EF4-FFF2-40B4-BE49-F238E27FC236}">
                <a16:creationId xmlns:a16="http://schemas.microsoft.com/office/drawing/2014/main" id="{FE9D8B49-4A0A-7A7F-FD0C-28B19FB420B0}"/>
              </a:ext>
            </a:extLst>
          </p:cNvPr>
          <p:cNvSpPr/>
          <p:nvPr/>
        </p:nvSpPr>
        <p:spPr>
          <a:xfrm>
            <a:off x="442913" y="2701599"/>
            <a:ext cx="576000" cy="64061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a:lnSpc>
                <a:spcPct val="100000"/>
              </a:lnSpc>
            </a:pPr>
            <a:r>
              <a:rPr lang="lv-LV" sz="2000" b="1"/>
              <a:t>12</a:t>
            </a:r>
          </a:p>
        </p:txBody>
      </p:sp>
      <p:sp>
        <p:nvSpPr>
          <p:cNvPr id="22" name="Rectangle 21">
            <a:extLst>
              <a:ext uri="{FF2B5EF4-FFF2-40B4-BE49-F238E27FC236}">
                <a16:creationId xmlns:a16="http://schemas.microsoft.com/office/drawing/2014/main" id="{C2E2F87E-C09F-4B30-1919-F5E2A78F3541}"/>
              </a:ext>
            </a:extLst>
          </p:cNvPr>
          <p:cNvSpPr/>
          <p:nvPr/>
        </p:nvSpPr>
        <p:spPr>
          <a:xfrm>
            <a:off x="1144242" y="3506901"/>
            <a:ext cx="4772372" cy="91096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a:solidFill>
                  <a:schemeClr val="tx1"/>
                </a:solidFill>
              </a:rPr>
              <a:t>Ārlietu ministram pilnvarojumu ierosināt starptautiskām organizācijām un ES, un NATO dalībvalstīm noteikt </a:t>
            </a:r>
            <a:r>
              <a:rPr lang="lv-LV" sz="1200" b="1">
                <a:solidFill>
                  <a:schemeClr val="tx1"/>
                </a:solidFill>
              </a:rPr>
              <a:t>sankcijas pret ārējo ienaidnieku vai valsts apdraudējumā izraisīšanā atbildīgo valsti </a:t>
            </a:r>
            <a:r>
              <a:rPr lang="lv-LV" sz="1200">
                <a:solidFill>
                  <a:schemeClr val="tx1"/>
                </a:solidFill>
              </a:rPr>
              <a:t>un tās fiziskajām un juridiskajām personām</a:t>
            </a:r>
          </a:p>
        </p:txBody>
      </p:sp>
      <p:sp>
        <p:nvSpPr>
          <p:cNvPr id="44" name="Rectangle 43">
            <a:extLst>
              <a:ext uri="{FF2B5EF4-FFF2-40B4-BE49-F238E27FC236}">
                <a16:creationId xmlns:a16="http://schemas.microsoft.com/office/drawing/2014/main" id="{3059FFBF-6C6A-4892-2611-202B20CDF34F}"/>
              </a:ext>
            </a:extLst>
          </p:cNvPr>
          <p:cNvSpPr/>
          <p:nvPr/>
        </p:nvSpPr>
        <p:spPr>
          <a:xfrm>
            <a:off x="442913" y="3506987"/>
            <a:ext cx="576000" cy="911301"/>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a:lnSpc>
                <a:spcPct val="100000"/>
              </a:lnSpc>
            </a:pPr>
            <a:r>
              <a:rPr lang="lv-LV" sz="2000" b="1"/>
              <a:t>1</a:t>
            </a:r>
            <a:r>
              <a:rPr lang="en-US" sz="2000" b="1"/>
              <a:t>3</a:t>
            </a:r>
            <a:endParaRPr lang="lv-LV" sz="2000" b="1"/>
          </a:p>
        </p:txBody>
      </p:sp>
      <p:sp>
        <p:nvSpPr>
          <p:cNvPr id="23" name="Rectangle 22">
            <a:extLst>
              <a:ext uri="{FF2B5EF4-FFF2-40B4-BE49-F238E27FC236}">
                <a16:creationId xmlns:a16="http://schemas.microsoft.com/office/drawing/2014/main" id="{B285B1A9-5FD7-D286-0263-BDDA47CD84FC}"/>
              </a:ext>
            </a:extLst>
          </p:cNvPr>
          <p:cNvSpPr/>
          <p:nvPr/>
        </p:nvSpPr>
        <p:spPr>
          <a:xfrm>
            <a:off x="1144242" y="4582598"/>
            <a:ext cx="4772372" cy="70723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b="1">
                <a:solidFill>
                  <a:schemeClr val="tx1"/>
                </a:solidFill>
              </a:rPr>
              <a:t>Karatiesu darbības uzsākšanu</a:t>
            </a:r>
            <a:r>
              <a:rPr lang="lv-LV" sz="1200">
                <a:solidFill>
                  <a:schemeClr val="tx1"/>
                </a:solidFill>
              </a:rPr>
              <a:t>, kā arī īpašu kārtību un termiņus valsts drošības iestāžu </a:t>
            </a:r>
            <a:r>
              <a:rPr lang="lv-LV" sz="1200" b="1">
                <a:solidFill>
                  <a:schemeClr val="tx1"/>
                </a:solidFill>
              </a:rPr>
              <a:t>operatīvo un kriminālprocesuālo darbību veikšanai</a:t>
            </a:r>
          </a:p>
        </p:txBody>
      </p:sp>
      <p:sp>
        <p:nvSpPr>
          <p:cNvPr id="47" name="Rectangle 46">
            <a:extLst>
              <a:ext uri="{FF2B5EF4-FFF2-40B4-BE49-F238E27FC236}">
                <a16:creationId xmlns:a16="http://schemas.microsoft.com/office/drawing/2014/main" id="{7CC6E599-8343-DBA8-C499-038C17FC9A02}"/>
              </a:ext>
            </a:extLst>
          </p:cNvPr>
          <p:cNvSpPr/>
          <p:nvPr/>
        </p:nvSpPr>
        <p:spPr>
          <a:xfrm>
            <a:off x="442913" y="4583061"/>
            <a:ext cx="576000" cy="707236"/>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a:lnSpc>
                <a:spcPct val="100000"/>
              </a:lnSpc>
            </a:pPr>
            <a:r>
              <a:rPr lang="lv-LV" sz="2000" b="1"/>
              <a:t>1</a:t>
            </a:r>
            <a:r>
              <a:rPr lang="en-US" sz="2000" b="1"/>
              <a:t>4</a:t>
            </a:r>
            <a:endParaRPr lang="lv-LV" sz="2000" b="1"/>
          </a:p>
        </p:txBody>
      </p:sp>
      <p:sp>
        <p:nvSpPr>
          <p:cNvPr id="24" name="Rectangle 23">
            <a:extLst>
              <a:ext uri="{FF2B5EF4-FFF2-40B4-BE49-F238E27FC236}">
                <a16:creationId xmlns:a16="http://schemas.microsoft.com/office/drawing/2014/main" id="{85A647CD-F728-A196-CBAF-3E4BB87AD2EB}"/>
              </a:ext>
            </a:extLst>
          </p:cNvPr>
          <p:cNvSpPr/>
          <p:nvPr/>
        </p:nvSpPr>
        <p:spPr>
          <a:xfrm>
            <a:off x="1144242" y="5454564"/>
            <a:ext cx="4772372" cy="717551"/>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200">
                <a:solidFill>
                  <a:schemeClr val="tx1"/>
                </a:solidFill>
              </a:rPr>
              <a:t>Īpašu regulējumu pensiju, pabalstu un </a:t>
            </a:r>
            <a:r>
              <a:rPr lang="lv-LV" sz="1200" b="1">
                <a:solidFill>
                  <a:schemeClr val="tx1"/>
                </a:solidFill>
              </a:rPr>
              <a:t>atlīdzību izmaksu veikšanai un sociālās palīdzības nodrošināšanai</a:t>
            </a:r>
            <a:r>
              <a:rPr lang="lv-LV" sz="1200">
                <a:solidFill>
                  <a:schemeClr val="tx1"/>
                </a:solidFill>
              </a:rPr>
              <a:t>, kā arī īpašu nodokļu maksāšanas un pārmaksāto nodokļu atmaksāšanas veidu un kārtību</a:t>
            </a:r>
          </a:p>
        </p:txBody>
      </p:sp>
      <p:sp>
        <p:nvSpPr>
          <p:cNvPr id="50" name="Rectangle 49">
            <a:extLst>
              <a:ext uri="{FF2B5EF4-FFF2-40B4-BE49-F238E27FC236}">
                <a16:creationId xmlns:a16="http://schemas.microsoft.com/office/drawing/2014/main" id="{5C8EF04C-E54F-0070-5E45-D8BA791CF7BE}"/>
              </a:ext>
            </a:extLst>
          </p:cNvPr>
          <p:cNvSpPr/>
          <p:nvPr/>
        </p:nvSpPr>
        <p:spPr>
          <a:xfrm>
            <a:off x="442913" y="5455069"/>
            <a:ext cx="576000" cy="717046"/>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oAutofit/>
          </a:bodyPr>
          <a:lstStyle/>
          <a:p>
            <a:pPr algn="ctr">
              <a:lnSpc>
                <a:spcPct val="100000"/>
              </a:lnSpc>
            </a:pPr>
            <a:r>
              <a:rPr lang="lv-LV" sz="2000" b="1"/>
              <a:t>1</a:t>
            </a:r>
            <a:r>
              <a:rPr lang="en-US" sz="2000" b="1"/>
              <a:t>5</a:t>
            </a:r>
            <a:endParaRPr lang="lv-LV" sz="2000" b="1"/>
          </a:p>
        </p:txBody>
      </p:sp>
      <p:sp>
        <p:nvSpPr>
          <p:cNvPr id="72" name="object 24">
            <a:extLst>
              <a:ext uri="{FF2B5EF4-FFF2-40B4-BE49-F238E27FC236}">
                <a16:creationId xmlns:a16="http://schemas.microsoft.com/office/drawing/2014/main" id="{A91771DC-D1A3-5745-DF45-3AC32AB1D932}"/>
              </a:ext>
            </a:extLst>
          </p:cNvPr>
          <p:cNvSpPr txBox="1">
            <a:spLocks noGrp="1"/>
          </p:cNvSpPr>
          <p:nvPr>
            <p:ph type="sldNum" sz="quarter" idx="11"/>
          </p:nvPr>
        </p:nvSpPr>
        <p:spPr>
          <a:xfrm>
            <a:off x="9984296" y="6492240"/>
            <a:ext cx="1764792" cy="137160"/>
          </a:xfrm>
        </p:spPr>
        <p:txBody>
          <a:bodyPr vert="horz" wrap="square" lIns="0" tIns="0" rIns="0" bIns="0" rtlCol="0">
            <a:spAutoFit/>
          </a:bodyPr>
          <a:lstStyle>
            <a:defPPr>
              <a:defRPr kern="0"/>
            </a:defPPr>
            <a:lvl1pPr>
              <a:defRPr sz="900" b="0" i="0">
                <a:solidFill>
                  <a:srgbClr val="888888"/>
                </a:solidFill>
                <a:latin typeface="Calibri"/>
                <a:cs typeface="Calibri"/>
              </a:defRPr>
            </a:lvl1pPr>
          </a:lstStyle>
          <a:p>
            <a:fld id="{81D60167-4931-47E6-BA6A-407CBD079E47}" type="slidenum">
              <a:rPr lang="lv-LV" smtClean="0"/>
              <a:pPr/>
              <a:t>30</a:t>
            </a:fld>
            <a:endParaRPr lang="lv-LV"/>
          </a:p>
        </p:txBody>
      </p:sp>
      <p:sp>
        <p:nvSpPr>
          <p:cNvPr id="2" name="Rectangle 1">
            <a:extLst>
              <a:ext uri="{FF2B5EF4-FFF2-40B4-BE49-F238E27FC236}">
                <a16:creationId xmlns:a16="http://schemas.microsoft.com/office/drawing/2014/main" id="{55F28B99-E68D-1546-7DDE-E49FDAF4A7EA}"/>
              </a:ext>
            </a:extLst>
          </p:cNvPr>
          <p:cNvSpPr/>
          <p:nvPr/>
        </p:nvSpPr>
        <p:spPr>
          <a:xfrm>
            <a:off x="6275389" y="1820863"/>
            <a:ext cx="5468564" cy="4351252"/>
          </a:xfrm>
          <a:prstGeom prst="rect">
            <a:avLst/>
          </a:prstGeom>
          <a:blipFill dpi="0" rotWithShape="1">
            <a:blip r:embed="rId3">
              <a:extLst>
                <a:ext uri="{28A0092B-C50C-407E-A947-70E740481C1C}">
                  <a14:useLocalDpi xmlns:a14="http://schemas.microsoft.com/office/drawing/2010/main" val="0"/>
                </a:ext>
              </a:extLst>
            </a:blip>
            <a:srcRect/>
            <a:stretch>
              <a:fillRect/>
            </a:stretch>
          </a:blip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endParaRPr lang="lv-LV" sz="1200" b="1">
              <a:solidFill>
                <a:schemeClr val="tx1"/>
              </a:solidFill>
            </a:endParaRPr>
          </a:p>
        </p:txBody>
      </p:sp>
      <p:sp>
        <p:nvSpPr>
          <p:cNvPr id="25" name="Rectangle 24">
            <a:extLst>
              <a:ext uri="{FF2B5EF4-FFF2-40B4-BE49-F238E27FC236}">
                <a16:creationId xmlns:a16="http://schemas.microsoft.com/office/drawing/2014/main" id="{8263F4B8-DB9A-0390-0ECF-685526E04FB3}"/>
              </a:ext>
            </a:extLst>
          </p:cNvPr>
          <p:cNvSpPr/>
          <p:nvPr/>
        </p:nvSpPr>
        <p:spPr>
          <a:xfrm>
            <a:off x="442912" y="6341400"/>
            <a:ext cx="3200400" cy="36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6" name="Freeform 50">
            <a:extLst>
              <a:ext uri="{FF2B5EF4-FFF2-40B4-BE49-F238E27FC236}">
                <a16:creationId xmlns:a16="http://schemas.microsoft.com/office/drawing/2014/main" id="{1F1E8CAE-0601-F0E1-1011-65537AC625DE}"/>
              </a:ext>
            </a:extLst>
          </p:cNvPr>
          <p:cNvSpPr>
            <a:spLocks noChangeAspect="1"/>
          </p:cNvSpPr>
          <p:nvPr/>
        </p:nvSpPr>
        <p:spPr bwMode="auto">
          <a:xfrm>
            <a:off x="620569" y="6410325"/>
            <a:ext cx="220688" cy="222150"/>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7" name="Google Shape;2685;p25">
            <a:extLst>
              <a:ext uri="{FF2B5EF4-FFF2-40B4-BE49-F238E27FC236}">
                <a16:creationId xmlns:a16="http://schemas.microsoft.com/office/drawing/2014/main" id="{8D2DE23E-069C-E84C-3D1F-DC6A7ABF8E13}"/>
              </a:ext>
            </a:extLst>
          </p:cNvPr>
          <p:cNvSpPr txBox="1"/>
          <p:nvPr/>
        </p:nvSpPr>
        <p:spPr>
          <a:xfrm>
            <a:off x="950595" y="6444456"/>
            <a:ext cx="2560320" cy="153888"/>
          </a:xfrm>
          <a:prstGeom prst="rect">
            <a:avLst/>
          </a:prstGeom>
          <a:noFill/>
          <a:ln>
            <a:noFill/>
          </a:ln>
        </p:spPr>
        <p:txBody>
          <a:bodyPr spcFirstLastPara="1" wrap="square" lIns="0" tIns="0" rIns="72000" bIns="0" anchor="ctr" anchorCtr="0">
            <a:spAutoFit/>
          </a:bodyPr>
          <a:lstStyle/>
          <a:p>
            <a:r>
              <a:rPr lang="lv-LV" sz="1000" i="0">
                <a:effectLst/>
                <a:latin typeface="Arial" panose="020B0604020202020204" pitchFamily="34" charset="0"/>
                <a:hlinkClick r:id="rId4">
                  <a:extLst>
                    <a:ext uri="{A12FA001-AC4F-418D-AE19-62706E023703}">
                      <ahyp:hlinkClr xmlns:ahyp="http://schemas.microsoft.com/office/drawing/2018/hyperlinkcolor" val="tx"/>
                    </a:ext>
                  </a:extLst>
                </a:hlinkClick>
              </a:rPr>
              <a:t>Par ārkārtējo situāciju un izņēmuma stāvokli</a:t>
            </a:r>
            <a:endParaRPr lang="lv-LV" sz="1000"/>
          </a:p>
        </p:txBody>
      </p:sp>
      <p:sp>
        <p:nvSpPr>
          <p:cNvPr id="3" name="Rectangle 2">
            <a:extLst>
              <a:ext uri="{FF2B5EF4-FFF2-40B4-BE49-F238E27FC236}">
                <a16:creationId xmlns:a16="http://schemas.microsoft.com/office/drawing/2014/main" id="{A810622E-1DC6-3A6A-4471-12536EFD6CD5}"/>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rgbClr val="A4A3B2"/>
                </a:solidFill>
                <a:effectLst/>
                <a:uLnTx/>
                <a:uFillTx/>
                <a:ea typeface="Georgia"/>
                <a:cs typeface="Georgia"/>
                <a:sym typeface="Georgia"/>
              </a:rPr>
              <a:t>2. CIVILĀS AIZSARDZĪBAS SISTĒMA UN NORMATĪVAIS UN POLITIKAS PLĀNOŠANAS IETVARS</a:t>
            </a:r>
          </a:p>
        </p:txBody>
      </p:sp>
      <p:grpSp>
        <p:nvGrpSpPr>
          <p:cNvPr id="37" name="Group 36">
            <a:extLst>
              <a:ext uri="{FF2B5EF4-FFF2-40B4-BE49-F238E27FC236}">
                <a16:creationId xmlns:a16="http://schemas.microsoft.com/office/drawing/2014/main" id="{018D9F7E-FBDC-E589-CD13-C0E8D0B821BB}"/>
              </a:ext>
            </a:extLst>
          </p:cNvPr>
          <p:cNvGrpSpPr/>
          <p:nvPr/>
        </p:nvGrpSpPr>
        <p:grpSpPr>
          <a:xfrm>
            <a:off x="6406877" y="127593"/>
            <a:ext cx="5342171" cy="220690"/>
            <a:chOff x="6167418" y="135399"/>
            <a:chExt cx="5342171" cy="220690"/>
          </a:xfrm>
        </p:grpSpPr>
        <p:sp>
          <p:nvSpPr>
            <p:cNvPr id="38" name="Rectangle 37">
              <a:extLst>
                <a:ext uri="{FF2B5EF4-FFF2-40B4-BE49-F238E27FC236}">
                  <a16:creationId xmlns:a16="http://schemas.microsoft.com/office/drawing/2014/main" id="{9074AD20-73C5-2CE3-FA1E-B97E942D70DE}"/>
                </a:ext>
              </a:extLst>
            </p:cNvPr>
            <p:cNvSpPr/>
            <p:nvPr/>
          </p:nvSpPr>
          <p:spPr>
            <a:xfrm>
              <a:off x="6167418" y="13860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9" name="Rectangle 38">
              <a:extLst>
                <a:ext uri="{FF2B5EF4-FFF2-40B4-BE49-F238E27FC236}">
                  <a16:creationId xmlns:a16="http://schemas.microsoft.com/office/drawing/2014/main" id="{69E8B370-1EDC-0830-FF9D-356549120B5C}"/>
                </a:ext>
              </a:extLst>
            </p:cNvPr>
            <p:cNvSpPr/>
            <p:nvPr/>
          </p:nvSpPr>
          <p:spPr>
            <a:xfrm>
              <a:off x="6409245" y="13860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40" name="Rectangle 39">
              <a:extLst>
                <a:ext uri="{FF2B5EF4-FFF2-40B4-BE49-F238E27FC236}">
                  <a16:creationId xmlns:a16="http://schemas.microsoft.com/office/drawing/2014/main" id="{7BC96139-71A1-962D-7F03-F84C05AF0B1F}"/>
                </a:ext>
              </a:extLst>
            </p:cNvPr>
            <p:cNvSpPr/>
            <p:nvPr/>
          </p:nvSpPr>
          <p:spPr>
            <a:xfrm>
              <a:off x="6651072" y="138601"/>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2" name="Rectangle 41">
              <a:extLst>
                <a:ext uri="{FF2B5EF4-FFF2-40B4-BE49-F238E27FC236}">
                  <a16:creationId xmlns:a16="http://schemas.microsoft.com/office/drawing/2014/main" id="{3E808E45-D5F2-1A47-6C48-CDF0032D2FF0}"/>
                </a:ext>
              </a:extLst>
            </p:cNvPr>
            <p:cNvSpPr/>
            <p:nvPr/>
          </p:nvSpPr>
          <p:spPr>
            <a:xfrm>
              <a:off x="7369589" y="135399"/>
              <a:ext cx="414000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lv-LV" sz="800" b="1"/>
                <a:t>Īpašie tiesiskie režīmi</a:t>
              </a:r>
            </a:p>
          </p:txBody>
        </p:sp>
        <p:sp>
          <p:nvSpPr>
            <p:cNvPr id="43" name="Rectangle 42">
              <a:extLst>
                <a:ext uri="{FF2B5EF4-FFF2-40B4-BE49-F238E27FC236}">
                  <a16:creationId xmlns:a16="http://schemas.microsoft.com/office/drawing/2014/main" id="{C852C49E-205D-91AF-8DA0-8C8D58BF8213}"/>
                </a:ext>
              </a:extLst>
            </p:cNvPr>
            <p:cNvSpPr/>
            <p:nvPr/>
          </p:nvSpPr>
          <p:spPr>
            <a:xfrm>
              <a:off x="7127762" y="135399"/>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5</a:t>
              </a:r>
              <a:endParaRPr kumimoji="0" lang="lv-LV" sz="800" b="1" i="0" u="none" strike="noStrike" kern="0" cap="none" spc="0" normalizeH="0" baseline="0">
                <a:ln>
                  <a:noFill/>
                </a:ln>
                <a:effectLst/>
                <a:uLnTx/>
                <a:uFillTx/>
                <a:ea typeface="Georgia"/>
                <a:cs typeface="Georgia"/>
                <a:sym typeface="Georgia"/>
              </a:endParaRPr>
            </a:p>
          </p:txBody>
        </p:sp>
        <p:sp>
          <p:nvSpPr>
            <p:cNvPr id="45" name="Rectangle 44">
              <a:extLst>
                <a:ext uri="{FF2B5EF4-FFF2-40B4-BE49-F238E27FC236}">
                  <a16:creationId xmlns:a16="http://schemas.microsoft.com/office/drawing/2014/main" id="{A42BEDEE-E30F-046B-0715-FC740ECB3B10}"/>
                </a:ext>
              </a:extLst>
            </p:cNvPr>
            <p:cNvSpPr/>
            <p:nvPr/>
          </p:nvSpPr>
          <p:spPr>
            <a:xfrm>
              <a:off x="6892899" y="13860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162257924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9" name="Straight Connector 28">
            <a:extLst>
              <a:ext uri="{FF2B5EF4-FFF2-40B4-BE49-F238E27FC236}">
                <a16:creationId xmlns:a16="http://schemas.microsoft.com/office/drawing/2014/main" id="{605453FF-65C6-B8C2-3CA2-CA5F5E13A29C}"/>
              </a:ext>
            </a:extLst>
          </p:cNvPr>
          <p:cNvCxnSpPr>
            <a:cxnSpLocks/>
          </p:cNvCxnSpPr>
          <p:nvPr/>
        </p:nvCxnSpPr>
        <p:spPr>
          <a:xfrm>
            <a:off x="442913" y="3914286"/>
            <a:ext cx="4338317" cy="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1" name="Straight Connector 30">
            <a:extLst>
              <a:ext uri="{FF2B5EF4-FFF2-40B4-BE49-F238E27FC236}">
                <a16:creationId xmlns:a16="http://schemas.microsoft.com/office/drawing/2014/main" id="{E77C4D18-AC05-FF4F-948B-D8BFF9D05621}"/>
              </a:ext>
            </a:extLst>
          </p:cNvPr>
          <p:cNvCxnSpPr>
            <a:cxnSpLocks/>
          </p:cNvCxnSpPr>
          <p:nvPr/>
        </p:nvCxnSpPr>
        <p:spPr>
          <a:xfrm>
            <a:off x="442913" y="3071327"/>
            <a:ext cx="4338317" cy="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3" name="Straight Connector 32">
            <a:extLst>
              <a:ext uri="{FF2B5EF4-FFF2-40B4-BE49-F238E27FC236}">
                <a16:creationId xmlns:a16="http://schemas.microsoft.com/office/drawing/2014/main" id="{B671A0D1-39AE-0EBE-61C1-EA92162060F3}"/>
              </a:ext>
            </a:extLst>
          </p:cNvPr>
          <p:cNvCxnSpPr>
            <a:cxnSpLocks/>
          </p:cNvCxnSpPr>
          <p:nvPr/>
        </p:nvCxnSpPr>
        <p:spPr>
          <a:xfrm flipV="1">
            <a:off x="442913" y="3467223"/>
            <a:ext cx="4338317" cy="25584"/>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4" name="Straight Connector 33">
            <a:extLst>
              <a:ext uri="{FF2B5EF4-FFF2-40B4-BE49-F238E27FC236}">
                <a16:creationId xmlns:a16="http://schemas.microsoft.com/office/drawing/2014/main" id="{7D5E653D-1CB6-B545-AECA-B6524FA9ED2E}"/>
              </a:ext>
            </a:extLst>
          </p:cNvPr>
          <p:cNvCxnSpPr>
            <a:cxnSpLocks/>
          </p:cNvCxnSpPr>
          <p:nvPr/>
        </p:nvCxnSpPr>
        <p:spPr>
          <a:xfrm>
            <a:off x="442913" y="2649848"/>
            <a:ext cx="4338317" cy="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54" name="Satura vietturis 2">
            <a:extLst>
              <a:ext uri="{FF2B5EF4-FFF2-40B4-BE49-F238E27FC236}">
                <a16:creationId xmlns:a16="http://schemas.microsoft.com/office/drawing/2014/main" id="{C621D0D4-EFB9-941F-BBD0-AEE7AF7C6F7A}"/>
              </a:ext>
            </a:extLst>
          </p:cNvPr>
          <p:cNvSpPr txBox="1">
            <a:spLocks/>
          </p:cNvSpPr>
          <p:nvPr/>
        </p:nvSpPr>
        <p:spPr>
          <a:xfrm>
            <a:off x="442914" y="2268186"/>
            <a:ext cx="2435581" cy="345208"/>
          </a:xfrm>
          <a:prstGeom prst="rect">
            <a:avLst/>
          </a:prstGeom>
          <a:noFill/>
        </p:spPr>
        <p:txBody>
          <a:bodyPr vert="horz" wrap="square" lIns="0" tIns="72000" rIns="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800" b="0">
                <a:solidFill>
                  <a:schemeClr val="tx1"/>
                </a:solidFill>
              </a:rPr>
              <a:t>Satversme nosaka cilvēka </a:t>
            </a:r>
            <a:r>
              <a:rPr lang="lv-LV" altLang="lv-LV" sz="800" b="0" err="1">
                <a:solidFill>
                  <a:schemeClr val="tx1"/>
                </a:solidFill>
              </a:rPr>
              <a:t>pamattiesības</a:t>
            </a:r>
            <a:r>
              <a:rPr lang="lv-LV" altLang="lv-LV" sz="800" b="0">
                <a:solidFill>
                  <a:schemeClr val="tx1"/>
                </a:solidFill>
              </a:rPr>
              <a:t> (89.-116.pants)</a:t>
            </a:r>
          </a:p>
        </p:txBody>
      </p:sp>
      <p:sp>
        <p:nvSpPr>
          <p:cNvPr id="55" name="Satura vietturis 2">
            <a:extLst>
              <a:ext uri="{FF2B5EF4-FFF2-40B4-BE49-F238E27FC236}">
                <a16:creationId xmlns:a16="http://schemas.microsoft.com/office/drawing/2014/main" id="{9B3F9703-6E55-E8A0-2A0D-7A1DFB1BA252}"/>
              </a:ext>
            </a:extLst>
          </p:cNvPr>
          <p:cNvSpPr txBox="1">
            <a:spLocks/>
          </p:cNvSpPr>
          <p:nvPr/>
        </p:nvSpPr>
        <p:spPr>
          <a:xfrm>
            <a:off x="442915" y="3056762"/>
            <a:ext cx="2056442" cy="436045"/>
          </a:xfrm>
          <a:prstGeom prst="rect">
            <a:avLst/>
          </a:prstGeom>
          <a:noFill/>
        </p:spPr>
        <p:txBody>
          <a:bodyPr vert="horz" wrap="square" lIns="0" tIns="72000" rIns="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800" b="0">
                <a:solidFill>
                  <a:schemeClr val="tx1"/>
                </a:solidFill>
              </a:rPr>
              <a:t>Civilās aizsardzības un katastrofas pārvaldīšanas likums (CAKPL) nosaka rīcību katastrofas vai katastrofas draudu gadījumā</a:t>
            </a:r>
          </a:p>
        </p:txBody>
      </p:sp>
      <p:sp>
        <p:nvSpPr>
          <p:cNvPr id="56" name="Satura vietturis 2">
            <a:extLst>
              <a:ext uri="{FF2B5EF4-FFF2-40B4-BE49-F238E27FC236}">
                <a16:creationId xmlns:a16="http://schemas.microsoft.com/office/drawing/2014/main" id="{0BB3A2EE-1FC8-B319-5738-B068DDF3BEF7}"/>
              </a:ext>
            </a:extLst>
          </p:cNvPr>
          <p:cNvSpPr txBox="1">
            <a:spLocks/>
          </p:cNvSpPr>
          <p:nvPr/>
        </p:nvSpPr>
        <p:spPr>
          <a:xfrm>
            <a:off x="442913" y="3570680"/>
            <a:ext cx="1866875" cy="299868"/>
          </a:xfrm>
          <a:prstGeom prst="rect">
            <a:avLst/>
          </a:prstGeom>
          <a:noFill/>
        </p:spPr>
        <p:txBody>
          <a:bodyPr vert="horz" wrap="square" lIns="0" tIns="72000" rIns="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800" b="0">
                <a:solidFill>
                  <a:schemeClr val="tx1"/>
                </a:solidFill>
              </a:rPr>
              <a:t>Ministru Kabineta noteikumi tiek izdoti, lai nodrošinātu civilās aizsardzības sistēmas darbību</a:t>
            </a:r>
          </a:p>
        </p:txBody>
      </p:sp>
      <p:grpSp>
        <p:nvGrpSpPr>
          <p:cNvPr id="77" name="Group 76">
            <a:extLst>
              <a:ext uri="{FF2B5EF4-FFF2-40B4-BE49-F238E27FC236}">
                <a16:creationId xmlns:a16="http://schemas.microsoft.com/office/drawing/2014/main" id="{9AAE2C80-8C84-4FF4-AAD5-BEE113F692E5}"/>
              </a:ext>
            </a:extLst>
          </p:cNvPr>
          <p:cNvGrpSpPr/>
          <p:nvPr/>
        </p:nvGrpSpPr>
        <p:grpSpPr>
          <a:xfrm>
            <a:off x="2120220" y="2228368"/>
            <a:ext cx="1895692" cy="2107398"/>
            <a:chOff x="1537767" y="1819276"/>
            <a:chExt cx="2119833" cy="2107398"/>
          </a:xfrm>
        </p:grpSpPr>
        <p:sp>
          <p:nvSpPr>
            <p:cNvPr id="47" name="Freeform: Shape 46">
              <a:extLst>
                <a:ext uri="{FF2B5EF4-FFF2-40B4-BE49-F238E27FC236}">
                  <a16:creationId xmlns:a16="http://schemas.microsoft.com/office/drawing/2014/main" id="{7E9CE438-CF22-6BD2-077B-3CDB4C77B189}"/>
                </a:ext>
              </a:extLst>
            </p:cNvPr>
            <p:cNvSpPr/>
            <p:nvPr/>
          </p:nvSpPr>
          <p:spPr>
            <a:xfrm>
              <a:off x="1537767" y="3505194"/>
              <a:ext cx="2119833" cy="421480"/>
            </a:xfrm>
            <a:custGeom>
              <a:avLst/>
              <a:gdLst>
                <a:gd name="connsiteX0" fmla="*/ 0 w 5949107"/>
                <a:gd name="connsiteY0" fmla="*/ 977563 h 977563"/>
                <a:gd name="connsiteX1" fmla="*/ 594916 w 5949107"/>
                <a:gd name="connsiteY1" fmla="*/ 0 h 977563"/>
                <a:gd name="connsiteX2" fmla="*/ 5354191 w 5949107"/>
                <a:gd name="connsiteY2" fmla="*/ 0 h 977563"/>
                <a:gd name="connsiteX3" fmla="*/ 5949107 w 5949107"/>
                <a:gd name="connsiteY3" fmla="*/ 977563 h 977563"/>
                <a:gd name="connsiteX4" fmla="*/ 0 w 5949107"/>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9107" h="977563">
                  <a:moveTo>
                    <a:pt x="0" y="977563"/>
                  </a:moveTo>
                  <a:lnTo>
                    <a:pt x="594916" y="0"/>
                  </a:lnTo>
                  <a:lnTo>
                    <a:pt x="5354191" y="0"/>
                  </a:lnTo>
                  <a:lnTo>
                    <a:pt x="5949107" y="977563"/>
                  </a:lnTo>
                  <a:lnTo>
                    <a:pt x="0" y="977563"/>
                  </a:lnTo>
                  <a:close/>
                </a:path>
              </a:pathLst>
            </a:custGeom>
            <a:solidFill>
              <a:srgbClr val="CFD6E8"/>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65223" tIns="24130" rIns="1065224" bIns="24130" numCol="1" spcCol="1270" anchor="ctr" anchorCtr="0">
              <a:noAutofit/>
            </a:bodyPr>
            <a:lstStyle/>
            <a:p>
              <a:pPr marL="0" lvl="0" indent="0" algn="ctr" defTabSz="844550" rtl="0">
                <a:lnSpc>
                  <a:spcPct val="90000"/>
                </a:lnSpc>
                <a:spcBef>
                  <a:spcPct val="0"/>
                </a:spcBef>
                <a:spcAft>
                  <a:spcPct val="35000"/>
                </a:spcAft>
                <a:buNone/>
              </a:pPr>
              <a:endParaRPr lang="lv-LV" sz="800" kern="1200">
                <a:solidFill>
                  <a:schemeClr val="tx1"/>
                </a:solidFill>
              </a:endParaRPr>
            </a:p>
          </p:txBody>
        </p:sp>
        <p:sp>
          <p:nvSpPr>
            <p:cNvPr id="58" name="Freeform: Shape 57">
              <a:extLst>
                <a:ext uri="{FF2B5EF4-FFF2-40B4-BE49-F238E27FC236}">
                  <a16:creationId xmlns:a16="http://schemas.microsoft.com/office/drawing/2014/main" id="{74C6CD5F-6322-0B67-0351-57B3E2BC0B49}"/>
                </a:ext>
              </a:extLst>
            </p:cNvPr>
            <p:cNvSpPr/>
            <p:nvPr/>
          </p:nvSpPr>
          <p:spPr>
            <a:xfrm>
              <a:off x="2385700" y="1819276"/>
              <a:ext cx="423967" cy="421480"/>
            </a:xfrm>
            <a:custGeom>
              <a:avLst/>
              <a:gdLst>
                <a:gd name="connsiteX0" fmla="*/ 0 w 1189821"/>
                <a:gd name="connsiteY0" fmla="*/ 977563 h 977563"/>
                <a:gd name="connsiteX1" fmla="*/ 594911 w 1189821"/>
                <a:gd name="connsiteY1" fmla="*/ 0 h 977563"/>
                <a:gd name="connsiteX2" fmla="*/ 594911 w 1189821"/>
                <a:gd name="connsiteY2" fmla="*/ 0 h 977563"/>
                <a:gd name="connsiteX3" fmla="*/ 1189821 w 1189821"/>
                <a:gd name="connsiteY3" fmla="*/ 977563 h 977563"/>
                <a:gd name="connsiteX4" fmla="*/ 0 w 1189821"/>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821" h="977563">
                  <a:moveTo>
                    <a:pt x="0" y="977563"/>
                  </a:moveTo>
                  <a:lnTo>
                    <a:pt x="594911" y="0"/>
                  </a:lnTo>
                  <a:lnTo>
                    <a:pt x="594911" y="0"/>
                  </a:lnTo>
                  <a:lnTo>
                    <a:pt x="1189821" y="977563"/>
                  </a:lnTo>
                  <a:lnTo>
                    <a:pt x="0" y="977563"/>
                  </a:lnTo>
                  <a:close/>
                </a:path>
              </a:pathLst>
            </a:custGeom>
            <a:solidFill>
              <a:srgbClr val="D18D85"/>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endParaRPr lang="lv-LV" sz="800" kern="1200">
                <a:solidFill>
                  <a:schemeClr val="tx1"/>
                </a:solidFill>
              </a:endParaRPr>
            </a:p>
          </p:txBody>
        </p:sp>
        <p:sp>
          <p:nvSpPr>
            <p:cNvPr id="59" name="Freeform: Shape 58">
              <a:extLst>
                <a:ext uri="{FF2B5EF4-FFF2-40B4-BE49-F238E27FC236}">
                  <a16:creationId xmlns:a16="http://schemas.microsoft.com/office/drawing/2014/main" id="{B0F2CBDC-D0F4-DF1E-9A92-F9B27405180E}"/>
                </a:ext>
              </a:extLst>
            </p:cNvPr>
            <p:cNvSpPr/>
            <p:nvPr/>
          </p:nvSpPr>
          <p:spPr>
            <a:xfrm>
              <a:off x="2173717" y="2240756"/>
              <a:ext cx="847933" cy="421480"/>
            </a:xfrm>
            <a:custGeom>
              <a:avLst/>
              <a:gdLst>
                <a:gd name="connsiteX0" fmla="*/ 0 w 2379643"/>
                <a:gd name="connsiteY0" fmla="*/ 977563 h 977563"/>
                <a:gd name="connsiteX1" fmla="*/ 594916 w 2379643"/>
                <a:gd name="connsiteY1" fmla="*/ 0 h 977563"/>
                <a:gd name="connsiteX2" fmla="*/ 1784727 w 2379643"/>
                <a:gd name="connsiteY2" fmla="*/ 0 h 977563"/>
                <a:gd name="connsiteX3" fmla="*/ 2379643 w 2379643"/>
                <a:gd name="connsiteY3" fmla="*/ 977563 h 977563"/>
                <a:gd name="connsiteX4" fmla="*/ 0 w 2379643"/>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9643" h="977563">
                  <a:moveTo>
                    <a:pt x="0" y="977563"/>
                  </a:moveTo>
                  <a:lnTo>
                    <a:pt x="594916" y="0"/>
                  </a:lnTo>
                  <a:lnTo>
                    <a:pt x="1784727" y="0"/>
                  </a:lnTo>
                  <a:lnTo>
                    <a:pt x="2379643" y="977563"/>
                  </a:lnTo>
                  <a:lnTo>
                    <a:pt x="0" y="977563"/>
                  </a:lnTo>
                  <a:close/>
                </a:path>
              </a:pathLst>
            </a:custGeom>
            <a:solidFill>
              <a:srgbClr val="A8192D"/>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40567" tIns="24130" rIns="440568" bIns="24130" numCol="1" spcCol="1270" anchor="ctr" anchorCtr="0">
              <a:noAutofit/>
            </a:bodyPr>
            <a:lstStyle/>
            <a:p>
              <a:pPr marL="0" lvl="0" indent="0" algn="ctr" defTabSz="844550" rtl="0">
                <a:lnSpc>
                  <a:spcPct val="90000"/>
                </a:lnSpc>
                <a:spcBef>
                  <a:spcPct val="0"/>
                </a:spcBef>
                <a:spcAft>
                  <a:spcPct val="35000"/>
                </a:spcAft>
                <a:buNone/>
              </a:pPr>
              <a:endParaRPr lang="lv-LV" sz="800" kern="1200">
                <a:solidFill>
                  <a:schemeClr val="tx1"/>
                </a:solidFill>
              </a:endParaRPr>
            </a:p>
          </p:txBody>
        </p:sp>
        <p:sp>
          <p:nvSpPr>
            <p:cNvPr id="60" name="Freeform: Shape 59">
              <a:extLst>
                <a:ext uri="{FF2B5EF4-FFF2-40B4-BE49-F238E27FC236}">
                  <a16:creationId xmlns:a16="http://schemas.microsoft.com/office/drawing/2014/main" id="{F4CE42FC-2872-E7F9-E307-7D19F0AE3D86}"/>
                </a:ext>
              </a:extLst>
            </p:cNvPr>
            <p:cNvSpPr/>
            <p:nvPr/>
          </p:nvSpPr>
          <p:spPr>
            <a:xfrm>
              <a:off x="1961733" y="2662235"/>
              <a:ext cx="1271900" cy="421480"/>
            </a:xfrm>
            <a:custGeom>
              <a:avLst/>
              <a:gdLst>
                <a:gd name="connsiteX0" fmla="*/ 0 w 3569464"/>
                <a:gd name="connsiteY0" fmla="*/ 977563 h 977563"/>
                <a:gd name="connsiteX1" fmla="*/ 594916 w 3569464"/>
                <a:gd name="connsiteY1" fmla="*/ 0 h 977563"/>
                <a:gd name="connsiteX2" fmla="*/ 2974548 w 3569464"/>
                <a:gd name="connsiteY2" fmla="*/ 0 h 977563"/>
                <a:gd name="connsiteX3" fmla="*/ 3569464 w 3569464"/>
                <a:gd name="connsiteY3" fmla="*/ 977563 h 977563"/>
                <a:gd name="connsiteX4" fmla="*/ 0 w 3569464"/>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9464" h="977563">
                  <a:moveTo>
                    <a:pt x="0" y="977563"/>
                  </a:moveTo>
                  <a:lnTo>
                    <a:pt x="594916" y="0"/>
                  </a:lnTo>
                  <a:lnTo>
                    <a:pt x="2974548" y="0"/>
                  </a:lnTo>
                  <a:lnTo>
                    <a:pt x="3569464" y="977563"/>
                  </a:lnTo>
                  <a:lnTo>
                    <a:pt x="0" y="977563"/>
                  </a:lnTo>
                  <a:close/>
                </a:path>
              </a:pathLst>
            </a:custGeom>
            <a:solidFill>
              <a:srgbClr val="A4A3B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48786" tIns="24130" rIns="648786" bIns="24130" numCol="1" spcCol="1270" anchor="ctr" anchorCtr="0">
              <a:noAutofit/>
            </a:bodyPr>
            <a:lstStyle/>
            <a:p>
              <a:pPr marL="0" lvl="0" indent="0" algn="ctr" defTabSz="844550">
                <a:lnSpc>
                  <a:spcPct val="90000"/>
                </a:lnSpc>
                <a:spcBef>
                  <a:spcPct val="0"/>
                </a:spcBef>
                <a:spcAft>
                  <a:spcPct val="35000"/>
                </a:spcAft>
                <a:buNone/>
              </a:pPr>
              <a:endParaRPr lang="lv-LV" sz="800" kern="1200">
                <a:solidFill>
                  <a:schemeClr val="tx1"/>
                </a:solidFill>
              </a:endParaRPr>
            </a:p>
          </p:txBody>
        </p:sp>
        <p:sp>
          <p:nvSpPr>
            <p:cNvPr id="61" name="Freeform: Shape 60">
              <a:extLst>
                <a:ext uri="{FF2B5EF4-FFF2-40B4-BE49-F238E27FC236}">
                  <a16:creationId xmlns:a16="http://schemas.microsoft.com/office/drawing/2014/main" id="{CFEE0D06-9762-7D25-BED6-E9F2BFB26E44}"/>
                </a:ext>
              </a:extLst>
            </p:cNvPr>
            <p:cNvSpPr/>
            <p:nvPr/>
          </p:nvSpPr>
          <p:spPr>
            <a:xfrm>
              <a:off x="1749750" y="3083715"/>
              <a:ext cx="1695866" cy="421480"/>
            </a:xfrm>
            <a:custGeom>
              <a:avLst/>
              <a:gdLst>
                <a:gd name="connsiteX0" fmla="*/ 0 w 4759286"/>
                <a:gd name="connsiteY0" fmla="*/ 977563 h 977563"/>
                <a:gd name="connsiteX1" fmla="*/ 594916 w 4759286"/>
                <a:gd name="connsiteY1" fmla="*/ 0 h 977563"/>
                <a:gd name="connsiteX2" fmla="*/ 4164370 w 4759286"/>
                <a:gd name="connsiteY2" fmla="*/ 0 h 977563"/>
                <a:gd name="connsiteX3" fmla="*/ 4759286 w 4759286"/>
                <a:gd name="connsiteY3" fmla="*/ 977563 h 977563"/>
                <a:gd name="connsiteX4" fmla="*/ 0 w 4759286"/>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9286" h="977563">
                  <a:moveTo>
                    <a:pt x="0" y="977563"/>
                  </a:moveTo>
                  <a:lnTo>
                    <a:pt x="594916" y="0"/>
                  </a:lnTo>
                  <a:lnTo>
                    <a:pt x="4164370" y="0"/>
                  </a:lnTo>
                  <a:lnTo>
                    <a:pt x="4759286" y="977563"/>
                  </a:lnTo>
                  <a:lnTo>
                    <a:pt x="0" y="977563"/>
                  </a:lnTo>
                  <a:close/>
                </a:path>
              </a:pathLst>
            </a:custGeom>
            <a:solidFill>
              <a:srgbClr val="525A7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7005" tIns="24130" rIns="857005" bIns="24130" numCol="1" spcCol="1270" anchor="ctr" anchorCtr="0">
              <a:noAutofit/>
            </a:bodyPr>
            <a:lstStyle/>
            <a:p>
              <a:pPr marL="0" lvl="0" indent="0" algn="ctr" defTabSz="844550" rtl="0">
                <a:lnSpc>
                  <a:spcPct val="90000"/>
                </a:lnSpc>
                <a:spcBef>
                  <a:spcPct val="0"/>
                </a:spcBef>
                <a:spcAft>
                  <a:spcPct val="35000"/>
                </a:spcAft>
                <a:buNone/>
              </a:pPr>
              <a:endParaRPr lang="lv-LV" sz="800" kern="1200">
                <a:solidFill>
                  <a:schemeClr val="tx1"/>
                </a:solidFill>
              </a:endParaRPr>
            </a:p>
          </p:txBody>
        </p:sp>
      </p:grpSp>
      <p:sp>
        <p:nvSpPr>
          <p:cNvPr id="3" name="Slide Number Placeholder 2">
            <a:extLst>
              <a:ext uri="{FF2B5EF4-FFF2-40B4-BE49-F238E27FC236}">
                <a16:creationId xmlns:a16="http://schemas.microsoft.com/office/drawing/2014/main" id="{87027341-4259-0198-5A17-15CA72401BE4}"/>
              </a:ext>
            </a:extLst>
          </p:cNvPr>
          <p:cNvSpPr>
            <a:spLocks noGrp="1"/>
          </p:cNvSpPr>
          <p:nvPr>
            <p:ph type="sldNum" sz="quarter" idx="12"/>
          </p:nvPr>
        </p:nvSpPr>
        <p:spPr/>
        <p:txBody>
          <a:bodyPr/>
          <a:lstStyle/>
          <a:p>
            <a:fld id="{3EC6AC87-B589-456E-9CA9-7CF796F27D61}" type="slidenum">
              <a:rPr lang="en-GB" smtClean="0"/>
              <a:pPr/>
              <a:t>31</a:t>
            </a:fld>
            <a:endParaRPr lang="en-GB"/>
          </a:p>
        </p:txBody>
      </p:sp>
      <p:sp>
        <p:nvSpPr>
          <p:cNvPr id="7" name="Title 6">
            <a:extLst>
              <a:ext uri="{FF2B5EF4-FFF2-40B4-BE49-F238E27FC236}">
                <a16:creationId xmlns:a16="http://schemas.microsoft.com/office/drawing/2014/main" id="{39A2BCF4-A012-B3B7-B096-6BC32E5F8F1C}"/>
              </a:ext>
            </a:extLst>
          </p:cNvPr>
          <p:cNvSpPr>
            <a:spLocks noGrp="1"/>
          </p:cNvSpPr>
          <p:nvPr>
            <p:ph type="title"/>
          </p:nvPr>
        </p:nvSpPr>
        <p:spPr>
          <a:xfrm>
            <a:off x="442913" y="432001"/>
            <a:ext cx="11306175" cy="1387274"/>
          </a:xfrm>
        </p:spPr>
        <p:txBody>
          <a:bodyPr vert="horz"/>
          <a:lstStyle/>
          <a:p>
            <a:r>
              <a:rPr lang="lv-LV"/>
              <a:t>Noslēgumā</a:t>
            </a:r>
            <a:endParaRPr lang="en-GB"/>
          </a:p>
        </p:txBody>
      </p:sp>
      <p:sp>
        <p:nvSpPr>
          <p:cNvPr id="8" name="TextBox 7">
            <a:extLst>
              <a:ext uri="{FF2B5EF4-FFF2-40B4-BE49-F238E27FC236}">
                <a16:creationId xmlns:a16="http://schemas.microsoft.com/office/drawing/2014/main" id="{9714DF9C-D08D-B0FB-D2FA-7190468C2C79}"/>
              </a:ext>
            </a:extLst>
          </p:cNvPr>
          <p:cNvSpPr txBox="1"/>
          <p:nvPr/>
        </p:nvSpPr>
        <p:spPr>
          <a:xfrm>
            <a:off x="5092511" y="1817929"/>
            <a:ext cx="6656576" cy="360000"/>
          </a:xfrm>
          <a:prstGeom prst="rect">
            <a:avLst/>
          </a:prstGeom>
          <a:solidFill>
            <a:srgbClr val="A8192D"/>
          </a:solidFill>
        </p:spPr>
        <p:txBody>
          <a:bodyPr wrap="square" lIns="144000" tIns="36000" rIns="72000" bIns="36000" anchor="ctr" anchorCtr="0">
            <a:noAutofit/>
          </a:bodyPr>
          <a:lstStyle/>
          <a:p>
            <a:pPr defTabSz="822960">
              <a:spcAft>
                <a:spcPts val="270"/>
              </a:spcAft>
              <a:defRPr/>
            </a:pPr>
            <a:r>
              <a:rPr lang="lv-LV" sz="1200" b="1">
                <a:solidFill>
                  <a:schemeClr val="bg1"/>
                </a:solidFill>
                <a:ea typeface="Times New Roman" panose="02020603050405020304" pitchFamily="18" charset="0"/>
                <a:cs typeface="Times New Roman" panose="02020603050405020304" pitchFamily="18" charset="0"/>
              </a:rPr>
              <a:t>Civilās aizsardzības un katastrofas pārvaldīšanas sistēmas atbildīgās institūcijas</a:t>
            </a:r>
          </a:p>
        </p:txBody>
      </p:sp>
      <p:sp>
        <p:nvSpPr>
          <p:cNvPr id="24" name="TextBox 23">
            <a:extLst>
              <a:ext uri="{FF2B5EF4-FFF2-40B4-BE49-F238E27FC236}">
                <a16:creationId xmlns:a16="http://schemas.microsoft.com/office/drawing/2014/main" id="{904D61B0-40FB-F63F-BBE1-6604E9AD18E8}"/>
              </a:ext>
            </a:extLst>
          </p:cNvPr>
          <p:cNvSpPr txBox="1"/>
          <p:nvPr/>
        </p:nvSpPr>
        <p:spPr>
          <a:xfrm>
            <a:off x="442909" y="4415263"/>
            <a:ext cx="4354555" cy="360000"/>
          </a:xfrm>
          <a:prstGeom prst="rect">
            <a:avLst/>
          </a:prstGeom>
          <a:solidFill>
            <a:srgbClr val="A8192D"/>
          </a:solidFill>
        </p:spPr>
        <p:txBody>
          <a:bodyPr wrap="square" lIns="144000" tIns="36000" rIns="72000" bIns="36000" anchor="ctr" anchorCtr="0">
            <a:noAutofit/>
          </a:bodyPr>
          <a:lstStyle/>
          <a:p>
            <a:pPr defTabSz="822960">
              <a:lnSpc>
                <a:spcPts val="1200"/>
              </a:lnSpc>
              <a:defRPr/>
            </a:pPr>
            <a:r>
              <a:rPr lang="lv-LV" sz="1200" b="1">
                <a:solidFill>
                  <a:schemeClr val="bg1"/>
                </a:solidFill>
                <a:ea typeface="Times New Roman" panose="02020603050405020304" pitchFamily="18" charset="0"/>
                <a:cs typeface="Times New Roman" panose="02020603050405020304" pitchFamily="18" charset="0"/>
              </a:rPr>
              <a:t>Katastrofas pārvaldīšanas plānošana 3 līmeņu civilās aizsardzības plānos </a:t>
            </a:r>
          </a:p>
        </p:txBody>
      </p:sp>
      <p:sp>
        <p:nvSpPr>
          <p:cNvPr id="25" name="Rectangle 24">
            <a:extLst>
              <a:ext uri="{FF2B5EF4-FFF2-40B4-BE49-F238E27FC236}">
                <a16:creationId xmlns:a16="http://schemas.microsoft.com/office/drawing/2014/main" id="{7E5F78A1-C54A-50B0-C78C-EC04E6CA6075}"/>
              </a:ext>
            </a:extLst>
          </p:cNvPr>
          <p:cNvSpPr/>
          <p:nvPr/>
        </p:nvSpPr>
        <p:spPr>
          <a:xfrm rot="5400000">
            <a:off x="298912" y="4559264"/>
            <a:ext cx="360000" cy="72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lIns="108000" tIns="72000" rIns="108000" bIns="72000" rtlCol="0" anchor="ctr"/>
          <a:lstStyle/>
          <a:p>
            <a:pPr algn="ctr">
              <a:lnSpc>
                <a:spcPct val="100000"/>
              </a:lnSpc>
            </a:pPr>
            <a:endParaRPr lang="en-GB" sz="1600"/>
          </a:p>
        </p:txBody>
      </p:sp>
      <p:sp>
        <p:nvSpPr>
          <p:cNvPr id="63" name="TextBox 62">
            <a:extLst>
              <a:ext uri="{FF2B5EF4-FFF2-40B4-BE49-F238E27FC236}">
                <a16:creationId xmlns:a16="http://schemas.microsoft.com/office/drawing/2014/main" id="{361A3FCC-9B97-5E0E-E074-414EEDBE255D}"/>
              </a:ext>
            </a:extLst>
          </p:cNvPr>
          <p:cNvSpPr txBox="1"/>
          <p:nvPr/>
        </p:nvSpPr>
        <p:spPr>
          <a:xfrm>
            <a:off x="442913" y="5732145"/>
            <a:ext cx="4338313" cy="440246"/>
          </a:xfrm>
          <a:prstGeom prst="rect">
            <a:avLst/>
          </a:prstGeom>
          <a:noFill/>
          <a:ln w="3175">
            <a:solidFill>
              <a:schemeClr val="bg1">
                <a:lumMod val="75000"/>
              </a:schemeClr>
            </a:solidFill>
          </a:ln>
        </p:spPr>
        <p:txBody>
          <a:bodyPr wrap="square" lIns="72000" tIns="0" rIns="72000" bIns="0" anchor="ctr">
            <a:noAutofit/>
          </a:bodyPr>
          <a:lstStyle/>
          <a:p>
            <a:pPr defTabSz="822960">
              <a:spcAft>
                <a:spcPts val="270"/>
              </a:spcAft>
              <a:defRPr/>
            </a:pPr>
            <a:r>
              <a:rPr lang="lv-LV" sz="1000" b="1">
                <a:solidFill>
                  <a:srgbClr val="A8192D"/>
                </a:solidFill>
                <a:ea typeface="Times New Roman" panose="02020603050405020304" pitchFamily="18" charset="0"/>
                <a:cs typeface="Times New Roman" panose="02020603050405020304" pitchFamily="18" charset="0"/>
              </a:rPr>
              <a:t>Civilās aizsardzības plānu sagatavo, pamatojoties uz risku novērtējumu un risku novērtējuma laikā noteiktajiem katastrofas pārvaldīšanas pasākumiem</a:t>
            </a:r>
          </a:p>
        </p:txBody>
      </p:sp>
      <p:sp>
        <p:nvSpPr>
          <p:cNvPr id="49" name="Rectangle 48">
            <a:extLst>
              <a:ext uri="{FF2B5EF4-FFF2-40B4-BE49-F238E27FC236}">
                <a16:creationId xmlns:a16="http://schemas.microsoft.com/office/drawing/2014/main" id="{FC4B741B-2210-6530-619A-B168E7439628}"/>
              </a:ext>
            </a:extLst>
          </p:cNvPr>
          <p:cNvSpPr/>
          <p:nvPr/>
        </p:nvSpPr>
        <p:spPr>
          <a:xfrm>
            <a:off x="442915" y="5002139"/>
            <a:ext cx="1358465" cy="662958"/>
          </a:xfrm>
          <a:prstGeom prst="rect">
            <a:avLst/>
          </a:prstGeom>
          <a:solidFill>
            <a:schemeClr val="bg1">
              <a:lumMod val="95000"/>
            </a:schemeClr>
          </a:solidFill>
          <a:ln w="25400" cap="flat" cmpd="sng" algn="ctr">
            <a:noFill/>
            <a:prstDash val="solid"/>
          </a:ln>
          <a:effectLst/>
        </p:spPr>
        <p:txBody>
          <a:bodyPr wrap="square" lIns="72000" tIns="36000" rIns="72000" bIns="36000" rtlCol="0" anchor="ctr" anchorCtr="0">
            <a:noAutofit/>
          </a:bodyPr>
          <a:lstStyle/>
          <a:p>
            <a:pPr>
              <a:buClrTx/>
              <a:defRPr/>
            </a:pPr>
            <a:r>
              <a:rPr lang="lv-LV" sz="1000"/>
              <a:t>Valsts civilās aizsardzības plāns</a:t>
            </a:r>
          </a:p>
        </p:txBody>
      </p:sp>
      <p:sp>
        <p:nvSpPr>
          <p:cNvPr id="57" name="Rectangle 56">
            <a:extLst>
              <a:ext uri="{FF2B5EF4-FFF2-40B4-BE49-F238E27FC236}">
                <a16:creationId xmlns:a16="http://schemas.microsoft.com/office/drawing/2014/main" id="{04CBD17C-1CBD-4BBD-9C60-EB0200D42275}"/>
              </a:ext>
            </a:extLst>
          </p:cNvPr>
          <p:cNvSpPr/>
          <p:nvPr/>
        </p:nvSpPr>
        <p:spPr>
          <a:xfrm>
            <a:off x="442913" y="4822139"/>
            <a:ext cx="1358465" cy="179999"/>
          </a:xfrm>
          <a:prstGeom prst="rect">
            <a:avLst/>
          </a:prstGeom>
          <a:solidFill>
            <a:srgbClr val="525A72"/>
          </a:solidFill>
          <a:ln w="25400" cap="flat" cmpd="sng" algn="ctr">
            <a:noFill/>
            <a:prstDash val="solid"/>
          </a:ln>
          <a:effectLst/>
        </p:spPr>
        <p:txBody>
          <a:bodyPr wrap="square" lIns="36000" r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lv-LV" sz="1000" b="1">
                <a:solidFill>
                  <a:schemeClr val="bg1"/>
                </a:solidFill>
              </a:rPr>
              <a:t>1</a:t>
            </a:r>
            <a:endParaRPr kumimoji="0" lang="lv-LV" sz="1000" b="1" i="0" u="none" strike="noStrike" kern="0" cap="none" spc="0" normalizeH="0" baseline="0">
              <a:ln>
                <a:noFill/>
              </a:ln>
              <a:solidFill>
                <a:schemeClr val="bg1"/>
              </a:solidFill>
              <a:effectLst/>
              <a:uLnTx/>
              <a:uFillTx/>
              <a:latin typeface="Arial"/>
              <a:ea typeface="+mn-ea"/>
              <a:cs typeface="+mn-cs"/>
            </a:endParaRPr>
          </a:p>
        </p:txBody>
      </p:sp>
      <p:sp>
        <p:nvSpPr>
          <p:cNvPr id="71" name="Rectangle 70">
            <a:extLst>
              <a:ext uri="{FF2B5EF4-FFF2-40B4-BE49-F238E27FC236}">
                <a16:creationId xmlns:a16="http://schemas.microsoft.com/office/drawing/2014/main" id="{6F9B345C-A2B7-D774-AC43-B7970F38456E}"/>
              </a:ext>
            </a:extLst>
          </p:cNvPr>
          <p:cNvSpPr/>
          <p:nvPr/>
        </p:nvSpPr>
        <p:spPr>
          <a:xfrm>
            <a:off x="1919778" y="4999230"/>
            <a:ext cx="1379698" cy="662958"/>
          </a:xfrm>
          <a:prstGeom prst="rect">
            <a:avLst/>
          </a:prstGeom>
          <a:solidFill>
            <a:schemeClr val="bg1">
              <a:lumMod val="95000"/>
            </a:schemeClr>
          </a:solidFill>
          <a:ln w="25400" cap="flat" cmpd="sng" algn="ctr">
            <a:noFill/>
            <a:prstDash val="solid"/>
          </a:ln>
          <a:effectLst/>
        </p:spPr>
        <p:txBody>
          <a:bodyPr wrap="square" lIns="72000" tIns="36000" rIns="72000" bIns="36000" rtlCol="0" anchor="ctr" anchorCtr="0">
            <a:noAutofit/>
          </a:bodyPr>
          <a:lstStyle/>
          <a:p>
            <a:pPr>
              <a:buClrTx/>
              <a:defRPr/>
            </a:pPr>
            <a:r>
              <a:rPr lang="lv-LV" sz="1000"/>
              <a:t>Sadarbības teritorijas civilās aizsardzības plāns </a:t>
            </a:r>
          </a:p>
        </p:txBody>
      </p:sp>
      <p:sp>
        <p:nvSpPr>
          <p:cNvPr id="72" name="Rectangle 71">
            <a:extLst>
              <a:ext uri="{FF2B5EF4-FFF2-40B4-BE49-F238E27FC236}">
                <a16:creationId xmlns:a16="http://schemas.microsoft.com/office/drawing/2014/main" id="{090235C5-8ECF-7D19-C2F5-24EE8DE914F1}"/>
              </a:ext>
            </a:extLst>
          </p:cNvPr>
          <p:cNvSpPr/>
          <p:nvPr/>
        </p:nvSpPr>
        <p:spPr>
          <a:xfrm>
            <a:off x="1920264" y="4819230"/>
            <a:ext cx="1379568" cy="180000"/>
          </a:xfrm>
          <a:prstGeom prst="rect">
            <a:avLst/>
          </a:prstGeom>
          <a:solidFill>
            <a:srgbClr val="525A72"/>
          </a:solidFill>
          <a:ln w="25400" cap="flat" cmpd="sng" algn="ctr">
            <a:noFill/>
            <a:prstDash val="solid"/>
          </a:ln>
          <a:effectLst/>
        </p:spPr>
        <p:txBody>
          <a:bodyPr wrap="square" lIns="36000" r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lv-LV" sz="1000" b="1">
                <a:solidFill>
                  <a:schemeClr val="bg1"/>
                </a:solidFill>
              </a:rPr>
              <a:t>2</a:t>
            </a:r>
            <a:endParaRPr kumimoji="0" lang="lv-LV" sz="1000" b="1" i="0" u="none" strike="noStrike" kern="0" cap="none" spc="0" normalizeH="0" baseline="0">
              <a:ln>
                <a:noFill/>
              </a:ln>
              <a:solidFill>
                <a:schemeClr val="bg1"/>
              </a:solidFill>
              <a:effectLst/>
              <a:uLnTx/>
              <a:uFillTx/>
              <a:latin typeface="Arial"/>
              <a:ea typeface="+mn-ea"/>
              <a:cs typeface="+mn-cs"/>
            </a:endParaRPr>
          </a:p>
        </p:txBody>
      </p:sp>
      <p:sp>
        <p:nvSpPr>
          <p:cNvPr id="73" name="Rectangle 72">
            <a:extLst>
              <a:ext uri="{FF2B5EF4-FFF2-40B4-BE49-F238E27FC236}">
                <a16:creationId xmlns:a16="http://schemas.microsoft.com/office/drawing/2014/main" id="{9C68CBB0-CF71-B2A5-D79C-AC689A0C74FB}"/>
              </a:ext>
            </a:extLst>
          </p:cNvPr>
          <p:cNvSpPr/>
          <p:nvPr/>
        </p:nvSpPr>
        <p:spPr>
          <a:xfrm>
            <a:off x="3417973" y="5002139"/>
            <a:ext cx="1379698" cy="662958"/>
          </a:xfrm>
          <a:prstGeom prst="rect">
            <a:avLst/>
          </a:prstGeom>
          <a:solidFill>
            <a:schemeClr val="bg1">
              <a:lumMod val="95000"/>
            </a:schemeClr>
          </a:solidFill>
          <a:ln w="25400" cap="flat" cmpd="sng" algn="ctr">
            <a:noFill/>
            <a:prstDash val="solid"/>
          </a:ln>
          <a:effectLst/>
        </p:spPr>
        <p:txBody>
          <a:bodyPr wrap="square" lIns="72000" tIns="36000" rIns="72000" bIns="36000" rtlCol="0" anchor="ctr" anchorCtr="0">
            <a:noAutofit/>
          </a:bodyPr>
          <a:lstStyle/>
          <a:p>
            <a:pPr>
              <a:buClrTx/>
              <a:defRPr/>
            </a:pPr>
            <a:r>
              <a:rPr lang="lv-LV" sz="1000"/>
              <a:t>Paaugstinātas bīstamības objekta </a:t>
            </a:r>
            <a:br>
              <a:rPr lang="lv-LV" sz="1000"/>
            </a:br>
            <a:r>
              <a:rPr lang="lv-LV" sz="1000"/>
              <a:t>un objekta civilās aizsardzības plāns</a:t>
            </a:r>
          </a:p>
        </p:txBody>
      </p:sp>
      <p:sp>
        <p:nvSpPr>
          <p:cNvPr id="74" name="Rectangle 73">
            <a:extLst>
              <a:ext uri="{FF2B5EF4-FFF2-40B4-BE49-F238E27FC236}">
                <a16:creationId xmlns:a16="http://schemas.microsoft.com/office/drawing/2014/main" id="{37E92157-3265-D2DA-B2B2-F593C370D1E7}"/>
              </a:ext>
            </a:extLst>
          </p:cNvPr>
          <p:cNvSpPr/>
          <p:nvPr/>
        </p:nvSpPr>
        <p:spPr>
          <a:xfrm>
            <a:off x="3418134" y="4822139"/>
            <a:ext cx="1379538" cy="180000"/>
          </a:xfrm>
          <a:prstGeom prst="rect">
            <a:avLst/>
          </a:prstGeom>
          <a:solidFill>
            <a:srgbClr val="525A72"/>
          </a:solidFill>
          <a:ln w="25400" cap="flat" cmpd="sng" algn="ctr">
            <a:noFill/>
            <a:prstDash val="solid"/>
          </a:ln>
          <a:effectLst/>
        </p:spPr>
        <p:txBody>
          <a:bodyPr wrap="square" lIns="36000" r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lv-LV" sz="1000" b="1">
                <a:solidFill>
                  <a:schemeClr val="bg1"/>
                </a:solidFill>
              </a:rPr>
              <a:t>3</a:t>
            </a:r>
            <a:endParaRPr kumimoji="0" lang="lv-LV" sz="1000" b="1" i="0" u="none" strike="noStrike" kern="0" cap="none" spc="0" normalizeH="0" baseline="0">
              <a:ln>
                <a:noFill/>
              </a:ln>
              <a:solidFill>
                <a:schemeClr val="bg1"/>
              </a:solidFill>
              <a:effectLst/>
              <a:uLnTx/>
              <a:uFillTx/>
              <a:latin typeface="Arial"/>
              <a:ea typeface="+mn-ea"/>
              <a:cs typeface="+mn-cs"/>
            </a:endParaRPr>
          </a:p>
        </p:txBody>
      </p:sp>
      <p:sp>
        <p:nvSpPr>
          <p:cNvPr id="79" name="TextBox 78">
            <a:extLst>
              <a:ext uri="{FF2B5EF4-FFF2-40B4-BE49-F238E27FC236}">
                <a16:creationId xmlns:a16="http://schemas.microsoft.com/office/drawing/2014/main" id="{4A81787E-5AC3-6613-53E6-49E6F0A57B40}"/>
              </a:ext>
            </a:extLst>
          </p:cNvPr>
          <p:cNvSpPr txBox="1"/>
          <p:nvPr/>
        </p:nvSpPr>
        <p:spPr>
          <a:xfrm>
            <a:off x="5099594" y="5731957"/>
            <a:ext cx="6656576" cy="440243"/>
          </a:xfrm>
          <a:prstGeom prst="rect">
            <a:avLst/>
          </a:prstGeom>
          <a:noFill/>
          <a:ln w="3175">
            <a:solidFill>
              <a:schemeClr val="bg1">
                <a:lumMod val="75000"/>
              </a:schemeClr>
            </a:solidFill>
          </a:ln>
        </p:spPr>
        <p:txBody>
          <a:bodyPr wrap="square" lIns="72000" tIns="0" rIns="72000" bIns="0" anchor="ctr">
            <a:noAutofit/>
          </a:bodyPr>
          <a:lstStyle/>
          <a:p>
            <a:pPr defTabSz="822960">
              <a:spcAft>
                <a:spcPts val="270"/>
              </a:spcAft>
              <a:defRPr/>
            </a:pPr>
            <a:r>
              <a:rPr lang="lv-LV" sz="1000" b="1">
                <a:solidFill>
                  <a:srgbClr val="A8192D"/>
                </a:solidFill>
                <a:ea typeface="Times New Roman" panose="02020603050405020304" pitchFamily="18" charset="0"/>
                <a:cs typeface="Times New Roman" panose="02020603050405020304" pitchFamily="18" charset="0"/>
              </a:rPr>
              <a:t>Katastrofu pārvaldīšanas subjekti – nozaru ministrijas un pašvaldības – īsteno konkrētās katastrofas pārvaldīšanas koordinēšanu sadarbībā ar citām institūcijām</a:t>
            </a:r>
          </a:p>
        </p:txBody>
      </p:sp>
      <p:sp>
        <p:nvSpPr>
          <p:cNvPr id="12" name="Rectangle 11">
            <a:extLst>
              <a:ext uri="{FF2B5EF4-FFF2-40B4-BE49-F238E27FC236}">
                <a16:creationId xmlns:a16="http://schemas.microsoft.com/office/drawing/2014/main" id="{E70C782A-F528-799D-40E4-C3BAF9A720A7}"/>
              </a:ext>
            </a:extLst>
          </p:cNvPr>
          <p:cNvSpPr/>
          <p:nvPr/>
        </p:nvSpPr>
        <p:spPr>
          <a:xfrm>
            <a:off x="5092512" y="5118678"/>
            <a:ext cx="3258000" cy="180000"/>
          </a:xfrm>
          <a:prstGeom prst="rect">
            <a:avLst/>
          </a:prstGeom>
          <a:solidFill>
            <a:srgbClr val="A4A3B2"/>
          </a:solidFill>
          <a:ln w="25400" cap="flat" cmpd="sng" algn="ctr">
            <a:noFill/>
            <a:prstDash val="solid"/>
          </a:ln>
          <a:effectLst/>
        </p:spPr>
        <p:txBody>
          <a:bodyPr lIns="144000" tIns="36000" rIns="72000" bIns="3600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lv-LV" sz="1000"/>
              <a:t>Iekšlietu ministrija</a:t>
            </a:r>
            <a:endParaRPr kumimoji="0" lang="lv-LV" sz="1000" b="1" i="0" u="none" strike="noStrike" kern="0" cap="none" spc="0" normalizeH="0" baseline="0">
              <a:ln>
                <a:noFill/>
              </a:ln>
              <a:effectLst/>
              <a:uLnTx/>
              <a:uFillTx/>
              <a:latin typeface="Arial"/>
              <a:ea typeface="+mn-ea"/>
              <a:cs typeface="+mn-cs"/>
            </a:endParaRPr>
          </a:p>
        </p:txBody>
      </p:sp>
      <p:sp>
        <p:nvSpPr>
          <p:cNvPr id="13" name="Rectangle 12">
            <a:extLst>
              <a:ext uri="{FF2B5EF4-FFF2-40B4-BE49-F238E27FC236}">
                <a16:creationId xmlns:a16="http://schemas.microsoft.com/office/drawing/2014/main" id="{AC869997-F622-4670-534B-C7DC156104CF}"/>
              </a:ext>
            </a:extLst>
          </p:cNvPr>
          <p:cNvSpPr/>
          <p:nvPr/>
        </p:nvSpPr>
        <p:spPr>
          <a:xfrm>
            <a:off x="5092512" y="5304673"/>
            <a:ext cx="3258000" cy="360000"/>
          </a:xfrm>
          <a:prstGeom prst="rect">
            <a:avLst/>
          </a:prstGeom>
          <a:solidFill>
            <a:schemeClr val="bg1">
              <a:lumMod val="95000"/>
            </a:schemeClr>
          </a:solidFill>
          <a:ln w="25400" cap="flat" cmpd="sng" algn="ctr">
            <a:noFill/>
            <a:prstDash val="solid"/>
          </a:ln>
          <a:effectLst/>
        </p:spPr>
        <p:txBody>
          <a:bodyPr lIns="72000" tIns="36000" rIns="72000" bIns="3600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lv-LV" sz="1000"/>
              <a:t>uzrauga civilās aizsardzības sistēmas darbību un tās uzdevumu izpildi </a:t>
            </a:r>
            <a:endParaRPr kumimoji="0" lang="lv-LV" sz="1000" b="1" i="0" u="none" strike="noStrike" kern="0" cap="none" spc="0" normalizeH="0" baseline="0">
              <a:ln>
                <a:noFill/>
              </a:ln>
              <a:solidFill>
                <a:srgbClr val="000000"/>
              </a:solidFill>
              <a:effectLst/>
              <a:uLnTx/>
              <a:uFillTx/>
              <a:latin typeface="Arial"/>
              <a:ea typeface="+mn-ea"/>
              <a:cs typeface="+mn-cs"/>
            </a:endParaRPr>
          </a:p>
        </p:txBody>
      </p:sp>
      <p:sp>
        <p:nvSpPr>
          <p:cNvPr id="10" name="Rectangle 9">
            <a:extLst>
              <a:ext uri="{FF2B5EF4-FFF2-40B4-BE49-F238E27FC236}">
                <a16:creationId xmlns:a16="http://schemas.microsoft.com/office/drawing/2014/main" id="{51736780-48E5-CD96-3DD5-A086D5E626DF}"/>
              </a:ext>
            </a:extLst>
          </p:cNvPr>
          <p:cNvSpPr/>
          <p:nvPr/>
        </p:nvSpPr>
        <p:spPr>
          <a:xfrm>
            <a:off x="5092512" y="2319818"/>
            <a:ext cx="3258000" cy="180000"/>
          </a:xfrm>
          <a:prstGeom prst="rect">
            <a:avLst/>
          </a:prstGeom>
          <a:solidFill>
            <a:srgbClr val="A4A3B2"/>
          </a:solidFill>
          <a:ln w="25400" cap="flat" cmpd="sng" algn="ctr">
            <a:noFill/>
            <a:prstDash val="solid"/>
          </a:ln>
          <a:effectLst/>
        </p:spPr>
        <p:txBody>
          <a:bodyPr lIns="144000" tIns="36000" rIns="72000" bIns="3600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lv-LV" sz="1000"/>
              <a:t>Ministru prezidents</a:t>
            </a:r>
            <a:endParaRPr kumimoji="0" lang="lv-LV" sz="1000" b="1" i="0" u="none" strike="noStrike" kern="0" cap="none" spc="0" normalizeH="0" baseline="0">
              <a:ln>
                <a:noFill/>
              </a:ln>
              <a:effectLst/>
              <a:uLnTx/>
              <a:uFillTx/>
              <a:latin typeface="Arial"/>
              <a:ea typeface="+mn-ea"/>
              <a:cs typeface="+mn-cs"/>
            </a:endParaRPr>
          </a:p>
        </p:txBody>
      </p:sp>
      <p:sp>
        <p:nvSpPr>
          <p:cNvPr id="11" name="Rectangle 10">
            <a:extLst>
              <a:ext uri="{FF2B5EF4-FFF2-40B4-BE49-F238E27FC236}">
                <a16:creationId xmlns:a16="http://schemas.microsoft.com/office/drawing/2014/main" id="{779C3953-F620-10DF-7822-3768BDF2DA4B}"/>
              </a:ext>
            </a:extLst>
          </p:cNvPr>
          <p:cNvSpPr/>
          <p:nvPr/>
        </p:nvSpPr>
        <p:spPr>
          <a:xfrm>
            <a:off x="5092512" y="2509606"/>
            <a:ext cx="3258000" cy="360000"/>
          </a:xfrm>
          <a:prstGeom prst="rect">
            <a:avLst/>
          </a:prstGeom>
          <a:solidFill>
            <a:schemeClr val="bg1">
              <a:lumMod val="95000"/>
            </a:schemeClr>
          </a:solidFill>
          <a:ln w="25400" cap="flat" cmpd="sng" algn="ctr">
            <a:noFill/>
            <a:prstDash val="solid"/>
          </a:ln>
          <a:effectLst/>
        </p:spPr>
        <p:txBody>
          <a:bodyPr wrap="square" lIns="72000" tIns="36000" rIns="72000" bIns="3600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lv-LV" sz="1000"/>
              <a:t>uzrauga civilās aizsardzības sistēmas darbību un tas uzdevumu izpildi </a:t>
            </a:r>
            <a:endParaRPr kumimoji="0" lang="lv-LV" sz="1000" b="1" i="0" u="none" strike="noStrike" kern="0" cap="none" spc="0" normalizeH="0" baseline="0">
              <a:ln>
                <a:noFill/>
              </a:ln>
              <a:solidFill>
                <a:srgbClr val="000000"/>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AD5B92B8-3EA9-48C2-705B-B64D44A68B97}"/>
              </a:ext>
            </a:extLst>
          </p:cNvPr>
          <p:cNvSpPr/>
          <p:nvPr/>
        </p:nvSpPr>
        <p:spPr>
          <a:xfrm>
            <a:off x="5092512" y="3008804"/>
            <a:ext cx="3258000" cy="180000"/>
          </a:xfrm>
          <a:prstGeom prst="rect">
            <a:avLst/>
          </a:prstGeom>
          <a:solidFill>
            <a:srgbClr val="A4A3B2"/>
          </a:solidFill>
          <a:ln w="25400" cap="flat" cmpd="sng" algn="ctr">
            <a:noFill/>
            <a:prstDash val="solid"/>
          </a:ln>
          <a:effectLst/>
        </p:spPr>
        <p:txBody>
          <a:bodyPr lIns="144000" tIns="36000" rIns="72000" bIns="3600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lv-LV" sz="1000"/>
              <a:t>Nozaru ministrijas</a:t>
            </a:r>
            <a:endParaRPr kumimoji="0" lang="lv-LV" sz="1000" b="1" i="0" u="none" strike="noStrike" kern="0" cap="none" spc="0" normalizeH="0" baseline="0">
              <a:ln>
                <a:noFill/>
              </a:ln>
              <a:effectLst/>
              <a:uLnTx/>
              <a:uFillTx/>
              <a:latin typeface="Arial"/>
              <a:ea typeface="+mn-ea"/>
              <a:cs typeface="+mn-cs"/>
            </a:endParaRPr>
          </a:p>
        </p:txBody>
      </p:sp>
      <p:sp>
        <p:nvSpPr>
          <p:cNvPr id="17" name="Rectangle 16">
            <a:extLst>
              <a:ext uri="{FF2B5EF4-FFF2-40B4-BE49-F238E27FC236}">
                <a16:creationId xmlns:a16="http://schemas.microsoft.com/office/drawing/2014/main" id="{96E82AC1-C604-8D07-A614-F71829B19185}"/>
              </a:ext>
            </a:extLst>
          </p:cNvPr>
          <p:cNvSpPr/>
          <p:nvPr/>
        </p:nvSpPr>
        <p:spPr>
          <a:xfrm>
            <a:off x="5092512" y="3197282"/>
            <a:ext cx="3258000" cy="682398"/>
          </a:xfrm>
          <a:prstGeom prst="rect">
            <a:avLst/>
          </a:prstGeom>
          <a:solidFill>
            <a:schemeClr val="bg1">
              <a:lumMod val="95000"/>
            </a:schemeClr>
          </a:solidFill>
          <a:ln w="25400" cap="flat" cmpd="sng" algn="ctr">
            <a:noFill/>
            <a:prstDash val="solid"/>
          </a:ln>
          <a:effectLst/>
        </p:spPr>
        <p:txBody>
          <a:bodyPr wrap="square" lIns="72000" tIns="36000" rIns="72000" bIns="3600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lv-LV" sz="1000" spc="-20"/>
              <a:t>nodrošina civilās aizsardzības uzdevumu izpildi un katastrofas pārvaldīšanas koordinēšanu valsts, reģionālā un vietējā mērogā atbilstoši likumā noteiktajam kompetenču sadalījumam</a:t>
            </a:r>
          </a:p>
        </p:txBody>
      </p:sp>
      <p:sp>
        <p:nvSpPr>
          <p:cNvPr id="22" name="Rectangle 21">
            <a:extLst>
              <a:ext uri="{FF2B5EF4-FFF2-40B4-BE49-F238E27FC236}">
                <a16:creationId xmlns:a16="http://schemas.microsoft.com/office/drawing/2014/main" id="{47BD51AB-1F0A-C017-C90C-F68A981EDE96}"/>
              </a:ext>
            </a:extLst>
          </p:cNvPr>
          <p:cNvSpPr/>
          <p:nvPr/>
        </p:nvSpPr>
        <p:spPr>
          <a:xfrm>
            <a:off x="5092512" y="4023820"/>
            <a:ext cx="3258000" cy="180000"/>
          </a:xfrm>
          <a:prstGeom prst="rect">
            <a:avLst/>
          </a:prstGeom>
          <a:solidFill>
            <a:srgbClr val="A4A3B2"/>
          </a:solidFill>
          <a:ln w="25400" cap="flat" cmpd="sng" algn="ctr">
            <a:noFill/>
            <a:prstDash val="solid"/>
          </a:ln>
          <a:effectLst/>
        </p:spPr>
        <p:txBody>
          <a:bodyPr lIns="144000" tIns="36000" rIns="72000" bIns="3600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lv-LV" sz="1000"/>
              <a:t>Valsts un pašvaldību institūciju vadītāji</a:t>
            </a:r>
            <a:endParaRPr kumimoji="0" lang="lv-LV" sz="1000" b="1" i="0" u="none" strike="noStrike" kern="0" cap="none" spc="0" normalizeH="0" baseline="0">
              <a:ln>
                <a:noFill/>
              </a:ln>
              <a:effectLst/>
              <a:uLnTx/>
              <a:uFillTx/>
              <a:latin typeface="Arial"/>
              <a:ea typeface="+mn-ea"/>
              <a:cs typeface="+mn-cs"/>
            </a:endParaRPr>
          </a:p>
        </p:txBody>
      </p:sp>
      <p:sp>
        <p:nvSpPr>
          <p:cNvPr id="23" name="Rectangle 22">
            <a:extLst>
              <a:ext uri="{FF2B5EF4-FFF2-40B4-BE49-F238E27FC236}">
                <a16:creationId xmlns:a16="http://schemas.microsoft.com/office/drawing/2014/main" id="{865A5097-EE5D-ABF9-3E1C-21456B2CD454}"/>
              </a:ext>
            </a:extLst>
          </p:cNvPr>
          <p:cNvSpPr/>
          <p:nvPr/>
        </p:nvSpPr>
        <p:spPr>
          <a:xfrm>
            <a:off x="5092511" y="4210280"/>
            <a:ext cx="3258000" cy="776908"/>
          </a:xfrm>
          <a:prstGeom prst="rect">
            <a:avLst/>
          </a:prstGeom>
          <a:solidFill>
            <a:schemeClr val="bg1">
              <a:lumMod val="95000"/>
            </a:schemeClr>
          </a:solidFill>
          <a:ln w="25400" cap="flat" cmpd="sng" algn="ctr">
            <a:noFill/>
            <a:prstDash val="solid"/>
          </a:ln>
          <a:effectLst/>
        </p:spPr>
        <p:txBody>
          <a:bodyPr wrap="square" lIns="72000" tIns="36000" rIns="72000" bIns="3600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lv-LV" sz="1000" spc="-20"/>
              <a:t>plāno un īsteno institūciju nepārtrauktas darbības nodrošināšanai katastrofas vai tās draudu gadījumā nepieciešamo rīcību, nodrošina civilās aizsardzības plānos paredzēto pasākumu precīzu un savlaicīgu izpildi</a:t>
            </a:r>
          </a:p>
        </p:txBody>
      </p:sp>
      <p:sp>
        <p:nvSpPr>
          <p:cNvPr id="36" name="Rectangle 35">
            <a:extLst>
              <a:ext uri="{FF2B5EF4-FFF2-40B4-BE49-F238E27FC236}">
                <a16:creationId xmlns:a16="http://schemas.microsoft.com/office/drawing/2014/main" id="{0E8CC5B0-4FA5-2BE8-F743-005DF962D7C9}"/>
              </a:ext>
            </a:extLst>
          </p:cNvPr>
          <p:cNvSpPr/>
          <p:nvPr/>
        </p:nvSpPr>
        <p:spPr>
          <a:xfrm>
            <a:off x="8417617" y="2319818"/>
            <a:ext cx="3331469" cy="186408"/>
          </a:xfrm>
          <a:prstGeom prst="rect">
            <a:avLst/>
          </a:prstGeom>
          <a:solidFill>
            <a:srgbClr val="A4A3B2"/>
          </a:solidFill>
          <a:ln w="25400" cap="flat" cmpd="sng" algn="ctr">
            <a:noFill/>
            <a:prstDash val="solid"/>
          </a:ln>
          <a:effectLst/>
        </p:spPr>
        <p:txBody>
          <a:bodyPr lIns="144000" tIns="36000" rIns="72000" bIns="3600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lv-LV" sz="1000"/>
              <a:t>Pašvaldības domes priekšsēdētājs</a:t>
            </a:r>
            <a:endParaRPr kumimoji="0" lang="lv-LV" sz="1000" b="1" i="0" u="none" strike="noStrike" kern="0" cap="none" spc="0" normalizeH="0" baseline="0">
              <a:ln>
                <a:noFill/>
              </a:ln>
              <a:effectLst/>
              <a:uLnTx/>
              <a:uFillTx/>
              <a:latin typeface="Arial"/>
              <a:ea typeface="+mn-ea"/>
              <a:cs typeface="+mn-cs"/>
            </a:endParaRPr>
          </a:p>
        </p:txBody>
      </p:sp>
      <p:sp>
        <p:nvSpPr>
          <p:cNvPr id="37" name="Rectangle 36">
            <a:extLst>
              <a:ext uri="{FF2B5EF4-FFF2-40B4-BE49-F238E27FC236}">
                <a16:creationId xmlns:a16="http://schemas.microsoft.com/office/drawing/2014/main" id="{32162E6B-2E36-0CFA-B3AF-A60D2D9C580A}"/>
              </a:ext>
            </a:extLst>
          </p:cNvPr>
          <p:cNvSpPr/>
          <p:nvPr/>
        </p:nvSpPr>
        <p:spPr>
          <a:xfrm>
            <a:off x="8417617" y="2509606"/>
            <a:ext cx="3331470" cy="360000"/>
          </a:xfrm>
          <a:prstGeom prst="rect">
            <a:avLst/>
          </a:prstGeom>
          <a:solidFill>
            <a:schemeClr val="bg1">
              <a:lumMod val="95000"/>
            </a:schemeClr>
          </a:solidFill>
          <a:ln w="25400" cap="flat" cmpd="sng" algn="ctr">
            <a:noFill/>
            <a:prstDash val="solid"/>
          </a:ln>
          <a:effectLst/>
        </p:spPr>
        <p:txBody>
          <a:bodyPr wrap="square" lIns="72000" tIns="36000" rIns="72000" bIns="3600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lv-LV" sz="1000"/>
              <a:t>vada civilās aizsardzības uzdevumu izpildi pašvaldībā</a:t>
            </a:r>
            <a:endParaRPr kumimoji="0" lang="lv-LV" sz="1000" b="1" i="0" u="none" strike="noStrike" kern="0" cap="none" spc="0" normalizeH="0" baseline="0">
              <a:ln>
                <a:noFill/>
              </a:ln>
              <a:solidFill>
                <a:srgbClr val="000000"/>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71F33C03-5033-9CBD-E45B-E91812DECF9C}"/>
              </a:ext>
            </a:extLst>
          </p:cNvPr>
          <p:cNvSpPr/>
          <p:nvPr/>
        </p:nvSpPr>
        <p:spPr>
          <a:xfrm>
            <a:off x="8417617" y="3008804"/>
            <a:ext cx="3331469" cy="180000"/>
          </a:xfrm>
          <a:prstGeom prst="rect">
            <a:avLst/>
          </a:prstGeom>
          <a:solidFill>
            <a:srgbClr val="A4A3B2"/>
          </a:solidFill>
          <a:ln w="25400" cap="flat" cmpd="sng" algn="ctr">
            <a:noFill/>
            <a:prstDash val="solid"/>
          </a:ln>
          <a:effectLst/>
        </p:spPr>
        <p:txBody>
          <a:bodyPr lIns="144000" tIns="36000" rIns="72000" bIns="3600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lv-LV" sz="1000"/>
              <a:t>Pašvaldība</a:t>
            </a:r>
            <a:endParaRPr kumimoji="0" lang="lv-LV" sz="1000" b="1" i="0" u="none" strike="noStrike" kern="0" cap="none" spc="0" normalizeH="0" baseline="0">
              <a:ln>
                <a:noFill/>
              </a:ln>
              <a:effectLst/>
              <a:uLnTx/>
              <a:uFillTx/>
              <a:latin typeface="Arial"/>
              <a:ea typeface="+mn-ea"/>
              <a:cs typeface="+mn-cs"/>
            </a:endParaRPr>
          </a:p>
        </p:txBody>
      </p:sp>
      <p:sp>
        <p:nvSpPr>
          <p:cNvPr id="40" name="Rectangle 39">
            <a:extLst>
              <a:ext uri="{FF2B5EF4-FFF2-40B4-BE49-F238E27FC236}">
                <a16:creationId xmlns:a16="http://schemas.microsoft.com/office/drawing/2014/main" id="{4416A52D-7C1D-1DAF-84A8-DDC8D9A30B48}"/>
              </a:ext>
            </a:extLst>
          </p:cNvPr>
          <p:cNvSpPr/>
          <p:nvPr/>
        </p:nvSpPr>
        <p:spPr>
          <a:xfrm>
            <a:off x="8417617" y="3197281"/>
            <a:ext cx="3331470" cy="682407"/>
          </a:xfrm>
          <a:prstGeom prst="rect">
            <a:avLst/>
          </a:prstGeom>
          <a:solidFill>
            <a:schemeClr val="bg1">
              <a:lumMod val="95000"/>
            </a:schemeClr>
          </a:solidFill>
          <a:ln w="25400" cap="flat" cmpd="sng" algn="ctr">
            <a:noFill/>
            <a:prstDash val="solid"/>
          </a:ln>
          <a:effectLst/>
        </p:spPr>
        <p:txBody>
          <a:bodyPr wrap="square" lIns="72000" tIns="36000" rIns="72000" bIns="3600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lv-LV" sz="1000" spc="-20"/>
              <a:t>savā administratīvajā teritorijā koordinē katastrofu pārvaldīšanu vietēja mēroga katastrofām – ēku un būvju sabrukuma, siltumapgādes, ūdensapgādes, notekūdeņu un kanalizācijas sistēmas avāriju gadījumos</a:t>
            </a:r>
          </a:p>
        </p:txBody>
      </p:sp>
      <p:sp>
        <p:nvSpPr>
          <p:cNvPr id="42" name="Rectangle 41">
            <a:extLst>
              <a:ext uri="{FF2B5EF4-FFF2-40B4-BE49-F238E27FC236}">
                <a16:creationId xmlns:a16="http://schemas.microsoft.com/office/drawing/2014/main" id="{3D9A8B35-A1F5-CDCF-A6F7-9A79D765C66D}"/>
              </a:ext>
            </a:extLst>
          </p:cNvPr>
          <p:cNvSpPr/>
          <p:nvPr/>
        </p:nvSpPr>
        <p:spPr>
          <a:xfrm>
            <a:off x="8417617" y="4023820"/>
            <a:ext cx="3331470" cy="175908"/>
          </a:xfrm>
          <a:prstGeom prst="rect">
            <a:avLst/>
          </a:prstGeom>
          <a:solidFill>
            <a:srgbClr val="A4A3B2"/>
          </a:solidFill>
          <a:ln w="25400" cap="flat" cmpd="sng" algn="ctr">
            <a:noFill/>
            <a:prstDash val="solid"/>
          </a:ln>
          <a:effectLst/>
        </p:spPr>
        <p:txBody>
          <a:bodyPr lIns="144000" tIns="36000" rIns="72000" bIns="3600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lv-LV" sz="1000"/>
              <a:t>Valsts ugunsdzēsības</a:t>
            </a:r>
            <a:r>
              <a:rPr lang="en-US" sz="1000"/>
              <a:t> </a:t>
            </a:r>
            <a:r>
              <a:rPr lang="lv-LV" sz="1000"/>
              <a:t>un glābšanas dienests</a:t>
            </a:r>
            <a:endParaRPr kumimoji="0" lang="lv-LV" sz="1000" b="1" i="0" u="none" strike="noStrike" kern="0" cap="none" spc="0" normalizeH="0" baseline="0">
              <a:ln>
                <a:noFill/>
              </a:ln>
              <a:effectLst/>
              <a:uLnTx/>
              <a:uFillTx/>
              <a:latin typeface="Arial"/>
              <a:ea typeface="+mn-ea"/>
              <a:cs typeface="+mn-cs"/>
            </a:endParaRPr>
          </a:p>
        </p:txBody>
      </p:sp>
      <p:sp>
        <p:nvSpPr>
          <p:cNvPr id="43" name="Rectangle 42">
            <a:extLst>
              <a:ext uri="{FF2B5EF4-FFF2-40B4-BE49-F238E27FC236}">
                <a16:creationId xmlns:a16="http://schemas.microsoft.com/office/drawing/2014/main" id="{B248A7D2-F961-B7C1-6F32-6F141F3D8D30}"/>
              </a:ext>
            </a:extLst>
          </p:cNvPr>
          <p:cNvSpPr/>
          <p:nvPr/>
        </p:nvSpPr>
        <p:spPr>
          <a:xfrm>
            <a:off x="8417617" y="4210228"/>
            <a:ext cx="3331470" cy="776617"/>
          </a:xfrm>
          <a:prstGeom prst="rect">
            <a:avLst/>
          </a:prstGeom>
          <a:solidFill>
            <a:schemeClr val="bg1">
              <a:lumMod val="95000"/>
            </a:schemeClr>
          </a:solidFill>
          <a:ln w="25400" cap="flat" cmpd="sng" algn="ctr">
            <a:noFill/>
            <a:prstDash val="solid"/>
          </a:ln>
          <a:effectLst/>
        </p:spPr>
        <p:txBody>
          <a:bodyPr wrap="square" lIns="72000" tIns="36000" rIns="72000" bIns="3600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lv-LV" sz="1000"/>
              <a:t>vada, koordinē un kontrolē civilās aizsardzības  </a:t>
            </a:r>
            <a:br>
              <a:rPr lang="en-US" sz="1000"/>
            </a:br>
            <a:r>
              <a:rPr lang="lv-LV" sz="1000"/>
              <a:t>sistēmas darbību </a:t>
            </a:r>
          </a:p>
        </p:txBody>
      </p:sp>
      <p:sp>
        <p:nvSpPr>
          <p:cNvPr id="45" name="Rectangle 44">
            <a:extLst>
              <a:ext uri="{FF2B5EF4-FFF2-40B4-BE49-F238E27FC236}">
                <a16:creationId xmlns:a16="http://schemas.microsoft.com/office/drawing/2014/main" id="{FD973CC9-7E88-EA3B-D55D-552350DB11DC}"/>
              </a:ext>
            </a:extLst>
          </p:cNvPr>
          <p:cNvSpPr/>
          <p:nvPr/>
        </p:nvSpPr>
        <p:spPr>
          <a:xfrm>
            <a:off x="8417617" y="5118265"/>
            <a:ext cx="3331470" cy="186408"/>
          </a:xfrm>
          <a:prstGeom prst="rect">
            <a:avLst/>
          </a:prstGeom>
          <a:solidFill>
            <a:srgbClr val="A4A3B2"/>
          </a:solidFill>
          <a:ln w="25400" cap="flat" cmpd="sng" algn="ctr">
            <a:noFill/>
            <a:prstDash val="solid"/>
          </a:ln>
          <a:effectLst/>
        </p:spPr>
        <p:txBody>
          <a:bodyPr lIns="144000" tIns="36000" rIns="0" bIns="3600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lv-LV" sz="1000"/>
              <a:t>PSTCAK</a:t>
            </a:r>
            <a:endParaRPr kumimoji="0" lang="lv-LV" sz="1000" b="1" i="0" u="none" strike="noStrike" kern="0" cap="none" spc="0" normalizeH="0" baseline="0">
              <a:ln>
                <a:noFill/>
              </a:ln>
              <a:effectLst/>
              <a:uLnTx/>
              <a:uFillTx/>
              <a:latin typeface="Arial"/>
              <a:ea typeface="+mn-ea"/>
              <a:cs typeface="+mn-cs"/>
            </a:endParaRPr>
          </a:p>
        </p:txBody>
      </p:sp>
      <p:sp>
        <p:nvSpPr>
          <p:cNvPr id="46" name="Rectangle 45">
            <a:extLst>
              <a:ext uri="{FF2B5EF4-FFF2-40B4-BE49-F238E27FC236}">
                <a16:creationId xmlns:a16="http://schemas.microsoft.com/office/drawing/2014/main" id="{E1B5312D-1B4F-6A17-4790-28066D72CBD0}"/>
              </a:ext>
            </a:extLst>
          </p:cNvPr>
          <p:cNvSpPr/>
          <p:nvPr/>
        </p:nvSpPr>
        <p:spPr>
          <a:xfrm>
            <a:off x="8417617" y="5304673"/>
            <a:ext cx="3331470" cy="360000"/>
          </a:xfrm>
          <a:prstGeom prst="rect">
            <a:avLst/>
          </a:prstGeom>
          <a:solidFill>
            <a:schemeClr val="bg1">
              <a:lumMod val="95000"/>
            </a:schemeClr>
          </a:solidFill>
          <a:ln w="25400" cap="flat" cmpd="sng" algn="ctr">
            <a:noFill/>
            <a:prstDash val="solid"/>
          </a:ln>
          <a:effectLst/>
        </p:spPr>
        <p:txBody>
          <a:bodyPr wrap="square" lIns="72000" tIns="36000" rIns="72000" bIns="3600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lv-LV" sz="1000"/>
              <a:t>koordinē pasākumus katastrofas vai tās </a:t>
            </a:r>
            <a:br>
              <a:rPr lang="en-US" sz="1000"/>
            </a:br>
            <a:r>
              <a:rPr lang="lv-LV" sz="1000"/>
              <a:t>draudu gadījumā</a:t>
            </a:r>
            <a:endParaRPr kumimoji="0" lang="lv-LV" sz="1000" b="1" i="0" u="none" strike="noStrike" kern="0" cap="none" spc="0" normalizeH="0" baseline="0">
              <a:ln>
                <a:noFill/>
              </a:ln>
              <a:solidFill>
                <a:srgbClr val="000000"/>
              </a:solidFill>
              <a:effectLst/>
              <a:uLnTx/>
              <a:uFillTx/>
              <a:latin typeface="Arial"/>
              <a:ea typeface="+mn-ea"/>
              <a:cs typeface="+mn-cs"/>
            </a:endParaRPr>
          </a:p>
        </p:txBody>
      </p:sp>
      <p:sp>
        <p:nvSpPr>
          <p:cNvPr id="14" name="TextBox 13">
            <a:extLst>
              <a:ext uri="{FF2B5EF4-FFF2-40B4-BE49-F238E27FC236}">
                <a16:creationId xmlns:a16="http://schemas.microsoft.com/office/drawing/2014/main" id="{7B305E7B-403F-80F3-6F83-74CB68DC6B17}"/>
              </a:ext>
            </a:extLst>
          </p:cNvPr>
          <p:cNvSpPr txBox="1"/>
          <p:nvPr/>
        </p:nvSpPr>
        <p:spPr>
          <a:xfrm>
            <a:off x="442912" y="1829370"/>
            <a:ext cx="4354760" cy="360000"/>
          </a:xfrm>
          <a:prstGeom prst="rect">
            <a:avLst/>
          </a:prstGeom>
          <a:solidFill>
            <a:srgbClr val="A8192D"/>
          </a:solidFill>
        </p:spPr>
        <p:txBody>
          <a:bodyPr wrap="square" lIns="144000" tIns="36000" rIns="72000" bIns="36000" anchor="ctr" anchorCtr="0">
            <a:noAutofit/>
          </a:bodyPr>
          <a:lstStyle/>
          <a:p>
            <a:pPr defTabSz="822960">
              <a:lnSpc>
                <a:spcPts val="1200"/>
              </a:lnSpc>
              <a:defRPr/>
            </a:pPr>
            <a:r>
              <a:rPr lang="lv-LV" sz="1200" b="1">
                <a:solidFill>
                  <a:schemeClr val="bg1"/>
                </a:solidFill>
                <a:ea typeface="Times New Roman" panose="02020603050405020304" pitchFamily="18" charset="0"/>
                <a:cs typeface="Times New Roman" panose="02020603050405020304" pitchFamily="18" charset="0"/>
              </a:rPr>
              <a:t>Civilās aizsardzības un katastrofas plānošanas normatīvais ietvars</a:t>
            </a:r>
          </a:p>
        </p:txBody>
      </p:sp>
      <p:sp>
        <p:nvSpPr>
          <p:cNvPr id="15" name="Rectangle 14">
            <a:extLst>
              <a:ext uri="{FF2B5EF4-FFF2-40B4-BE49-F238E27FC236}">
                <a16:creationId xmlns:a16="http://schemas.microsoft.com/office/drawing/2014/main" id="{78EF67C5-9D8B-DE8D-5FDF-D5F991680E96}"/>
              </a:ext>
            </a:extLst>
          </p:cNvPr>
          <p:cNvSpPr/>
          <p:nvPr/>
        </p:nvSpPr>
        <p:spPr>
          <a:xfrm rot="5400000">
            <a:off x="298912" y="1973371"/>
            <a:ext cx="360000" cy="72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lIns="108000" tIns="72000" rIns="108000" bIns="72000" rtlCol="0" anchor="ctr"/>
          <a:lstStyle/>
          <a:p>
            <a:pPr algn="ctr">
              <a:lnSpc>
                <a:spcPct val="100000"/>
              </a:lnSpc>
            </a:pPr>
            <a:endParaRPr lang="en-GB" sz="1600"/>
          </a:p>
        </p:txBody>
      </p:sp>
      <p:sp>
        <p:nvSpPr>
          <p:cNvPr id="48" name="Rectangle 47">
            <a:extLst>
              <a:ext uri="{FF2B5EF4-FFF2-40B4-BE49-F238E27FC236}">
                <a16:creationId xmlns:a16="http://schemas.microsoft.com/office/drawing/2014/main" id="{5AB3B4DE-DD78-393C-3B85-80B8A6F92339}"/>
              </a:ext>
            </a:extLst>
          </p:cNvPr>
          <p:cNvSpPr/>
          <p:nvPr/>
        </p:nvSpPr>
        <p:spPr>
          <a:xfrm>
            <a:off x="3858406" y="2435045"/>
            <a:ext cx="939059" cy="1384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a:lnSpc>
                <a:spcPct val="90000"/>
              </a:lnSpc>
              <a:spcBef>
                <a:spcPct val="0"/>
              </a:spcBef>
              <a:spcAft>
                <a:spcPct val="35000"/>
              </a:spcAft>
              <a:buNone/>
            </a:pPr>
            <a:r>
              <a:rPr lang="lv-LV" sz="1000" b="1" kern="1200">
                <a:solidFill>
                  <a:schemeClr val="tx1"/>
                </a:solidFill>
              </a:rPr>
              <a:t>Satversme</a:t>
            </a:r>
          </a:p>
        </p:txBody>
      </p:sp>
      <p:sp>
        <p:nvSpPr>
          <p:cNvPr id="50" name="Rectangle 49">
            <a:extLst>
              <a:ext uri="{FF2B5EF4-FFF2-40B4-BE49-F238E27FC236}">
                <a16:creationId xmlns:a16="http://schemas.microsoft.com/office/drawing/2014/main" id="{B2AB80B2-B64E-F2FF-6D33-1EFDC27F4C04}"/>
              </a:ext>
            </a:extLst>
          </p:cNvPr>
          <p:cNvSpPr/>
          <p:nvPr/>
        </p:nvSpPr>
        <p:spPr>
          <a:xfrm>
            <a:off x="3752997" y="2722088"/>
            <a:ext cx="1044468" cy="2769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rtl="0">
              <a:lnSpc>
                <a:spcPct val="90000"/>
              </a:lnSpc>
              <a:spcBef>
                <a:spcPct val="0"/>
              </a:spcBef>
              <a:spcAft>
                <a:spcPct val="35000"/>
              </a:spcAft>
              <a:buNone/>
            </a:pPr>
            <a:r>
              <a:rPr lang="lv-LV" sz="1000" b="1" kern="1200">
                <a:solidFill>
                  <a:schemeClr val="tx1"/>
                </a:solidFill>
              </a:rPr>
              <a:t>Starptautisko tiesību normas</a:t>
            </a:r>
          </a:p>
        </p:txBody>
      </p:sp>
      <p:sp>
        <p:nvSpPr>
          <p:cNvPr id="51" name="Rectangle 50">
            <a:extLst>
              <a:ext uri="{FF2B5EF4-FFF2-40B4-BE49-F238E27FC236}">
                <a16:creationId xmlns:a16="http://schemas.microsoft.com/office/drawing/2014/main" id="{B3E24090-FF27-C20C-E802-2B85A13287F3}"/>
              </a:ext>
            </a:extLst>
          </p:cNvPr>
          <p:cNvSpPr/>
          <p:nvPr/>
        </p:nvSpPr>
        <p:spPr>
          <a:xfrm>
            <a:off x="3959239" y="3183316"/>
            <a:ext cx="821992" cy="1384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a:lnSpc>
                <a:spcPct val="90000"/>
              </a:lnSpc>
              <a:spcBef>
                <a:spcPct val="0"/>
              </a:spcBef>
              <a:spcAft>
                <a:spcPct val="35000"/>
              </a:spcAft>
              <a:buNone/>
            </a:pPr>
            <a:r>
              <a:rPr lang="lv-LV" sz="1000" b="1" kern="1200">
                <a:solidFill>
                  <a:schemeClr val="tx1"/>
                </a:solidFill>
              </a:rPr>
              <a:t>Likumi</a:t>
            </a:r>
          </a:p>
        </p:txBody>
      </p:sp>
      <p:sp>
        <p:nvSpPr>
          <p:cNvPr id="52" name="Rectangle 51">
            <a:extLst>
              <a:ext uri="{FF2B5EF4-FFF2-40B4-BE49-F238E27FC236}">
                <a16:creationId xmlns:a16="http://schemas.microsoft.com/office/drawing/2014/main" id="{2423F577-58D5-58EB-AC14-97089F55CEE4}"/>
              </a:ext>
            </a:extLst>
          </p:cNvPr>
          <p:cNvSpPr/>
          <p:nvPr/>
        </p:nvSpPr>
        <p:spPr>
          <a:xfrm>
            <a:off x="3776557" y="3476748"/>
            <a:ext cx="1004674" cy="4154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rtl="0">
              <a:lnSpc>
                <a:spcPct val="90000"/>
              </a:lnSpc>
              <a:spcBef>
                <a:spcPct val="0"/>
              </a:spcBef>
              <a:spcAft>
                <a:spcPct val="35000"/>
              </a:spcAft>
              <a:buNone/>
            </a:pPr>
            <a:r>
              <a:rPr lang="lv-LV" sz="1000" b="1" kern="1200">
                <a:solidFill>
                  <a:schemeClr val="tx1"/>
                </a:solidFill>
              </a:rPr>
              <a:t>Ministru kabineta noteikumi</a:t>
            </a:r>
          </a:p>
        </p:txBody>
      </p:sp>
      <p:sp>
        <p:nvSpPr>
          <p:cNvPr id="53" name="Rectangle 52">
            <a:extLst>
              <a:ext uri="{FF2B5EF4-FFF2-40B4-BE49-F238E27FC236}">
                <a16:creationId xmlns:a16="http://schemas.microsoft.com/office/drawing/2014/main" id="{834C3B73-A477-BE88-E7A3-AF671AABF70D}"/>
              </a:ext>
            </a:extLst>
          </p:cNvPr>
          <p:cNvSpPr/>
          <p:nvPr/>
        </p:nvSpPr>
        <p:spPr>
          <a:xfrm>
            <a:off x="3776557" y="3946623"/>
            <a:ext cx="1004673" cy="4154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rtl="0">
              <a:lnSpc>
                <a:spcPct val="90000"/>
              </a:lnSpc>
              <a:spcBef>
                <a:spcPct val="0"/>
              </a:spcBef>
              <a:spcAft>
                <a:spcPct val="35000"/>
              </a:spcAft>
              <a:buNone/>
            </a:pPr>
            <a:r>
              <a:rPr lang="lv-LV" sz="1000" b="1" kern="1200">
                <a:solidFill>
                  <a:schemeClr val="tx1"/>
                </a:solidFill>
              </a:rPr>
              <a:t>Pašvaldību saistošie noteikumi</a:t>
            </a:r>
          </a:p>
        </p:txBody>
      </p:sp>
      <p:sp>
        <p:nvSpPr>
          <p:cNvPr id="62" name="Google Shape;1488;p91">
            <a:extLst>
              <a:ext uri="{FF2B5EF4-FFF2-40B4-BE49-F238E27FC236}">
                <a16:creationId xmlns:a16="http://schemas.microsoft.com/office/drawing/2014/main" id="{5A2B5532-E522-46B2-D477-DC94164963C7}"/>
              </a:ext>
            </a:extLst>
          </p:cNvPr>
          <p:cNvSpPr/>
          <p:nvPr/>
        </p:nvSpPr>
        <p:spPr>
          <a:xfrm>
            <a:off x="3000980" y="2459166"/>
            <a:ext cx="134172" cy="134172"/>
          </a:xfrm>
          <a:custGeom>
            <a:avLst/>
            <a:gdLst/>
            <a:ahLst/>
            <a:cxnLst/>
            <a:rect l="l" t="t" r="r" b="b"/>
            <a:pathLst>
              <a:path w="395" h="396" extrusionOk="0">
                <a:moveTo>
                  <a:pt x="0" y="0"/>
                </a:moveTo>
                <a:lnTo>
                  <a:pt x="0" y="396"/>
                </a:lnTo>
                <a:lnTo>
                  <a:pt x="395" y="396"/>
                </a:lnTo>
                <a:lnTo>
                  <a:pt x="395" y="0"/>
                </a:lnTo>
                <a:lnTo>
                  <a:pt x="0" y="0"/>
                </a:lnTo>
                <a:close/>
                <a:moveTo>
                  <a:pt x="378" y="379"/>
                </a:moveTo>
                <a:lnTo>
                  <a:pt x="17" y="379"/>
                </a:lnTo>
                <a:lnTo>
                  <a:pt x="17" y="16"/>
                </a:lnTo>
                <a:lnTo>
                  <a:pt x="378" y="16"/>
                </a:lnTo>
                <a:lnTo>
                  <a:pt x="378" y="379"/>
                </a:lnTo>
                <a:close/>
                <a:moveTo>
                  <a:pt x="343" y="346"/>
                </a:moveTo>
                <a:lnTo>
                  <a:pt x="50" y="346"/>
                </a:lnTo>
                <a:lnTo>
                  <a:pt x="50" y="329"/>
                </a:lnTo>
                <a:lnTo>
                  <a:pt x="343" y="329"/>
                </a:lnTo>
                <a:lnTo>
                  <a:pt x="343" y="346"/>
                </a:lnTo>
                <a:close/>
                <a:moveTo>
                  <a:pt x="343" y="140"/>
                </a:moveTo>
                <a:lnTo>
                  <a:pt x="207" y="140"/>
                </a:lnTo>
                <a:lnTo>
                  <a:pt x="207" y="115"/>
                </a:lnTo>
                <a:lnTo>
                  <a:pt x="237" y="115"/>
                </a:lnTo>
                <a:lnTo>
                  <a:pt x="237" y="130"/>
                </a:lnTo>
                <a:lnTo>
                  <a:pt x="289" y="130"/>
                </a:lnTo>
                <a:lnTo>
                  <a:pt x="289" y="75"/>
                </a:lnTo>
                <a:lnTo>
                  <a:pt x="255" y="75"/>
                </a:lnTo>
                <a:lnTo>
                  <a:pt x="255" y="54"/>
                </a:lnTo>
                <a:lnTo>
                  <a:pt x="190" y="54"/>
                </a:lnTo>
                <a:lnTo>
                  <a:pt x="190" y="140"/>
                </a:lnTo>
                <a:lnTo>
                  <a:pt x="50" y="140"/>
                </a:lnTo>
                <a:lnTo>
                  <a:pt x="50" y="157"/>
                </a:lnTo>
                <a:lnTo>
                  <a:pt x="343" y="157"/>
                </a:lnTo>
                <a:lnTo>
                  <a:pt x="343" y="140"/>
                </a:lnTo>
                <a:close/>
                <a:moveTo>
                  <a:pt x="273" y="92"/>
                </a:moveTo>
                <a:lnTo>
                  <a:pt x="273" y="114"/>
                </a:lnTo>
                <a:lnTo>
                  <a:pt x="255" y="114"/>
                </a:lnTo>
                <a:lnTo>
                  <a:pt x="255" y="92"/>
                </a:lnTo>
                <a:lnTo>
                  <a:pt x="273" y="92"/>
                </a:lnTo>
                <a:close/>
                <a:moveTo>
                  <a:pt x="207" y="71"/>
                </a:moveTo>
                <a:lnTo>
                  <a:pt x="237" y="71"/>
                </a:lnTo>
                <a:lnTo>
                  <a:pt x="237" y="75"/>
                </a:lnTo>
                <a:lnTo>
                  <a:pt x="237" y="98"/>
                </a:lnTo>
                <a:lnTo>
                  <a:pt x="207" y="98"/>
                </a:lnTo>
                <a:lnTo>
                  <a:pt x="207" y="71"/>
                </a:lnTo>
                <a:close/>
                <a:moveTo>
                  <a:pt x="123" y="320"/>
                </a:moveTo>
                <a:lnTo>
                  <a:pt x="123" y="167"/>
                </a:lnTo>
                <a:lnTo>
                  <a:pt x="73" y="167"/>
                </a:lnTo>
                <a:lnTo>
                  <a:pt x="73" y="320"/>
                </a:lnTo>
                <a:lnTo>
                  <a:pt x="123" y="320"/>
                </a:lnTo>
                <a:close/>
                <a:moveTo>
                  <a:pt x="90" y="185"/>
                </a:moveTo>
                <a:lnTo>
                  <a:pt x="106" y="185"/>
                </a:lnTo>
                <a:lnTo>
                  <a:pt x="106" y="302"/>
                </a:lnTo>
                <a:lnTo>
                  <a:pt x="90" y="302"/>
                </a:lnTo>
                <a:lnTo>
                  <a:pt x="90" y="185"/>
                </a:lnTo>
                <a:close/>
                <a:moveTo>
                  <a:pt x="189" y="320"/>
                </a:moveTo>
                <a:lnTo>
                  <a:pt x="189" y="167"/>
                </a:lnTo>
                <a:lnTo>
                  <a:pt x="138" y="167"/>
                </a:lnTo>
                <a:lnTo>
                  <a:pt x="138" y="320"/>
                </a:lnTo>
                <a:lnTo>
                  <a:pt x="189" y="320"/>
                </a:lnTo>
                <a:close/>
                <a:moveTo>
                  <a:pt x="155" y="185"/>
                </a:moveTo>
                <a:lnTo>
                  <a:pt x="172" y="185"/>
                </a:lnTo>
                <a:lnTo>
                  <a:pt x="172" y="302"/>
                </a:lnTo>
                <a:lnTo>
                  <a:pt x="155" y="302"/>
                </a:lnTo>
                <a:lnTo>
                  <a:pt x="155" y="185"/>
                </a:lnTo>
                <a:close/>
                <a:moveTo>
                  <a:pt x="255" y="320"/>
                </a:moveTo>
                <a:lnTo>
                  <a:pt x="255" y="167"/>
                </a:lnTo>
                <a:lnTo>
                  <a:pt x="204" y="167"/>
                </a:lnTo>
                <a:lnTo>
                  <a:pt x="204" y="320"/>
                </a:lnTo>
                <a:lnTo>
                  <a:pt x="255" y="320"/>
                </a:lnTo>
                <a:close/>
                <a:moveTo>
                  <a:pt x="220" y="185"/>
                </a:moveTo>
                <a:lnTo>
                  <a:pt x="237" y="185"/>
                </a:lnTo>
                <a:lnTo>
                  <a:pt x="237" y="302"/>
                </a:lnTo>
                <a:lnTo>
                  <a:pt x="220" y="302"/>
                </a:lnTo>
                <a:lnTo>
                  <a:pt x="220" y="185"/>
                </a:lnTo>
                <a:close/>
                <a:moveTo>
                  <a:pt x="320" y="320"/>
                </a:moveTo>
                <a:lnTo>
                  <a:pt x="320" y="167"/>
                </a:lnTo>
                <a:lnTo>
                  <a:pt x="269" y="167"/>
                </a:lnTo>
                <a:lnTo>
                  <a:pt x="269" y="320"/>
                </a:lnTo>
                <a:lnTo>
                  <a:pt x="320" y="320"/>
                </a:lnTo>
                <a:close/>
                <a:moveTo>
                  <a:pt x="287" y="185"/>
                </a:moveTo>
                <a:lnTo>
                  <a:pt x="304" y="185"/>
                </a:lnTo>
                <a:lnTo>
                  <a:pt x="304" y="302"/>
                </a:lnTo>
                <a:lnTo>
                  <a:pt x="287" y="302"/>
                </a:lnTo>
                <a:lnTo>
                  <a:pt x="287" y="185"/>
                </a:lnTo>
                <a:close/>
              </a:path>
            </a:pathLst>
          </a:custGeom>
          <a:solidFill>
            <a:schemeClr val="tx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800">
              <a:solidFill>
                <a:schemeClr val="accent1"/>
              </a:solidFill>
              <a:ea typeface="Arial"/>
              <a:cs typeface="Arial"/>
              <a:sym typeface="Arial"/>
            </a:endParaRPr>
          </a:p>
        </p:txBody>
      </p:sp>
      <p:sp>
        <p:nvSpPr>
          <p:cNvPr id="64" name="Google Shape;1490;p91">
            <a:extLst>
              <a:ext uri="{FF2B5EF4-FFF2-40B4-BE49-F238E27FC236}">
                <a16:creationId xmlns:a16="http://schemas.microsoft.com/office/drawing/2014/main" id="{F40020BD-5A15-494A-C9E7-F67F0B36DEF1}"/>
              </a:ext>
            </a:extLst>
          </p:cNvPr>
          <p:cNvSpPr/>
          <p:nvPr/>
        </p:nvSpPr>
        <p:spPr>
          <a:xfrm>
            <a:off x="3000980" y="2793501"/>
            <a:ext cx="134172" cy="134172"/>
          </a:xfrm>
          <a:custGeom>
            <a:avLst/>
            <a:gdLst/>
            <a:ahLst/>
            <a:cxnLst/>
            <a:rect l="l" t="t" r="r" b="b"/>
            <a:pathLst>
              <a:path w="346" h="346" extrusionOk="0">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800">
              <a:solidFill>
                <a:schemeClr val="accent1"/>
              </a:solidFill>
              <a:ea typeface="Arial"/>
              <a:cs typeface="Arial"/>
              <a:sym typeface="Arial"/>
            </a:endParaRPr>
          </a:p>
        </p:txBody>
      </p:sp>
      <p:sp>
        <p:nvSpPr>
          <p:cNvPr id="65" name="Google Shape;1984;p97">
            <a:extLst>
              <a:ext uri="{FF2B5EF4-FFF2-40B4-BE49-F238E27FC236}">
                <a16:creationId xmlns:a16="http://schemas.microsoft.com/office/drawing/2014/main" id="{6A43E101-74E8-935D-6E62-C6B3E954F37E}"/>
              </a:ext>
            </a:extLst>
          </p:cNvPr>
          <p:cNvSpPr/>
          <p:nvPr/>
        </p:nvSpPr>
        <p:spPr>
          <a:xfrm>
            <a:off x="3000980" y="3214981"/>
            <a:ext cx="134172" cy="134172"/>
          </a:xfrm>
          <a:custGeom>
            <a:avLst/>
            <a:gdLst/>
            <a:ahLst/>
            <a:cxnLst/>
            <a:rect l="l" t="t" r="r" b="b"/>
            <a:pathLst>
              <a:path w="453744" h="453590" extrusionOk="0">
                <a:moveTo>
                  <a:pt x="357292" y="0"/>
                </a:moveTo>
                <a:lnTo>
                  <a:pt x="0" y="0"/>
                </a:lnTo>
                <a:lnTo>
                  <a:pt x="0" y="453590"/>
                </a:lnTo>
                <a:lnTo>
                  <a:pt x="453744" y="453590"/>
                </a:lnTo>
                <a:lnTo>
                  <a:pt x="453744" y="96419"/>
                </a:lnTo>
                <a:close/>
                <a:moveTo>
                  <a:pt x="362964" y="33074"/>
                </a:moveTo>
                <a:lnTo>
                  <a:pt x="423936" y="94025"/>
                </a:lnTo>
                <a:lnTo>
                  <a:pt x="362964" y="94025"/>
                </a:lnTo>
                <a:close/>
                <a:moveTo>
                  <a:pt x="19505" y="434250"/>
                </a:moveTo>
                <a:lnTo>
                  <a:pt x="19505" y="19372"/>
                </a:lnTo>
                <a:lnTo>
                  <a:pt x="343585" y="19372"/>
                </a:lnTo>
                <a:lnTo>
                  <a:pt x="343585" y="113398"/>
                </a:lnTo>
                <a:lnTo>
                  <a:pt x="434365" y="113398"/>
                </a:lnTo>
                <a:lnTo>
                  <a:pt x="434365" y="434250"/>
                </a:lnTo>
                <a:close/>
                <a:moveTo>
                  <a:pt x="224036" y="80953"/>
                </a:moveTo>
                <a:cubicBezTo>
                  <a:pt x="242942" y="80953"/>
                  <a:pt x="257500" y="86141"/>
                  <a:pt x="267709" y="96514"/>
                </a:cubicBezTo>
                <a:cubicBezTo>
                  <a:pt x="277918" y="106887"/>
                  <a:pt x="283265" y="121713"/>
                  <a:pt x="283748" y="140991"/>
                </a:cubicBezTo>
                <a:lnTo>
                  <a:pt x="256176" y="140991"/>
                </a:lnTo>
                <a:cubicBezTo>
                  <a:pt x="256438" y="131488"/>
                  <a:pt x="253132" y="122227"/>
                  <a:pt x="246912" y="115035"/>
                </a:cubicBezTo>
                <a:cubicBezTo>
                  <a:pt x="240878" y="108509"/>
                  <a:pt x="232289" y="104953"/>
                  <a:pt x="223406" y="105302"/>
                </a:cubicBezTo>
                <a:cubicBezTo>
                  <a:pt x="213669" y="105302"/>
                  <a:pt x="206076" y="107791"/>
                  <a:pt x="200687" y="112736"/>
                </a:cubicBezTo>
                <a:cubicBezTo>
                  <a:pt x="195138" y="118047"/>
                  <a:pt x="192170" y="125509"/>
                  <a:pt x="192558" y="133179"/>
                </a:cubicBezTo>
                <a:cubicBezTo>
                  <a:pt x="192876" y="140840"/>
                  <a:pt x="196288" y="148044"/>
                  <a:pt x="202011" y="153150"/>
                </a:cubicBezTo>
                <a:cubicBezTo>
                  <a:pt x="208313" y="159450"/>
                  <a:pt x="219184" y="166641"/>
                  <a:pt x="234624" y="174727"/>
                </a:cubicBezTo>
                <a:cubicBezTo>
                  <a:pt x="259832" y="187034"/>
                  <a:pt x="277090" y="198436"/>
                  <a:pt x="286395" y="208935"/>
                </a:cubicBezTo>
                <a:cubicBezTo>
                  <a:pt x="295198" y="218435"/>
                  <a:pt x="300123" y="230887"/>
                  <a:pt x="300196" y="243836"/>
                </a:cubicBezTo>
                <a:cubicBezTo>
                  <a:pt x="300155" y="253888"/>
                  <a:pt x="297032" y="263684"/>
                  <a:pt x="291247" y="271902"/>
                </a:cubicBezTo>
                <a:cubicBezTo>
                  <a:pt x="285147" y="280804"/>
                  <a:pt x="276488" y="287645"/>
                  <a:pt x="266417" y="291526"/>
                </a:cubicBezTo>
                <a:cubicBezTo>
                  <a:pt x="278911" y="300485"/>
                  <a:pt x="286092" y="315097"/>
                  <a:pt x="285544" y="330459"/>
                </a:cubicBezTo>
                <a:cubicBezTo>
                  <a:pt x="285944" y="344940"/>
                  <a:pt x="279585" y="358780"/>
                  <a:pt x="268339" y="367912"/>
                </a:cubicBezTo>
                <a:cubicBezTo>
                  <a:pt x="256870" y="377551"/>
                  <a:pt x="242375" y="382370"/>
                  <a:pt x="224855" y="382370"/>
                </a:cubicBezTo>
                <a:cubicBezTo>
                  <a:pt x="206454" y="382370"/>
                  <a:pt x="191360" y="377119"/>
                  <a:pt x="179576" y="366621"/>
                </a:cubicBezTo>
                <a:cubicBezTo>
                  <a:pt x="167791" y="356122"/>
                  <a:pt x="161142" y="340927"/>
                  <a:pt x="159630" y="321041"/>
                </a:cubicBezTo>
                <a:lnTo>
                  <a:pt x="187201" y="321041"/>
                </a:lnTo>
                <a:cubicBezTo>
                  <a:pt x="187081" y="331096"/>
                  <a:pt x="190866" y="340807"/>
                  <a:pt x="197757" y="348130"/>
                </a:cubicBezTo>
                <a:cubicBezTo>
                  <a:pt x="204840" y="354912"/>
                  <a:pt x="214397" y="358488"/>
                  <a:pt x="224194" y="358021"/>
                </a:cubicBezTo>
                <a:cubicBezTo>
                  <a:pt x="232537" y="358267"/>
                  <a:pt x="240718" y="355693"/>
                  <a:pt x="247417" y="350713"/>
                </a:cubicBezTo>
                <a:cubicBezTo>
                  <a:pt x="253602" y="346121"/>
                  <a:pt x="257134" y="338785"/>
                  <a:pt x="256870" y="331089"/>
                </a:cubicBezTo>
                <a:cubicBezTo>
                  <a:pt x="256844" y="325624"/>
                  <a:pt x="255017" y="320323"/>
                  <a:pt x="251670" y="316001"/>
                </a:cubicBezTo>
                <a:cubicBezTo>
                  <a:pt x="247666" y="310835"/>
                  <a:pt x="242907" y="306303"/>
                  <a:pt x="237554" y="302551"/>
                </a:cubicBezTo>
                <a:cubicBezTo>
                  <a:pt x="231589" y="298226"/>
                  <a:pt x="217145" y="289825"/>
                  <a:pt x="194228" y="277351"/>
                </a:cubicBezTo>
                <a:cubicBezTo>
                  <a:pt x="177108" y="268258"/>
                  <a:pt x="164451" y="258631"/>
                  <a:pt x="156258" y="248467"/>
                </a:cubicBezTo>
                <a:cubicBezTo>
                  <a:pt x="148066" y="238396"/>
                  <a:pt x="143692" y="225756"/>
                  <a:pt x="143906" y="212778"/>
                </a:cubicBezTo>
                <a:cubicBezTo>
                  <a:pt x="144079" y="203019"/>
                  <a:pt x="147394" y="193573"/>
                  <a:pt x="153359" y="185846"/>
                </a:cubicBezTo>
                <a:cubicBezTo>
                  <a:pt x="159538" y="177253"/>
                  <a:pt x="168408" y="170966"/>
                  <a:pt x="178567" y="167986"/>
                </a:cubicBezTo>
                <a:cubicBezTo>
                  <a:pt x="174105" y="163122"/>
                  <a:pt x="170340" y="157664"/>
                  <a:pt x="167381" y="151764"/>
                </a:cubicBezTo>
                <a:cubicBezTo>
                  <a:pt x="164788" y="146075"/>
                  <a:pt x="163515" y="139873"/>
                  <a:pt x="163663" y="133620"/>
                </a:cubicBezTo>
                <a:cubicBezTo>
                  <a:pt x="163439" y="119168"/>
                  <a:pt x="169763" y="105390"/>
                  <a:pt x="180868" y="96136"/>
                </a:cubicBezTo>
                <a:cubicBezTo>
                  <a:pt x="192791" y="85839"/>
                  <a:pt x="208161" y="80418"/>
                  <a:pt x="223910" y="80953"/>
                </a:cubicBezTo>
                <a:close/>
                <a:moveTo>
                  <a:pt x="170816" y="211392"/>
                </a:moveTo>
                <a:cubicBezTo>
                  <a:pt x="170712" y="219355"/>
                  <a:pt x="173743" y="227038"/>
                  <a:pt x="179260" y="232780"/>
                </a:cubicBezTo>
                <a:cubicBezTo>
                  <a:pt x="184869" y="238850"/>
                  <a:pt x="197095" y="246860"/>
                  <a:pt x="215938" y="256814"/>
                </a:cubicBezTo>
                <a:cubicBezTo>
                  <a:pt x="227789" y="263161"/>
                  <a:pt x="239240" y="270230"/>
                  <a:pt x="250221" y="277982"/>
                </a:cubicBezTo>
                <a:cubicBezTo>
                  <a:pt x="265787" y="271263"/>
                  <a:pt x="273570" y="261202"/>
                  <a:pt x="273570" y="247805"/>
                </a:cubicBezTo>
                <a:cubicBezTo>
                  <a:pt x="273214" y="241285"/>
                  <a:pt x="270696" y="235067"/>
                  <a:pt x="266417" y="230134"/>
                </a:cubicBezTo>
                <a:cubicBezTo>
                  <a:pt x="261668" y="223960"/>
                  <a:pt x="250211" y="215559"/>
                  <a:pt x="232040" y="204935"/>
                </a:cubicBezTo>
                <a:cubicBezTo>
                  <a:pt x="219083" y="197929"/>
                  <a:pt x="206513" y="190231"/>
                  <a:pt x="194385" y="181877"/>
                </a:cubicBezTo>
                <a:cubicBezTo>
                  <a:pt x="187560" y="184117"/>
                  <a:pt x="181529" y="188284"/>
                  <a:pt x="177023" y="193878"/>
                </a:cubicBezTo>
                <a:cubicBezTo>
                  <a:pt x="172974" y="198824"/>
                  <a:pt x="170740" y="205004"/>
                  <a:pt x="170690" y="211392"/>
                </a:cubicBezTo>
                <a:close/>
              </a:path>
            </a:pathLst>
          </a:custGeom>
          <a:solidFill>
            <a:schemeClr val="tx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lv-LV" sz="800">
              <a:solidFill>
                <a:schemeClr val="dk1"/>
              </a:solidFill>
              <a:ea typeface="Arial"/>
              <a:cs typeface="Arial"/>
              <a:sym typeface="Arial"/>
            </a:endParaRPr>
          </a:p>
        </p:txBody>
      </p:sp>
      <p:sp>
        <p:nvSpPr>
          <p:cNvPr id="67" name="Google Shape;1973;p97">
            <a:extLst>
              <a:ext uri="{FF2B5EF4-FFF2-40B4-BE49-F238E27FC236}">
                <a16:creationId xmlns:a16="http://schemas.microsoft.com/office/drawing/2014/main" id="{7766A145-7EF5-FEA8-31B6-45CC4BB68912}"/>
              </a:ext>
            </a:extLst>
          </p:cNvPr>
          <p:cNvSpPr/>
          <p:nvPr/>
        </p:nvSpPr>
        <p:spPr>
          <a:xfrm>
            <a:off x="3000980" y="3636460"/>
            <a:ext cx="134172" cy="134172"/>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800">
              <a:solidFill>
                <a:schemeClr val="accent1"/>
              </a:solidFill>
              <a:ea typeface="Arial"/>
              <a:cs typeface="Arial"/>
              <a:sym typeface="Arial"/>
            </a:endParaRPr>
          </a:p>
        </p:txBody>
      </p:sp>
      <p:sp>
        <p:nvSpPr>
          <p:cNvPr id="68" name="Google Shape;1978;p97">
            <a:extLst>
              <a:ext uri="{FF2B5EF4-FFF2-40B4-BE49-F238E27FC236}">
                <a16:creationId xmlns:a16="http://schemas.microsoft.com/office/drawing/2014/main" id="{B1805F90-5520-9FAD-C674-DA70DC9656FD}"/>
              </a:ext>
            </a:extLst>
          </p:cNvPr>
          <p:cNvSpPr/>
          <p:nvPr/>
        </p:nvSpPr>
        <p:spPr>
          <a:xfrm>
            <a:off x="3000980" y="4057940"/>
            <a:ext cx="134172" cy="134172"/>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tx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800">
              <a:solidFill>
                <a:schemeClr val="dk1"/>
              </a:solidFill>
              <a:ea typeface="Arial"/>
              <a:cs typeface="Arial"/>
              <a:sym typeface="Arial"/>
            </a:endParaRPr>
          </a:p>
        </p:txBody>
      </p:sp>
      <p:sp>
        <p:nvSpPr>
          <p:cNvPr id="87" name="Rectangle 86">
            <a:extLst>
              <a:ext uri="{FF2B5EF4-FFF2-40B4-BE49-F238E27FC236}">
                <a16:creationId xmlns:a16="http://schemas.microsoft.com/office/drawing/2014/main" id="{0305232F-9841-2B71-6A7A-C468BABA8396}"/>
              </a:ext>
            </a:extLst>
          </p:cNvPr>
          <p:cNvSpPr/>
          <p:nvPr/>
        </p:nvSpPr>
        <p:spPr>
          <a:xfrm rot="5400000">
            <a:off x="4948514" y="1961640"/>
            <a:ext cx="360000" cy="72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lIns="108000" tIns="72000" rIns="108000" bIns="72000" rtlCol="0" anchor="ctr"/>
          <a:lstStyle/>
          <a:p>
            <a:pPr algn="ctr">
              <a:lnSpc>
                <a:spcPct val="100000"/>
              </a:lnSpc>
            </a:pPr>
            <a:endParaRPr lang="en-GB" sz="1600"/>
          </a:p>
        </p:txBody>
      </p:sp>
      <p:sp>
        <p:nvSpPr>
          <p:cNvPr id="88" name="Rectangle 87">
            <a:extLst>
              <a:ext uri="{FF2B5EF4-FFF2-40B4-BE49-F238E27FC236}">
                <a16:creationId xmlns:a16="http://schemas.microsoft.com/office/drawing/2014/main" id="{182C93B2-7760-B936-47FD-9013FF4C21A8}"/>
              </a:ext>
            </a:extLst>
          </p:cNvPr>
          <p:cNvSpPr/>
          <p:nvPr/>
        </p:nvSpPr>
        <p:spPr>
          <a:xfrm rot="5400000">
            <a:off x="5038514" y="2373818"/>
            <a:ext cx="180000" cy="72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lIns="108000" tIns="72000" rIns="108000" bIns="72000" rtlCol="0" anchor="ctr"/>
          <a:lstStyle/>
          <a:p>
            <a:pPr algn="ctr">
              <a:lnSpc>
                <a:spcPct val="100000"/>
              </a:lnSpc>
            </a:pPr>
            <a:endParaRPr lang="en-GB" sz="1600"/>
          </a:p>
        </p:txBody>
      </p:sp>
      <p:sp>
        <p:nvSpPr>
          <p:cNvPr id="89" name="Rectangle 88">
            <a:extLst>
              <a:ext uri="{FF2B5EF4-FFF2-40B4-BE49-F238E27FC236}">
                <a16:creationId xmlns:a16="http://schemas.microsoft.com/office/drawing/2014/main" id="{640C7315-7ED3-BBE3-D766-31C72E253DEC}"/>
              </a:ext>
            </a:extLst>
          </p:cNvPr>
          <p:cNvSpPr/>
          <p:nvPr/>
        </p:nvSpPr>
        <p:spPr>
          <a:xfrm rot="5400000">
            <a:off x="5038514" y="3062804"/>
            <a:ext cx="180000" cy="72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lIns="108000" tIns="72000" rIns="108000" bIns="72000" rtlCol="0" anchor="ctr"/>
          <a:lstStyle/>
          <a:p>
            <a:pPr algn="ctr">
              <a:lnSpc>
                <a:spcPct val="100000"/>
              </a:lnSpc>
            </a:pPr>
            <a:endParaRPr lang="en-GB" sz="1600"/>
          </a:p>
        </p:txBody>
      </p:sp>
      <p:sp>
        <p:nvSpPr>
          <p:cNvPr id="90" name="Rectangle 89">
            <a:extLst>
              <a:ext uri="{FF2B5EF4-FFF2-40B4-BE49-F238E27FC236}">
                <a16:creationId xmlns:a16="http://schemas.microsoft.com/office/drawing/2014/main" id="{C170A0BD-7B65-11DA-B979-9C629CFF2983}"/>
              </a:ext>
            </a:extLst>
          </p:cNvPr>
          <p:cNvSpPr/>
          <p:nvPr/>
        </p:nvSpPr>
        <p:spPr>
          <a:xfrm rot="5400000">
            <a:off x="5038514" y="4077820"/>
            <a:ext cx="180000" cy="72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lIns="108000" tIns="72000" rIns="108000" bIns="72000" rtlCol="0" anchor="ctr"/>
          <a:lstStyle/>
          <a:p>
            <a:pPr algn="ctr">
              <a:lnSpc>
                <a:spcPct val="100000"/>
              </a:lnSpc>
            </a:pPr>
            <a:endParaRPr lang="en-GB" sz="1600"/>
          </a:p>
        </p:txBody>
      </p:sp>
      <p:sp>
        <p:nvSpPr>
          <p:cNvPr id="91" name="Rectangle 90">
            <a:extLst>
              <a:ext uri="{FF2B5EF4-FFF2-40B4-BE49-F238E27FC236}">
                <a16:creationId xmlns:a16="http://schemas.microsoft.com/office/drawing/2014/main" id="{8806A0DB-EA05-711A-F693-A7F6CD008A65}"/>
              </a:ext>
            </a:extLst>
          </p:cNvPr>
          <p:cNvSpPr/>
          <p:nvPr/>
        </p:nvSpPr>
        <p:spPr>
          <a:xfrm rot="5400000">
            <a:off x="5038514" y="5172678"/>
            <a:ext cx="180000" cy="72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lIns="108000" tIns="72000" rIns="108000" bIns="72000" rtlCol="0" anchor="ctr"/>
          <a:lstStyle/>
          <a:p>
            <a:pPr algn="ctr">
              <a:lnSpc>
                <a:spcPct val="100000"/>
              </a:lnSpc>
            </a:pPr>
            <a:endParaRPr lang="en-GB" sz="1600"/>
          </a:p>
        </p:txBody>
      </p:sp>
      <p:sp>
        <p:nvSpPr>
          <p:cNvPr id="93" name="Rectangle 92">
            <a:extLst>
              <a:ext uri="{FF2B5EF4-FFF2-40B4-BE49-F238E27FC236}">
                <a16:creationId xmlns:a16="http://schemas.microsoft.com/office/drawing/2014/main" id="{43C4590C-01C0-631E-8EF9-095C17B37506}"/>
              </a:ext>
            </a:extLst>
          </p:cNvPr>
          <p:cNvSpPr/>
          <p:nvPr/>
        </p:nvSpPr>
        <p:spPr>
          <a:xfrm rot="5400000">
            <a:off x="8363617" y="2373818"/>
            <a:ext cx="180000" cy="72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lIns="108000" tIns="72000" rIns="108000" bIns="72000" rtlCol="0" anchor="ctr"/>
          <a:lstStyle/>
          <a:p>
            <a:pPr algn="ctr">
              <a:lnSpc>
                <a:spcPct val="100000"/>
              </a:lnSpc>
            </a:pPr>
            <a:endParaRPr lang="en-GB" sz="1600"/>
          </a:p>
        </p:txBody>
      </p:sp>
      <p:sp>
        <p:nvSpPr>
          <p:cNvPr id="94" name="Rectangle 93">
            <a:extLst>
              <a:ext uri="{FF2B5EF4-FFF2-40B4-BE49-F238E27FC236}">
                <a16:creationId xmlns:a16="http://schemas.microsoft.com/office/drawing/2014/main" id="{B8C5853B-84E3-0DE4-84D1-470F7DBF6DE3}"/>
              </a:ext>
            </a:extLst>
          </p:cNvPr>
          <p:cNvSpPr/>
          <p:nvPr/>
        </p:nvSpPr>
        <p:spPr>
          <a:xfrm rot="5400000">
            <a:off x="8363617" y="3062804"/>
            <a:ext cx="180000" cy="72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lIns="108000" tIns="72000" rIns="108000" bIns="72000" rtlCol="0" anchor="ctr"/>
          <a:lstStyle/>
          <a:p>
            <a:pPr algn="ctr">
              <a:lnSpc>
                <a:spcPct val="100000"/>
              </a:lnSpc>
            </a:pPr>
            <a:endParaRPr lang="en-GB" sz="1600"/>
          </a:p>
        </p:txBody>
      </p:sp>
      <p:sp>
        <p:nvSpPr>
          <p:cNvPr id="95" name="Rectangle 94">
            <a:extLst>
              <a:ext uri="{FF2B5EF4-FFF2-40B4-BE49-F238E27FC236}">
                <a16:creationId xmlns:a16="http://schemas.microsoft.com/office/drawing/2014/main" id="{4D674C72-B2C7-8C09-C0B0-640D68164E73}"/>
              </a:ext>
            </a:extLst>
          </p:cNvPr>
          <p:cNvSpPr/>
          <p:nvPr/>
        </p:nvSpPr>
        <p:spPr>
          <a:xfrm rot="5400000">
            <a:off x="8363617" y="4077820"/>
            <a:ext cx="180000" cy="72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lIns="108000" tIns="72000" rIns="108000" bIns="72000" rtlCol="0" anchor="ctr"/>
          <a:lstStyle/>
          <a:p>
            <a:pPr algn="ctr">
              <a:lnSpc>
                <a:spcPct val="100000"/>
              </a:lnSpc>
            </a:pPr>
            <a:endParaRPr lang="en-GB" sz="1600"/>
          </a:p>
        </p:txBody>
      </p:sp>
      <p:sp>
        <p:nvSpPr>
          <p:cNvPr id="96" name="Rectangle 95">
            <a:extLst>
              <a:ext uri="{FF2B5EF4-FFF2-40B4-BE49-F238E27FC236}">
                <a16:creationId xmlns:a16="http://schemas.microsoft.com/office/drawing/2014/main" id="{B5E80ACD-DBCD-5187-562C-41AB9660CC77}"/>
              </a:ext>
            </a:extLst>
          </p:cNvPr>
          <p:cNvSpPr/>
          <p:nvPr/>
        </p:nvSpPr>
        <p:spPr>
          <a:xfrm rot="5400000">
            <a:off x="8363617" y="5172678"/>
            <a:ext cx="180000" cy="72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lIns="108000" tIns="72000" rIns="108000" bIns="72000" rtlCol="0" anchor="ctr"/>
          <a:lstStyle/>
          <a:p>
            <a:pPr algn="ctr">
              <a:lnSpc>
                <a:spcPct val="100000"/>
              </a:lnSpc>
            </a:pPr>
            <a:endParaRPr lang="en-GB" sz="1600"/>
          </a:p>
        </p:txBody>
      </p:sp>
      <p:sp>
        <p:nvSpPr>
          <p:cNvPr id="26" name="Rectangle 25">
            <a:extLst>
              <a:ext uri="{FF2B5EF4-FFF2-40B4-BE49-F238E27FC236}">
                <a16:creationId xmlns:a16="http://schemas.microsoft.com/office/drawing/2014/main" id="{E90EBED5-0119-63B5-8ADA-A782F80BE09D}"/>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rgbClr val="A4A3B2"/>
                </a:solidFill>
                <a:effectLst/>
                <a:uLnTx/>
                <a:uFillTx/>
                <a:ea typeface="Georgia"/>
                <a:cs typeface="Georgia"/>
                <a:sym typeface="Georgia"/>
              </a:rPr>
              <a:t>2. CIVILĀS AIZSARDZĪBAS SISTĒMA UN NORMATĪVAIS UN POLITIKAS PLĀNOŠANAS IETVARS</a:t>
            </a:r>
          </a:p>
        </p:txBody>
      </p:sp>
      <p:grpSp>
        <p:nvGrpSpPr>
          <p:cNvPr id="21" name="Group 20">
            <a:extLst>
              <a:ext uri="{FF2B5EF4-FFF2-40B4-BE49-F238E27FC236}">
                <a16:creationId xmlns:a16="http://schemas.microsoft.com/office/drawing/2014/main" id="{48E6EDED-8E66-2FFC-11D6-96BE03DF74A5}"/>
              </a:ext>
            </a:extLst>
          </p:cNvPr>
          <p:cNvGrpSpPr/>
          <p:nvPr/>
        </p:nvGrpSpPr>
        <p:grpSpPr>
          <a:xfrm>
            <a:off x="6406877" y="127593"/>
            <a:ext cx="5342171" cy="220690"/>
            <a:chOff x="6167418" y="135399"/>
            <a:chExt cx="5342171" cy="220690"/>
          </a:xfrm>
        </p:grpSpPr>
        <p:sp>
          <p:nvSpPr>
            <p:cNvPr id="4" name="Rectangle 3">
              <a:extLst>
                <a:ext uri="{FF2B5EF4-FFF2-40B4-BE49-F238E27FC236}">
                  <a16:creationId xmlns:a16="http://schemas.microsoft.com/office/drawing/2014/main" id="{C3FA5395-AA6E-8042-4D17-0DBFB1636A4F}"/>
                </a:ext>
              </a:extLst>
            </p:cNvPr>
            <p:cNvSpPr/>
            <p:nvPr/>
          </p:nvSpPr>
          <p:spPr>
            <a:xfrm>
              <a:off x="6167418" y="13860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 name="Rectangle 4">
              <a:extLst>
                <a:ext uri="{FF2B5EF4-FFF2-40B4-BE49-F238E27FC236}">
                  <a16:creationId xmlns:a16="http://schemas.microsoft.com/office/drawing/2014/main" id="{49BBA7CC-F120-D1BA-005D-62D906F64CC6}"/>
                </a:ext>
              </a:extLst>
            </p:cNvPr>
            <p:cNvSpPr/>
            <p:nvPr/>
          </p:nvSpPr>
          <p:spPr>
            <a:xfrm>
              <a:off x="6409245" y="13860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6" name="Rectangle 5">
              <a:extLst>
                <a:ext uri="{FF2B5EF4-FFF2-40B4-BE49-F238E27FC236}">
                  <a16:creationId xmlns:a16="http://schemas.microsoft.com/office/drawing/2014/main" id="{F236D8FC-0050-EF52-6101-DD4B2B7ED0AC}"/>
                </a:ext>
              </a:extLst>
            </p:cNvPr>
            <p:cNvSpPr/>
            <p:nvPr/>
          </p:nvSpPr>
          <p:spPr>
            <a:xfrm>
              <a:off x="6651072" y="138601"/>
              <a:ext cx="216000" cy="217488"/>
            </a:xfrm>
            <a:prstGeom prst="rect">
              <a:avLst/>
            </a:prstGeom>
            <a:solidFill>
              <a:srgbClr val="F2F2F2"/>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9" name="Rectangle 8">
              <a:extLst>
                <a:ext uri="{FF2B5EF4-FFF2-40B4-BE49-F238E27FC236}">
                  <a16:creationId xmlns:a16="http://schemas.microsoft.com/office/drawing/2014/main" id="{699051EF-D739-0C93-DC76-3ED61251A1C3}"/>
                </a:ext>
              </a:extLst>
            </p:cNvPr>
            <p:cNvSpPr/>
            <p:nvPr/>
          </p:nvSpPr>
          <p:spPr>
            <a:xfrm>
              <a:off x="7369589" y="135399"/>
              <a:ext cx="4140000"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lv-LV" sz="800" b="1"/>
                <a:t>Īpašie tiesiskie režīmi</a:t>
              </a:r>
            </a:p>
          </p:txBody>
        </p:sp>
        <p:sp>
          <p:nvSpPr>
            <p:cNvPr id="18" name="Rectangle 17">
              <a:extLst>
                <a:ext uri="{FF2B5EF4-FFF2-40B4-BE49-F238E27FC236}">
                  <a16:creationId xmlns:a16="http://schemas.microsoft.com/office/drawing/2014/main" id="{BA1E2226-A22D-0D04-C266-36DFCED1D148}"/>
                </a:ext>
              </a:extLst>
            </p:cNvPr>
            <p:cNvSpPr/>
            <p:nvPr/>
          </p:nvSpPr>
          <p:spPr>
            <a:xfrm>
              <a:off x="7127762" y="135399"/>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5</a:t>
              </a:r>
              <a:endParaRPr kumimoji="0" lang="lv-LV" sz="800" b="1" i="0" u="none" strike="noStrike" kern="0" cap="none" spc="0" normalizeH="0" baseline="0">
                <a:ln>
                  <a:noFill/>
                </a:ln>
                <a:effectLst/>
                <a:uLnTx/>
                <a:uFillTx/>
                <a:ea typeface="Georgia"/>
                <a:cs typeface="Georgia"/>
                <a:sym typeface="Georgia"/>
              </a:endParaRPr>
            </a:p>
          </p:txBody>
        </p:sp>
        <p:sp>
          <p:nvSpPr>
            <p:cNvPr id="19" name="Rectangle 18">
              <a:extLst>
                <a:ext uri="{FF2B5EF4-FFF2-40B4-BE49-F238E27FC236}">
                  <a16:creationId xmlns:a16="http://schemas.microsoft.com/office/drawing/2014/main" id="{CF715AF5-C469-F0BE-1F5F-CA81B431899F}"/>
                </a:ext>
              </a:extLst>
            </p:cNvPr>
            <p:cNvSpPr/>
            <p:nvPr/>
          </p:nvSpPr>
          <p:spPr>
            <a:xfrm>
              <a:off x="6892899" y="13860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0165102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26D02910-881C-50EE-F448-D03745506520}"/>
              </a:ext>
            </a:extLst>
          </p:cNvPr>
          <p:cNvPicPr>
            <a:picLocks noGrp="1" noChangeAspect="1"/>
          </p:cNvPicPr>
          <p:nvPr>
            <p:ph type="pic" sz="quarter" idx="10"/>
          </p:nvPr>
        </p:nvPicPr>
        <p:blipFill>
          <a:blip r:embed="rId3"/>
          <a:srcRect t="20933" b="20933"/>
          <a:stretch/>
        </p:blipFill>
        <p:spPr>
          <a:xfrm>
            <a:off x="4327525" y="0"/>
            <a:ext cx="7864475" cy="6858000"/>
          </a:xfrm>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4" name="Title 1">
            <a:extLst>
              <a:ext uri="{FF2B5EF4-FFF2-40B4-BE49-F238E27FC236}">
                <a16:creationId xmlns:a16="http://schemas.microsoft.com/office/drawing/2014/main" id="{B1CBE399-95B1-4855-23E2-3019CA5A03DE}"/>
              </a:ext>
            </a:extLst>
          </p:cNvPr>
          <p:cNvSpPr txBox="1">
            <a:spLocks/>
          </p:cNvSpPr>
          <p:nvPr/>
        </p:nvSpPr>
        <p:spPr>
          <a:xfrm>
            <a:off x="442913" y="749301"/>
            <a:ext cx="7418387" cy="3573114"/>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6000" kern="1200">
                <a:solidFill>
                  <a:schemeClr val="bg1"/>
                </a:solidFill>
                <a:latin typeface="+mj-lt"/>
                <a:ea typeface="+mj-ea"/>
                <a:cs typeface="+mj-cs"/>
              </a:defRPr>
            </a:lvl1pPr>
          </a:lstStyle>
          <a:p>
            <a:r>
              <a:rPr lang="lv-LV" sz="5400"/>
              <a:t>Pielikums: papildu materiāls docētājiem</a:t>
            </a:r>
          </a:p>
        </p:txBody>
      </p:sp>
    </p:spTree>
    <p:extLst>
      <p:ext uri="{BB962C8B-B14F-4D97-AF65-F5344CB8AC3E}">
        <p14:creationId xmlns:p14="http://schemas.microsoft.com/office/powerpoint/2010/main" val="224817554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4E3E1FC-F21E-7096-D595-CEBA46159E6D}"/>
              </a:ext>
            </a:extLst>
          </p:cNvPr>
          <p:cNvGraphicFramePr>
            <a:graphicFrameLocks noChangeAspect="1"/>
          </p:cNvGraphicFramePr>
          <p:nvPr>
            <p:custDataLst>
              <p:tags r:id="rId1"/>
            </p:custDataLst>
            <p:extLst>
              <p:ext uri="{D42A27DB-BD31-4B8C-83A1-F6EECF244321}">
                <p14:modId xmlns:p14="http://schemas.microsoft.com/office/powerpoint/2010/main" val="2658390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6" name="think-cell data - do not delete" hidden="1">
                        <a:extLst>
                          <a:ext uri="{FF2B5EF4-FFF2-40B4-BE49-F238E27FC236}">
                            <a16:creationId xmlns:a16="http://schemas.microsoft.com/office/drawing/2014/main" id="{C4E3E1FC-F21E-7096-D595-CEBA46159E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TextBox 19">
            <a:extLst>
              <a:ext uri="{FF2B5EF4-FFF2-40B4-BE49-F238E27FC236}">
                <a16:creationId xmlns:a16="http://schemas.microsoft.com/office/drawing/2014/main" id="{BB0F0F4A-5AA2-41C2-4789-9D6F4634CD3D}"/>
              </a:ext>
            </a:extLst>
          </p:cNvPr>
          <p:cNvSpPr txBox="1"/>
          <p:nvPr/>
        </p:nvSpPr>
        <p:spPr>
          <a:xfrm>
            <a:off x="442914" y="4660686"/>
            <a:ext cx="11306174" cy="360000"/>
          </a:xfrm>
          <a:prstGeom prst="rect">
            <a:avLst/>
          </a:prstGeom>
          <a:solidFill>
            <a:srgbClr val="A8192D"/>
          </a:solidFill>
        </p:spPr>
        <p:txBody>
          <a:bodyPr wrap="square" lIns="144000" tIns="36000" rIns="72000" bIns="36000" anchor="ctr" anchorCtr="0">
            <a:noAutofit/>
          </a:bodyPr>
          <a:lstStyle/>
          <a:p>
            <a:pPr defTabSz="822960">
              <a:defRPr/>
            </a:pPr>
            <a:r>
              <a:rPr lang="lv-LV" sz="1200" b="1">
                <a:solidFill>
                  <a:schemeClr val="bg1"/>
                </a:solidFill>
                <a:ea typeface="Times New Roman" panose="02020603050405020304" pitchFamily="18" charset="0"/>
                <a:cs typeface="Times New Roman" panose="02020603050405020304" pitchFamily="18" charset="0"/>
              </a:rPr>
              <a:t>Izņēmuma stāvoklis</a:t>
            </a:r>
          </a:p>
        </p:txBody>
      </p:sp>
      <p:sp>
        <p:nvSpPr>
          <p:cNvPr id="2" name="Title 1">
            <a:extLst>
              <a:ext uri="{FF2B5EF4-FFF2-40B4-BE49-F238E27FC236}">
                <a16:creationId xmlns:a16="http://schemas.microsoft.com/office/drawing/2014/main" id="{1A6103D8-B23D-68A9-5B86-59618E4C749F}"/>
              </a:ext>
            </a:extLst>
          </p:cNvPr>
          <p:cNvSpPr>
            <a:spLocks noGrp="1"/>
          </p:cNvSpPr>
          <p:nvPr>
            <p:ph type="title"/>
          </p:nvPr>
        </p:nvSpPr>
        <p:spPr>
          <a:xfrm>
            <a:off x="442913" y="432001"/>
            <a:ext cx="11306175" cy="1387274"/>
          </a:xfrm>
        </p:spPr>
        <p:txBody>
          <a:bodyPr vert="horz"/>
          <a:lstStyle/>
          <a:p>
            <a:r>
              <a:rPr lang="lv-LV">
                <a:solidFill>
                  <a:srgbClr val="A8192D"/>
                </a:solidFill>
              </a:rPr>
              <a:t>Piemēri docētājiem</a:t>
            </a:r>
            <a:br>
              <a:rPr lang="lv-LV"/>
            </a:br>
            <a:r>
              <a:rPr lang="lv-LV" sz="2400">
                <a:solidFill>
                  <a:schemeClr val="tx2"/>
                </a:solidFill>
              </a:rPr>
              <a:t>Īpašo tiesisko režīmu izsludināšanas piemēri</a:t>
            </a:r>
          </a:p>
        </p:txBody>
      </p:sp>
      <p:sp>
        <p:nvSpPr>
          <p:cNvPr id="3" name="Slide Number Placeholder 2">
            <a:extLst>
              <a:ext uri="{FF2B5EF4-FFF2-40B4-BE49-F238E27FC236}">
                <a16:creationId xmlns:a16="http://schemas.microsoft.com/office/drawing/2014/main" id="{3E016C9A-A74E-283F-DCE3-468564AB624D}"/>
              </a:ext>
            </a:extLst>
          </p:cNvPr>
          <p:cNvSpPr>
            <a:spLocks noGrp="1"/>
          </p:cNvSpPr>
          <p:nvPr>
            <p:ph type="sldNum" sz="quarter" idx="11"/>
          </p:nvPr>
        </p:nvSpPr>
        <p:spPr/>
        <p:txBody>
          <a:bodyPr/>
          <a:lstStyle/>
          <a:p>
            <a:fld id="{7870704B-CE94-48CC-AF30-84932A1262A7}" type="slidenum">
              <a:rPr lang="en-GB" smtClean="0"/>
              <a:pPr/>
              <a:t>33</a:t>
            </a:fld>
            <a:endParaRPr lang="en-GB"/>
          </a:p>
        </p:txBody>
      </p:sp>
      <p:sp>
        <p:nvSpPr>
          <p:cNvPr id="4" name="TextBox 3">
            <a:extLst>
              <a:ext uri="{FF2B5EF4-FFF2-40B4-BE49-F238E27FC236}">
                <a16:creationId xmlns:a16="http://schemas.microsoft.com/office/drawing/2014/main" id="{5270752D-6805-08D5-4A17-17E858268133}"/>
              </a:ext>
            </a:extLst>
          </p:cNvPr>
          <p:cNvSpPr txBox="1"/>
          <p:nvPr/>
        </p:nvSpPr>
        <p:spPr>
          <a:xfrm>
            <a:off x="442914" y="1829370"/>
            <a:ext cx="11306174" cy="360000"/>
          </a:xfrm>
          <a:prstGeom prst="rect">
            <a:avLst/>
          </a:prstGeom>
          <a:solidFill>
            <a:srgbClr val="A8192D"/>
          </a:solidFill>
        </p:spPr>
        <p:txBody>
          <a:bodyPr wrap="square" lIns="144000" tIns="36000" rIns="72000" bIns="36000" anchor="ctr" anchorCtr="0">
            <a:noAutofit/>
          </a:bodyPr>
          <a:lstStyle/>
          <a:p>
            <a:pPr defTabSz="822960">
              <a:defRPr/>
            </a:pPr>
            <a:r>
              <a:rPr lang="lv-LV" sz="1200" b="1">
                <a:solidFill>
                  <a:schemeClr val="bg1"/>
                </a:solidFill>
                <a:ea typeface="Times New Roman" panose="02020603050405020304" pitchFamily="18" charset="0"/>
                <a:cs typeface="Times New Roman" panose="02020603050405020304" pitchFamily="18" charset="0"/>
              </a:rPr>
              <a:t>Ārkārtējā situācija</a:t>
            </a:r>
          </a:p>
        </p:txBody>
      </p:sp>
      <p:sp>
        <p:nvSpPr>
          <p:cNvPr id="5" name="Rectangle 4">
            <a:extLst>
              <a:ext uri="{FF2B5EF4-FFF2-40B4-BE49-F238E27FC236}">
                <a16:creationId xmlns:a16="http://schemas.microsoft.com/office/drawing/2014/main" id="{96F1D933-B161-2303-3ABE-670BE51B9FA8}"/>
              </a:ext>
            </a:extLst>
          </p:cNvPr>
          <p:cNvSpPr/>
          <p:nvPr/>
        </p:nvSpPr>
        <p:spPr>
          <a:xfrm rot="5400000">
            <a:off x="298913" y="1973371"/>
            <a:ext cx="360000" cy="72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lIns="108000" tIns="72000" rIns="108000" bIns="72000" rtlCol="0" anchor="ctr"/>
          <a:lstStyle/>
          <a:p>
            <a:pPr algn="ctr">
              <a:lnSpc>
                <a:spcPct val="100000"/>
              </a:lnSpc>
            </a:pPr>
            <a:endParaRPr lang="en-GB" sz="1600"/>
          </a:p>
        </p:txBody>
      </p:sp>
      <p:sp>
        <p:nvSpPr>
          <p:cNvPr id="7" name="Rectangle 6">
            <a:extLst>
              <a:ext uri="{FF2B5EF4-FFF2-40B4-BE49-F238E27FC236}">
                <a16:creationId xmlns:a16="http://schemas.microsoft.com/office/drawing/2014/main" id="{FC9C2756-276E-3CD7-D125-F6309598F451}"/>
              </a:ext>
            </a:extLst>
          </p:cNvPr>
          <p:cNvSpPr/>
          <p:nvPr/>
        </p:nvSpPr>
        <p:spPr>
          <a:xfrm>
            <a:off x="442912" y="2294465"/>
            <a:ext cx="576000" cy="2008188"/>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2800" b="1"/>
          </a:p>
        </p:txBody>
      </p:sp>
      <p:sp>
        <p:nvSpPr>
          <p:cNvPr id="11" name="Rectangle 10">
            <a:extLst>
              <a:ext uri="{FF2B5EF4-FFF2-40B4-BE49-F238E27FC236}">
                <a16:creationId xmlns:a16="http://schemas.microsoft.com/office/drawing/2014/main" id="{C46E4268-9DBB-C04E-896F-37A0A95B4601}"/>
              </a:ext>
            </a:extLst>
          </p:cNvPr>
          <p:cNvSpPr/>
          <p:nvPr/>
        </p:nvSpPr>
        <p:spPr>
          <a:xfrm>
            <a:off x="1120998" y="2294779"/>
            <a:ext cx="4795615" cy="200776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indent="0">
              <a:buNone/>
              <a:defRPr/>
            </a:pPr>
            <a:r>
              <a:rPr lang="lv-LV" sz="1400">
                <a:solidFill>
                  <a:schemeClr val="tx1"/>
                </a:solidFill>
                <a:ea typeface="+mn-lt"/>
                <a:cs typeface="+mn-lt"/>
              </a:rPr>
              <a:t>Ludzas, Krāslavas, Augšdaugavas novada un Daugavpils valstspilsētas pašvaldībās no 2021. gada 11. augusta izsludināta ārkārtējā situācija, ņemot vērā Latvijas Republikas-Baltkrievijas Republikas valsts robežas nelikumīgās šķērsošanas gadījumu skaita straujo pieaugumu, kā arī ievērojot kaimiņvalstī Lietuvā fiksēto lielo Lietuvas Republikas-Baltkrievijas Republikas valsts robežas nelikumīgās šķērsošanas gadījumu skaitu </a:t>
            </a:r>
          </a:p>
        </p:txBody>
      </p:sp>
      <p:sp>
        <p:nvSpPr>
          <p:cNvPr id="17" name="Rectangle 16">
            <a:extLst>
              <a:ext uri="{FF2B5EF4-FFF2-40B4-BE49-F238E27FC236}">
                <a16:creationId xmlns:a16="http://schemas.microsoft.com/office/drawing/2014/main" id="{A2BDBBB8-FB11-B6D7-73C9-74BD055790B7}"/>
              </a:ext>
            </a:extLst>
          </p:cNvPr>
          <p:cNvSpPr/>
          <p:nvPr/>
        </p:nvSpPr>
        <p:spPr>
          <a:xfrm>
            <a:off x="6275386" y="2272986"/>
            <a:ext cx="576000" cy="20081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2800" b="1"/>
          </a:p>
        </p:txBody>
      </p:sp>
      <p:sp>
        <p:nvSpPr>
          <p:cNvPr id="18" name="Rectangle 17">
            <a:extLst>
              <a:ext uri="{FF2B5EF4-FFF2-40B4-BE49-F238E27FC236}">
                <a16:creationId xmlns:a16="http://schemas.microsoft.com/office/drawing/2014/main" id="{6838115D-EFEA-AED5-4B28-CA55F6419EBE}"/>
              </a:ext>
            </a:extLst>
          </p:cNvPr>
          <p:cNvSpPr/>
          <p:nvPr/>
        </p:nvSpPr>
        <p:spPr>
          <a:xfrm>
            <a:off x="6953472" y="2273300"/>
            <a:ext cx="4795615" cy="200776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indent="0">
              <a:buNone/>
              <a:defRPr/>
            </a:pPr>
            <a:r>
              <a:rPr lang="lv-LV" sz="1400">
                <a:solidFill>
                  <a:schemeClr val="tx1"/>
                </a:solidFill>
                <a:ea typeface="+mn-lt"/>
                <a:cs typeface="+mn-lt"/>
              </a:rPr>
              <a:t>32 novados Latvijā no 2023. gada 1. aprīlim līdz 30. jūnijam izsludināta ārkārtējā situācija egļu mežaudzēm egļu astoņzobu mizgrauža ierobežošanai</a:t>
            </a:r>
          </a:p>
        </p:txBody>
      </p:sp>
      <p:sp>
        <p:nvSpPr>
          <p:cNvPr id="21" name="Rectangle 20">
            <a:extLst>
              <a:ext uri="{FF2B5EF4-FFF2-40B4-BE49-F238E27FC236}">
                <a16:creationId xmlns:a16="http://schemas.microsoft.com/office/drawing/2014/main" id="{F513C2EE-BD14-9D4D-F57C-E1B744071893}"/>
              </a:ext>
            </a:extLst>
          </p:cNvPr>
          <p:cNvSpPr/>
          <p:nvPr/>
        </p:nvSpPr>
        <p:spPr>
          <a:xfrm rot="5400000">
            <a:off x="298913" y="4804687"/>
            <a:ext cx="360000" cy="72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lIns="108000" tIns="72000" rIns="108000" bIns="72000" rtlCol="0" anchor="ctr"/>
          <a:lstStyle/>
          <a:p>
            <a:pPr algn="ctr">
              <a:lnSpc>
                <a:spcPct val="100000"/>
              </a:lnSpc>
            </a:pPr>
            <a:endParaRPr lang="en-GB" sz="1600"/>
          </a:p>
        </p:txBody>
      </p:sp>
      <p:sp>
        <p:nvSpPr>
          <p:cNvPr id="26" name="Rectangle 25">
            <a:extLst>
              <a:ext uri="{FF2B5EF4-FFF2-40B4-BE49-F238E27FC236}">
                <a16:creationId xmlns:a16="http://schemas.microsoft.com/office/drawing/2014/main" id="{F06C2866-0437-45D9-7622-C6CA45B1BF3D}"/>
              </a:ext>
            </a:extLst>
          </p:cNvPr>
          <p:cNvSpPr/>
          <p:nvPr/>
        </p:nvSpPr>
        <p:spPr>
          <a:xfrm>
            <a:off x="442912" y="5122863"/>
            <a:ext cx="576000" cy="1049338"/>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2800" b="1"/>
          </a:p>
        </p:txBody>
      </p:sp>
      <p:sp>
        <p:nvSpPr>
          <p:cNvPr id="27" name="Rectangle 26">
            <a:extLst>
              <a:ext uri="{FF2B5EF4-FFF2-40B4-BE49-F238E27FC236}">
                <a16:creationId xmlns:a16="http://schemas.microsoft.com/office/drawing/2014/main" id="{AFAD9AAC-B02A-97A5-E95A-8652AF0255C0}"/>
              </a:ext>
            </a:extLst>
          </p:cNvPr>
          <p:cNvSpPr/>
          <p:nvPr/>
        </p:nvSpPr>
        <p:spPr>
          <a:xfrm>
            <a:off x="1120998" y="5122829"/>
            <a:ext cx="10628089" cy="1049371"/>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indent="0">
              <a:buNone/>
              <a:defRPr/>
            </a:pPr>
            <a:r>
              <a:rPr lang="lv-LV" sz="1400">
                <a:solidFill>
                  <a:schemeClr val="tx1"/>
                </a:solidFill>
                <a:ea typeface="+mn-lt"/>
                <a:cs typeface="+mn-lt"/>
              </a:rPr>
              <a:t>Latvijā vēl nav ticis izsludināts</a:t>
            </a:r>
          </a:p>
        </p:txBody>
      </p:sp>
      <p:sp>
        <p:nvSpPr>
          <p:cNvPr id="28" name="Google Shape;589;p76">
            <a:extLst>
              <a:ext uri="{FF2B5EF4-FFF2-40B4-BE49-F238E27FC236}">
                <a16:creationId xmlns:a16="http://schemas.microsoft.com/office/drawing/2014/main" id="{D51056DB-0577-BA23-535E-1C4041463F8E}"/>
              </a:ext>
            </a:extLst>
          </p:cNvPr>
          <p:cNvSpPr/>
          <p:nvPr/>
        </p:nvSpPr>
        <p:spPr>
          <a:xfrm>
            <a:off x="550549" y="3118378"/>
            <a:ext cx="360363" cy="360363"/>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moveTo>
                  <a:pt x="88138" y="400526"/>
                </a:moveTo>
                <a:lnTo>
                  <a:pt x="369062" y="400526"/>
                </a:lnTo>
                <a:lnTo>
                  <a:pt x="369062" y="244475"/>
                </a:lnTo>
                <a:lnTo>
                  <a:pt x="419481" y="244475"/>
                </a:lnTo>
                <a:lnTo>
                  <a:pt x="230473" y="52673"/>
                </a:lnTo>
                <a:lnTo>
                  <a:pt x="37370" y="244475"/>
                </a:lnTo>
                <a:lnTo>
                  <a:pt x="88170" y="244475"/>
                </a:lnTo>
                <a:close/>
                <a:moveTo>
                  <a:pt x="107664" y="381000"/>
                </a:moveTo>
                <a:lnTo>
                  <a:pt x="107664" y="224885"/>
                </a:lnTo>
                <a:lnTo>
                  <a:pt x="84741" y="224885"/>
                </a:lnTo>
                <a:lnTo>
                  <a:pt x="230315" y="80359"/>
                </a:lnTo>
                <a:lnTo>
                  <a:pt x="372809" y="224885"/>
                </a:lnTo>
                <a:lnTo>
                  <a:pt x="349536" y="224885"/>
                </a:lnTo>
                <a:lnTo>
                  <a:pt x="349536" y="381000"/>
                </a:lnTo>
                <a:close/>
                <a:moveTo>
                  <a:pt x="274447" y="204089"/>
                </a:moveTo>
                <a:cubicBezTo>
                  <a:pt x="274447" y="178768"/>
                  <a:pt x="253921" y="158242"/>
                  <a:pt x="228600" y="158242"/>
                </a:cubicBezTo>
                <a:cubicBezTo>
                  <a:pt x="203279" y="158242"/>
                  <a:pt x="182753" y="178768"/>
                  <a:pt x="182753" y="204089"/>
                </a:cubicBezTo>
                <a:lnTo>
                  <a:pt x="182753" y="225425"/>
                </a:lnTo>
                <a:lnTo>
                  <a:pt x="152654" y="225425"/>
                </a:lnTo>
                <a:lnTo>
                  <a:pt x="152654" y="342900"/>
                </a:lnTo>
                <a:lnTo>
                  <a:pt x="304546" y="342900"/>
                </a:lnTo>
                <a:lnTo>
                  <a:pt x="304546" y="225425"/>
                </a:lnTo>
                <a:lnTo>
                  <a:pt x="274447" y="225425"/>
                </a:lnTo>
                <a:close/>
                <a:moveTo>
                  <a:pt x="202248" y="204089"/>
                </a:moveTo>
                <a:cubicBezTo>
                  <a:pt x="202248" y="189535"/>
                  <a:pt x="214046" y="177737"/>
                  <a:pt x="228600" y="177737"/>
                </a:cubicBezTo>
                <a:cubicBezTo>
                  <a:pt x="243154" y="177737"/>
                  <a:pt x="254953" y="189535"/>
                  <a:pt x="254953" y="204089"/>
                </a:cubicBezTo>
                <a:lnTo>
                  <a:pt x="254953" y="225425"/>
                </a:lnTo>
                <a:lnTo>
                  <a:pt x="202248" y="225425"/>
                </a:lnTo>
                <a:close/>
                <a:moveTo>
                  <a:pt x="285052" y="323310"/>
                </a:moveTo>
                <a:lnTo>
                  <a:pt x="172149" y="323310"/>
                </a:lnTo>
                <a:lnTo>
                  <a:pt x="172149" y="244793"/>
                </a:lnTo>
                <a:lnTo>
                  <a:pt x="285052" y="244793"/>
                </a:lnTo>
                <a:close/>
                <a:moveTo>
                  <a:pt x="238347" y="298672"/>
                </a:moveTo>
                <a:lnTo>
                  <a:pt x="218853" y="298672"/>
                </a:lnTo>
                <a:lnTo>
                  <a:pt x="218853" y="269431"/>
                </a:lnTo>
                <a:lnTo>
                  <a:pt x="238347" y="269431"/>
                </a:lnTo>
                <a:close/>
              </a:path>
            </a:pathLst>
          </a:custGeom>
          <a:solidFill>
            <a:schemeClr val="bg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9" name="Google Shape;1002;p85">
            <a:extLst>
              <a:ext uri="{FF2B5EF4-FFF2-40B4-BE49-F238E27FC236}">
                <a16:creationId xmlns:a16="http://schemas.microsoft.com/office/drawing/2014/main" id="{6D3F4643-2CC9-6EA0-7693-6A21F5AC4723}"/>
              </a:ext>
            </a:extLst>
          </p:cNvPr>
          <p:cNvSpPr/>
          <p:nvPr/>
        </p:nvSpPr>
        <p:spPr>
          <a:xfrm>
            <a:off x="6383023" y="3096899"/>
            <a:ext cx="360363" cy="360363"/>
          </a:xfrm>
          <a:custGeom>
            <a:avLst/>
            <a:gdLst/>
            <a:ahLst/>
            <a:cxnLst/>
            <a:rect l="l" t="t" r="r" b="b"/>
            <a:pathLst>
              <a:path w="704" h="706" extrusionOk="0">
                <a:moveTo>
                  <a:pt x="0" y="0"/>
                </a:moveTo>
                <a:lnTo>
                  <a:pt x="0" y="706"/>
                </a:lnTo>
                <a:lnTo>
                  <a:pt x="326" y="706"/>
                </a:lnTo>
                <a:lnTo>
                  <a:pt x="326" y="559"/>
                </a:lnTo>
                <a:lnTo>
                  <a:pt x="204" y="559"/>
                </a:lnTo>
                <a:lnTo>
                  <a:pt x="290" y="412"/>
                </a:lnTo>
                <a:lnTo>
                  <a:pt x="237" y="412"/>
                </a:lnTo>
                <a:lnTo>
                  <a:pt x="315" y="276"/>
                </a:lnTo>
                <a:lnTo>
                  <a:pt x="269" y="276"/>
                </a:lnTo>
                <a:lnTo>
                  <a:pt x="352" y="131"/>
                </a:lnTo>
                <a:lnTo>
                  <a:pt x="436" y="276"/>
                </a:lnTo>
                <a:lnTo>
                  <a:pt x="390" y="276"/>
                </a:lnTo>
                <a:lnTo>
                  <a:pt x="468" y="412"/>
                </a:lnTo>
                <a:lnTo>
                  <a:pt x="414" y="412"/>
                </a:lnTo>
                <a:lnTo>
                  <a:pt x="500" y="559"/>
                </a:lnTo>
                <a:lnTo>
                  <a:pt x="379" y="559"/>
                </a:lnTo>
                <a:lnTo>
                  <a:pt x="379" y="706"/>
                </a:lnTo>
                <a:lnTo>
                  <a:pt x="704" y="706"/>
                </a:lnTo>
                <a:lnTo>
                  <a:pt x="704" y="0"/>
                </a:lnTo>
                <a:lnTo>
                  <a:pt x="0" y="0"/>
                </a:lnTo>
                <a:close/>
                <a:moveTo>
                  <a:pt x="673" y="675"/>
                </a:moveTo>
                <a:lnTo>
                  <a:pt x="409" y="675"/>
                </a:lnTo>
                <a:lnTo>
                  <a:pt x="409" y="590"/>
                </a:lnTo>
                <a:lnTo>
                  <a:pt x="551" y="590"/>
                </a:lnTo>
                <a:lnTo>
                  <a:pt x="467" y="443"/>
                </a:lnTo>
                <a:lnTo>
                  <a:pt x="519" y="443"/>
                </a:lnTo>
                <a:lnTo>
                  <a:pt x="441" y="306"/>
                </a:lnTo>
                <a:lnTo>
                  <a:pt x="488" y="306"/>
                </a:lnTo>
                <a:lnTo>
                  <a:pt x="352" y="71"/>
                </a:lnTo>
                <a:lnTo>
                  <a:pt x="218" y="306"/>
                </a:lnTo>
                <a:lnTo>
                  <a:pt x="263" y="306"/>
                </a:lnTo>
                <a:lnTo>
                  <a:pt x="185" y="443"/>
                </a:lnTo>
                <a:lnTo>
                  <a:pt x="237" y="443"/>
                </a:lnTo>
                <a:lnTo>
                  <a:pt x="153" y="590"/>
                </a:lnTo>
                <a:lnTo>
                  <a:pt x="297" y="590"/>
                </a:lnTo>
                <a:lnTo>
                  <a:pt x="297" y="675"/>
                </a:lnTo>
                <a:lnTo>
                  <a:pt x="31" y="675"/>
                </a:lnTo>
                <a:lnTo>
                  <a:pt x="31" y="29"/>
                </a:lnTo>
                <a:lnTo>
                  <a:pt x="673" y="29"/>
                </a:lnTo>
                <a:lnTo>
                  <a:pt x="673" y="675"/>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nvGrpSpPr>
          <p:cNvPr id="30" name="Google Shape;707;p79">
            <a:extLst>
              <a:ext uri="{FF2B5EF4-FFF2-40B4-BE49-F238E27FC236}">
                <a16:creationId xmlns:a16="http://schemas.microsoft.com/office/drawing/2014/main" id="{DA3DB08F-271A-12B2-3E90-F818BA93CDBE}"/>
              </a:ext>
            </a:extLst>
          </p:cNvPr>
          <p:cNvGrpSpPr/>
          <p:nvPr/>
        </p:nvGrpSpPr>
        <p:grpSpPr>
          <a:xfrm>
            <a:off x="550549" y="5467351"/>
            <a:ext cx="360363" cy="360363"/>
            <a:chOff x="4276447" y="6040963"/>
            <a:chExt cx="457199" cy="457200"/>
          </a:xfrm>
          <a:solidFill>
            <a:schemeClr val="bg1"/>
          </a:solidFill>
        </p:grpSpPr>
        <p:sp>
          <p:nvSpPr>
            <p:cNvPr id="31" name="Google Shape;708;p79">
              <a:extLst>
                <a:ext uri="{FF2B5EF4-FFF2-40B4-BE49-F238E27FC236}">
                  <a16:creationId xmlns:a16="http://schemas.microsoft.com/office/drawing/2014/main" id="{C5FB9EAD-3DA9-9BBE-7C49-C2E226C1C315}"/>
                </a:ext>
              </a:extLst>
            </p:cNvPr>
            <p:cNvSpPr/>
            <p:nvPr/>
          </p:nvSpPr>
          <p:spPr>
            <a:xfrm>
              <a:off x="4276447" y="6040963"/>
              <a:ext cx="457199" cy="457200"/>
            </a:xfrm>
            <a:custGeom>
              <a:avLst/>
              <a:gdLst/>
              <a:ahLst/>
              <a:cxnLst/>
              <a:rect l="l" t="t" r="r" b="b"/>
              <a:pathLst>
                <a:path w="457199" h="457200" extrusionOk="0">
                  <a:moveTo>
                    <a:pt x="0" y="0"/>
                  </a:moveTo>
                  <a:lnTo>
                    <a:pt x="0" y="375222"/>
                  </a:lnTo>
                  <a:lnTo>
                    <a:pt x="62611" y="375222"/>
                  </a:lnTo>
                  <a:lnTo>
                    <a:pt x="62611" y="457200"/>
                  </a:lnTo>
                  <a:lnTo>
                    <a:pt x="144590" y="375095"/>
                  </a:lnTo>
                  <a:lnTo>
                    <a:pt x="457200" y="375095"/>
                  </a:lnTo>
                  <a:lnTo>
                    <a:pt x="457200" y="0"/>
                  </a:lnTo>
                  <a:close/>
                  <a:moveTo>
                    <a:pt x="136525" y="355600"/>
                  </a:moveTo>
                  <a:lnTo>
                    <a:pt x="82106" y="409988"/>
                  </a:lnTo>
                  <a:lnTo>
                    <a:pt x="82106" y="355600"/>
                  </a:lnTo>
                  <a:lnTo>
                    <a:pt x="19463" y="355600"/>
                  </a:lnTo>
                  <a:lnTo>
                    <a:pt x="19463" y="19368"/>
                  </a:lnTo>
                  <a:lnTo>
                    <a:pt x="437706" y="19368"/>
                  </a:lnTo>
                  <a:lnTo>
                    <a:pt x="436975" y="35560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sp>
          <p:nvSpPr>
            <p:cNvPr id="32" name="Google Shape;709;p79">
              <a:extLst>
                <a:ext uri="{FF2B5EF4-FFF2-40B4-BE49-F238E27FC236}">
                  <a16:creationId xmlns:a16="http://schemas.microsoft.com/office/drawing/2014/main" id="{22327C81-AF41-5520-561B-30694C2D1FD2}"/>
                </a:ext>
              </a:extLst>
            </p:cNvPr>
            <p:cNvSpPr/>
            <p:nvPr/>
          </p:nvSpPr>
          <p:spPr>
            <a:xfrm>
              <a:off x="4483235" y="6106907"/>
              <a:ext cx="52197" cy="247554"/>
            </a:xfrm>
            <a:custGeom>
              <a:avLst/>
              <a:gdLst/>
              <a:ahLst/>
              <a:cxnLst/>
              <a:rect l="l" t="t" r="r" b="b"/>
              <a:pathLst>
                <a:path w="52197" h="247554" extrusionOk="0">
                  <a:moveTo>
                    <a:pt x="52197" y="196215"/>
                  </a:moveTo>
                  <a:lnTo>
                    <a:pt x="52197" y="247555"/>
                  </a:lnTo>
                  <a:lnTo>
                    <a:pt x="0" y="247555"/>
                  </a:lnTo>
                  <a:lnTo>
                    <a:pt x="0" y="196215"/>
                  </a:lnTo>
                  <a:close/>
                  <a:moveTo>
                    <a:pt x="37529" y="166687"/>
                  </a:moveTo>
                  <a:lnTo>
                    <a:pt x="13843" y="166687"/>
                  </a:lnTo>
                  <a:lnTo>
                    <a:pt x="1143" y="64008"/>
                  </a:lnTo>
                  <a:lnTo>
                    <a:pt x="1143" y="0"/>
                  </a:lnTo>
                  <a:lnTo>
                    <a:pt x="50514" y="0"/>
                  </a:lnTo>
                  <a:lnTo>
                    <a:pt x="50514" y="64008"/>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grpSp>
      <p:sp>
        <p:nvSpPr>
          <p:cNvPr id="6" name="Rectangle 5">
            <a:extLst>
              <a:ext uri="{FF2B5EF4-FFF2-40B4-BE49-F238E27FC236}">
                <a16:creationId xmlns:a16="http://schemas.microsoft.com/office/drawing/2014/main" id="{7F962AFD-D2AE-9235-F8E2-0CABE6A9A67C}"/>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rgbClr val="A4A3B2"/>
                </a:solidFill>
                <a:effectLst/>
                <a:uLnTx/>
                <a:uFillTx/>
                <a:ea typeface="Georgia"/>
                <a:cs typeface="Georgia"/>
                <a:sym typeface="Georgia"/>
              </a:rPr>
              <a:t>2. CIVILĀS AIZSARDZĪBAS SISTĒMA UN NORMATĪVAIS UN POLITIKAS PLĀNOŠANAS IETVARS</a:t>
            </a:r>
          </a:p>
        </p:txBody>
      </p:sp>
      <p:sp>
        <p:nvSpPr>
          <p:cNvPr id="8" name="Rectangle 7">
            <a:extLst>
              <a:ext uri="{FF2B5EF4-FFF2-40B4-BE49-F238E27FC236}">
                <a16:creationId xmlns:a16="http://schemas.microsoft.com/office/drawing/2014/main" id="{2DC02BE8-0FB7-BFBB-8E6A-A3F42A34D907}"/>
              </a:ext>
            </a:extLst>
          </p:cNvPr>
          <p:cNvSpPr/>
          <p:nvPr/>
        </p:nvSpPr>
        <p:spPr>
          <a:xfrm>
            <a:off x="9668794" y="126781"/>
            <a:ext cx="2080294"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effectLst/>
                <a:uLnTx/>
                <a:uFillTx/>
                <a:ea typeface="Georgia"/>
                <a:cs typeface="Georgia"/>
                <a:sym typeface="Georgia"/>
              </a:rPr>
              <a:t>Pielikums: papildu materiāli docētājiem</a:t>
            </a:r>
          </a:p>
        </p:txBody>
      </p:sp>
    </p:spTree>
    <p:extLst>
      <p:ext uri="{BB962C8B-B14F-4D97-AF65-F5344CB8AC3E}">
        <p14:creationId xmlns:p14="http://schemas.microsoft.com/office/powerpoint/2010/main" val="126169258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vert="horz"/>
          <a:lstStyle/>
          <a:p>
            <a:r>
              <a:rPr lang="lv-LV"/>
              <a:t>Izmantotie avoti (1/3)</a:t>
            </a:r>
            <a:endParaRPr lang="en-US"/>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4</a:t>
            </a:fld>
            <a:endParaRPr lang="en-GB"/>
          </a:p>
        </p:txBody>
      </p:sp>
      <p:sp>
        <p:nvSpPr>
          <p:cNvPr id="24" name="Content Placeholder 2">
            <a:extLst>
              <a:ext uri="{FF2B5EF4-FFF2-40B4-BE49-F238E27FC236}">
                <a16:creationId xmlns:a16="http://schemas.microsoft.com/office/drawing/2014/main" id="{20F6161A-E3E2-A765-A44D-92728895AC83}"/>
              </a:ext>
            </a:extLst>
          </p:cNvPr>
          <p:cNvSpPr txBox="1">
            <a:spLocks/>
          </p:cNvSpPr>
          <p:nvPr/>
        </p:nvSpPr>
        <p:spPr>
          <a:xfrm>
            <a:off x="442913" y="1819276"/>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800" indent="-172800">
              <a:spcBef>
                <a:spcPts val="300"/>
              </a:spcBef>
              <a:spcAft>
                <a:spcPts val="300"/>
              </a:spcAft>
              <a:buBlip>
                <a:blip r:embed="rId3"/>
              </a:buBlip>
            </a:pPr>
            <a:r>
              <a:rPr lang="lv-LV" sz="900" b="0" dirty="0">
                <a:solidFill>
                  <a:schemeClr val="tx1"/>
                </a:solidFill>
                <a:ea typeface="Open Sans"/>
                <a:cs typeface="Open Sans"/>
              </a:rPr>
              <a:t>Izmantoti attēli no tīmekļa vietnes "</a:t>
            </a:r>
            <a:r>
              <a:rPr lang="lv-LV" sz="900" b="0" dirty="0" err="1">
                <a:solidFill>
                  <a:schemeClr val="tx1"/>
                </a:solidFill>
                <a:ea typeface="Open Sans"/>
                <a:cs typeface="Open Sans"/>
              </a:rPr>
              <a:t>Unsplash</a:t>
            </a:r>
            <a:r>
              <a:rPr lang="lv-LV" sz="900" b="0" dirty="0">
                <a:solidFill>
                  <a:schemeClr val="tx1"/>
                </a:solidFill>
                <a:ea typeface="Open Sans"/>
                <a:cs typeface="Open Sans"/>
              </a:rPr>
              <a:t>". Pieejams: </a:t>
            </a:r>
            <a:r>
              <a:rPr lang="lv-LV" sz="900" b="0" dirty="0">
                <a:solidFill>
                  <a:srgbClr val="A8192D"/>
                </a:solidFill>
                <a:ea typeface="Open Sans"/>
                <a:cs typeface="Open Sans"/>
              </a:rPr>
              <a:t>https://unsplash.com/</a:t>
            </a:r>
            <a:endParaRPr lang="lv-LV" sz="900" b="0" dirty="0">
              <a:solidFill>
                <a:schemeClr val="tx1"/>
              </a:solidFill>
              <a:ea typeface="Open Sans"/>
              <a:cs typeface="Open Sans"/>
            </a:endParaRPr>
          </a:p>
          <a:p>
            <a:pPr marL="172800" indent="-172800">
              <a:spcBef>
                <a:spcPts val="300"/>
              </a:spcBef>
              <a:spcAft>
                <a:spcPts val="300"/>
              </a:spcAft>
              <a:buBlip>
                <a:blip r:embed="rId3"/>
              </a:buBlip>
            </a:pPr>
            <a:r>
              <a:rPr lang="lv-LV" sz="900" b="0" dirty="0">
                <a:solidFill>
                  <a:schemeClr val="tx1"/>
                </a:solidFill>
                <a:ea typeface="Open Sans"/>
                <a:cs typeface="Open Sans"/>
              </a:rPr>
              <a:t>Aizsardzības ministrija. Civilā aizsardzība. Pieejams: </a:t>
            </a:r>
            <a:r>
              <a:rPr lang="lv-LV" sz="900" b="0" dirty="0">
                <a:solidFill>
                  <a:srgbClr val="A8192D"/>
                </a:solidFill>
                <a:ea typeface="Open Sans"/>
                <a:cs typeface="Open Sans"/>
              </a:rPr>
              <a:t>https://www.mod.gov.lv/lv/nozares-politika/visaptverosa-valsts-aizsardziba/civila-aizsardziba</a:t>
            </a:r>
          </a:p>
          <a:p>
            <a:pPr marL="172800" indent="-172800">
              <a:spcBef>
                <a:spcPts val="300"/>
              </a:spcBef>
              <a:spcAft>
                <a:spcPts val="300"/>
              </a:spcAft>
              <a:buBlip>
                <a:blip r:embed="rId3"/>
              </a:buBlip>
            </a:pPr>
            <a:r>
              <a:rPr lang="lv-LV" sz="900" b="0" dirty="0">
                <a:solidFill>
                  <a:schemeClr val="tx1"/>
                </a:solidFill>
                <a:ea typeface="Open Sans"/>
                <a:cs typeface="Open Sans"/>
              </a:rPr>
              <a:t>Ārstniecības likums. Pieejams: </a:t>
            </a:r>
            <a:r>
              <a:rPr lang="lv-LV" sz="900" b="0" dirty="0">
                <a:solidFill>
                  <a:srgbClr val="A8192D"/>
                </a:solidFill>
                <a:ea typeface="Open Sans"/>
                <a:cs typeface="Open Sans"/>
              </a:rPr>
              <a:t>https://likumi.lv/ta/id/44108</a:t>
            </a:r>
          </a:p>
          <a:p>
            <a:pPr marL="172800" indent="-172800">
              <a:spcBef>
                <a:spcPts val="300"/>
              </a:spcBef>
              <a:spcAft>
                <a:spcPts val="300"/>
              </a:spcAft>
              <a:buBlip>
                <a:blip r:embed="rId3"/>
              </a:buBlip>
            </a:pPr>
            <a:r>
              <a:rPr lang="lv-LV" sz="900" b="0" dirty="0">
                <a:solidFill>
                  <a:schemeClr val="tx1"/>
                </a:solidFill>
                <a:ea typeface="Open Sans"/>
                <a:cs typeface="Open Sans"/>
              </a:rPr>
              <a:t>Bīstamo kravu aprites likums. Pieejams:</a:t>
            </a:r>
            <a:r>
              <a:rPr lang="lv-LV" sz="900" b="0" dirty="0">
                <a:solidFill>
                  <a:srgbClr val="A8192D"/>
                </a:solidFill>
                <a:ea typeface="Open Sans"/>
                <a:cs typeface="Open Sans"/>
              </a:rPr>
              <a:t> https://likumi.lv/ta/id/220516</a:t>
            </a:r>
          </a:p>
          <a:p>
            <a:pPr marL="172800" indent="-172800">
              <a:spcBef>
                <a:spcPts val="300"/>
              </a:spcBef>
              <a:spcAft>
                <a:spcPts val="300"/>
              </a:spcAft>
              <a:buBlip>
                <a:blip r:embed="rId3"/>
              </a:buBlip>
            </a:pPr>
            <a:r>
              <a:rPr lang="lv-LV" sz="900" b="0" dirty="0">
                <a:solidFill>
                  <a:schemeClr val="tx1"/>
                </a:solidFill>
                <a:ea typeface="Open Sans"/>
                <a:cs typeface="Open Sans"/>
              </a:rPr>
              <a:t>Ceļā uz </a:t>
            </a:r>
            <a:r>
              <a:rPr lang="lv-LV" sz="900" b="0" dirty="0" err="1">
                <a:solidFill>
                  <a:schemeClr val="tx1"/>
                </a:solidFill>
                <a:ea typeface="Open Sans"/>
                <a:cs typeface="Open Sans"/>
              </a:rPr>
              <a:t>klimatnoturīgu</a:t>
            </a:r>
            <a:r>
              <a:rPr lang="lv-LV" sz="900" b="0" dirty="0">
                <a:solidFill>
                  <a:schemeClr val="tx1"/>
                </a:solidFill>
                <a:ea typeface="Open Sans"/>
                <a:cs typeface="Open Sans"/>
              </a:rPr>
              <a:t> Eiropu: jaunā ES </a:t>
            </a:r>
            <a:r>
              <a:rPr lang="lv-LV" sz="900" b="0" dirty="0" err="1">
                <a:solidFill>
                  <a:schemeClr val="tx1"/>
                </a:solidFill>
                <a:ea typeface="Open Sans"/>
                <a:cs typeface="Open Sans"/>
              </a:rPr>
              <a:t>Klimatadaptācijas</a:t>
            </a:r>
            <a:r>
              <a:rPr lang="lv-LV" sz="900" b="0" dirty="0">
                <a:solidFill>
                  <a:schemeClr val="tx1"/>
                </a:solidFill>
                <a:ea typeface="Open Sans"/>
                <a:cs typeface="Open Sans"/>
              </a:rPr>
              <a:t> stratēģija. Pieejams: </a:t>
            </a:r>
            <a:r>
              <a:rPr lang="lv-LV" sz="900" b="0" dirty="0">
                <a:solidFill>
                  <a:srgbClr val="A8192D"/>
                </a:solidFill>
                <a:ea typeface="Open Sans"/>
                <a:cs typeface="Open Sans"/>
              </a:rPr>
              <a:t>https://eur-lex.europa.eu/legal-content/LV/TXT/?uri=CELEX:52021DC0082</a:t>
            </a:r>
          </a:p>
          <a:p>
            <a:pPr marL="172800" indent="-172800">
              <a:spcBef>
                <a:spcPts val="300"/>
              </a:spcBef>
              <a:spcAft>
                <a:spcPts val="300"/>
              </a:spcAft>
              <a:buBlip>
                <a:blip r:embed="rId3"/>
              </a:buBlip>
            </a:pPr>
            <a:r>
              <a:rPr lang="lv-LV" sz="900" b="0" dirty="0">
                <a:solidFill>
                  <a:schemeClr val="tx1"/>
                </a:solidFill>
                <a:ea typeface="Open Sans"/>
                <a:cs typeface="Open Sans"/>
              </a:rPr>
              <a:t>Civilās aizsardzības un katastrofas pārvaldīšanas likums. Pieejams: </a:t>
            </a:r>
            <a:r>
              <a:rPr lang="lv-LV" sz="900" b="0" dirty="0">
                <a:solidFill>
                  <a:srgbClr val="A8192D"/>
                </a:solidFill>
                <a:ea typeface="Open Sans"/>
                <a:cs typeface="Open Sans"/>
              </a:rPr>
              <a:t>https://likumi.lv/ta/id/282333</a:t>
            </a:r>
          </a:p>
          <a:p>
            <a:pPr marL="172800" indent="-172800">
              <a:spcBef>
                <a:spcPts val="300"/>
              </a:spcBef>
              <a:spcAft>
                <a:spcPts val="300"/>
              </a:spcAft>
              <a:buBlip>
                <a:blip r:embed="rId3"/>
              </a:buBlip>
            </a:pPr>
            <a:r>
              <a:rPr lang="lv-LV" sz="900" b="0" dirty="0">
                <a:solidFill>
                  <a:schemeClr val="tx1"/>
                </a:solidFill>
                <a:ea typeface="Open Sans"/>
                <a:cs typeface="Open Sans"/>
              </a:rPr>
              <a:t>Eiropas Parlamenta un Padomes Regula (ES) 2021/836 (2021. gada 20. maijs), ar ko groza Lēmumu Nr. 1313/2013/ES par Savienības civilās aizsardzības mehānismu (Dokuments attiecas uz EEZ).Pieejams: </a:t>
            </a:r>
            <a:r>
              <a:rPr lang="lv-LV" sz="900" b="0" dirty="0">
                <a:solidFill>
                  <a:srgbClr val="A8192D"/>
                </a:solidFill>
                <a:ea typeface="Open Sans"/>
                <a:cs typeface="Open Sans"/>
              </a:rPr>
              <a:t>https://eur-lex.europa.eu/eli/reg/2021/836/oj</a:t>
            </a:r>
          </a:p>
          <a:p>
            <a:pPr marL="172800" indent="-172800">
              <a:spcBef>
                <a:spcPts val="300"/>
              </a:spcBef>
              <a:spcAft>
                <a:spcPts val="300"/>
              </a:spcAft>
              <a:buBlip>
                <a:blip r:embed="rId3"/>
              </a:buBlip>
            </a:pPr>
            <a:r>
              <a:rPr lang="lv-LV" sz="900" b="0" dirty="0">
                <a:solidFill>
                  <a:schemeClr val="tx1"/>
                </a:solidFill>
                <a:ea typeface="Open Sans"/>
                <a:cs typeface="Open Sans"/>
              </a:rPr>
              <a:t>Eiropas Reģionu komitejas atzinums “Rīcības plāns par </a:t>
            </a:r>
            <a:r>
              <a:rPr lang="lv-LV" sz="900" b="0" dirty="0" err="1">
                <a:solidFill>
                  <a:schemeClr val="tx1"/>
                </a:solidFill>
                <a:ea typeface="Open Sans"/>
                <a:cs typeface="Open Sans"/>
              </a:rPr>
              <a:t>Sendai</a:t>
            </a:r>
            <a:r>
              <a:rPr lang="lv-LV" sz="900" b="0" dirty="0">
                <a:solidFill>
                  <a:schemeClr val="tx1"/>
                </a:solidFill>
                <a:ea typeface="Open Sans"/>
                <a:cs typeface="Open Sans"/>
              </a:rPr>
              <a:t> </a:t>
            </a:r>
            <a:r>
              <a:rPr lang="lv-LV" sz="900" b="0" dirty="0" err="1">
                <a:solidFill>
                  <a:schemeClr val="tx1"/>
                </a:solidFill>
                <a:ea typeface="Open Sans"/>
                <a:cs typeface="Open Sans"/>
              </a:rPr>
              <a:t>ietvarprogrammu</a:t>
            </a:r>
            <a:r>
              <a:rPr lang="lv-LV" sz="900" b="0" dirty="0">
                <a:solidFill>
                  <a:schemeClr val="tx1"/>
                </a:solidFill>
                <a:ea typeface="Open Sans"/>
                <a:cs typeface="Open Sans"/>
              </a:rPr>
              <a:t> katastrofu riska mazināšanai 2015.–2030. gadam. Uz katastrofu riska novērtēšanu balstīta pieeja visās ES politikas jomās”. Pieejams: </a:t>
            </a:r>
            <a:r>
              <a:rPr lang="lv-LV" sz="900" b="0" dirty="0">
                <a:solidFill>
                  <a:srgbClr val="A8192D"/>
                </a:solidFill>
                <a:ea typeface="Open Sans"/>
                <a:cs typeface="Open Sans"/>
              </a:rPr>
              <a:t>https://eur-lex.europa.eu/legal-content/LV/ALL/?uri=CELEX:52016AR5035</a:t>
            </a:r>
          </a:p>
          <a:p>
            <a:pPr marL="172800" indent="-172800">
              <a:spcBef>
                <a:spcPts val="300"/>
              </a:spcBef>
              <a:spcAft>
                <a:spcPts val="300"/>
              </a:spcAft>
              <a:buBlip>
                <a:blip r:embed="rId3"/>
              </a:buBlip>
            </a:pPr>
            <a:r>
              <a:rPr lang="lv-LV" sz="900" b="0" dirty="0">
                <a:solidFill>
                  <a:schemeClr val="tx1"/>
                </a:solidFill>
                <a:ea typeface="Open Sans"/>
                <a:cs typeface="Open Sans"/>
              </a:rPr>
              <a:t>Eiropas Savienības Padomes un Padomē sanākušo dalībvalstu valdību pārstāvju rezolūcija par regulējumu Eiropas sadarbībai jaunatnes jomā: Eiropas Savienības jaunatnes stratēģija 2019.–2027. gadam. Pieejams: </a:t>
            </a:r>
            <a:r>
              <a:rPr lang="lv-LV" sz="900" b="0" dirty="0">
                <a:solidFill>
                  <a:srgbClr val="A8192D"/>
                </a:solidFill>
                <a:ea typeface="Open Sans"/>
                <a:cs typeface="Open Sans"/>
              </a:rPr>
              <a:t>https://eur-lex.europa.eu/legal-content/LV/TXT/?uri=CELEX%3A42018Y1218%2801%29</a:t>
            </a:r>
          </a:p>
          <a:p>
            <a:pPr marL="172800" indent="-172800">
              <a:spcBef>
                <a:spcPts val="300"/>
              </a:spcBef>
              <a:spcAft>
                <a:spcPts val="300"/>
              </a:spcAft>
              <a:buBlip>
                <a:blip r:embed="rId3"/>
              </a:buBlip>
            </a:pPr>
            <a:r>
              <a:rPr lang="lv-LV" sz="900" b="0" dirty="0">
                <a:solidFill>
                  <a:schemeClr val="tx1"/>
                </a:solidFill>
                <a:ea typeface="Open Sans"/>
                <a:cs typeface="Open Sans"/>
              </a:rPr>
              <a:t>Enerģētikas likums. Pieejams: </a:t>
            </a:r>
            <a:r>
              <a:rPr lang="lv-LV" sz="900" b="0" dirty="0">
                <a:solidFill>
                  <a:srgbClr val="A8192D"/>
                </a:solidFill>
                <a:ea typeface="Open Sans"/>
                <a:cs typeface="Open Sans"/>
              </a:rPr>
              <a:t>https://likumi.lv/ta/id/49833</a:t>
            </a:r>
          </a:p>
          <a:p>
            <a:pPr marL="172800" indent="-172800">
              <a:spcBef>
                <a:spcPts val="300"/>
              </a:spcBef>
              <a:spcAft>
                <a:spcPts val="300"/>
              </a:spcAft>
              <a:buBlip>
                <a:blip r:embed="rId3"/>
              </a:buBlip>
            </a:pPr>
            <a:r>
              <a:rPr lang="lv-LV" sz="900" b="0" dirty="0">
                <a:solidFill>
                  <a:schemeClr val="tx1"/>
                </a:solidFill>
                <a:ea typeface="Open Sans"/>
                <a:cs typeface="Open Sans"/>
              </a:rPr>
              <a:t>Epidemioloģiskās drošības likums. Pieejams: </a:t>
            </a:r>
            <a:r>
              <a:rPr lang="lv-LV" sz="900" b="0" dirty="0">
                <a:solidFill>
                  <a:srgbClr val="A8192D"/>
                </a:solidFill>
                <a:ea typeface="Open Sans"/>
                <a:cs typeface="Open Sans"/>
              </a:rPr>
              <a:t>https://likumi.lv/ta/id/52951</a:t>
            </a:r>
          </a:p>
          <a:p>
            <a:pPr marL="172800" indent="-172800">
              <a:spcBef>
                <a:spcPts val="300"/>
              </a:spcBef>
              <a:spcAft>
                <a:spcPts val="300"/>
              </a:spcAft>
              <a:buBlip>
                <a:blip r:embed="rId3"/>
              </a:buBlip>
            </a:pPr>
            <a:r>
              <a:rPr lang="lv-LV" sz="900" b="0" dirty="0">
                <a:solidFill>
                  <a:schemeClr val="tx1"/>
                </a:solidFill>
                <a:ea typeface="Open Sans"/>
                <a:cs typeface="Open Sans"/>
              </a:rPr>
              <a:t>EU </a:t>
            </a:r>
            <a:r>
              <a:rPr lang="lv-LV" sz="900" b="0" dirty="0" err="1">
                <a:solidFill>
                  <a:schemeClr val="tx1"/>
                </a:solidFill>
                <a:ea typeface="Open Sans"/>
                <a:cs typeface="Open Sans"/>
              </a:rPr>
              <a:t>Strategy</a:t>
            </a:r>
            <a:r>
              <a:rPr lang="lv-LV" sz="900" b="0" dirty="0">
                <a:solidFill>
                  <a:schemeClr val="tx1"/>
                </a:solidFill>
                <a:ea typeface="Open Sans"/>
                <a:cs typeface="Open Sans"/>
              </a:rPr>
              <a:t> </a:t>
            </a:r>
            <a:r>
              <a:rPr lang="lv-LV" sz="900" b="0" dirty="0" err="1">
                <a:solidFill>
                  <a:schemeClr val="tx1"/>
                </a:solidFill>
                <a:ea typeface="Open Sans"/>
                <a:cs typeface="Open Sans"/>
              </a:rPr>
              <a:t>for</a:t>
            </a:r>
            <a:r>
              <a:rPr lang="lv-LV" sz="900" b="0" dirty="0">
                <a:solidFill>
                  <a:schemeClr val="tx1"/>
                </a:solidFill>
                <a:ea typeface="Open Sans"/>
                <a:cs typeface="Open Sans"/>
              </a:rPr>
              <a:t> </a:t>
            </a:r>
            <a:r>
              <a:rPr lang="lv-LV" sz="900" b="0" dirty="0" err="1">
                <a:solidFill>
                  <a:schemeClr val="tx1"/>
                </a:solidFill>
                <a:ea typeface="Open Sans"/>
                <a:cs typeface="Open Sans"/>
              </a:rPr>
              <a:t>the</a:t>
            </a:r>
            <a:r>
              <a:rPr lang="lv-LV" sz="900" b="0" dirty="0">
                <a:solidFill>
                  <a:schemeClr val="tx1"/>
                </a:solidFill>
                <a:ea typeface="Open Sans"/>
                <a:cs typeface="Open Sans"/>
              </a:rPr>
              <a:t> </a:t>
            </a:r>
            <a:r>
              <a:rPr lang="lv-LV" sz="900" b="0" dirty="0" err="1">
                <a:solidFill>
                  <a:schemeClr val="tx1"/>
                </a:solidFill>
                <a:ea typeface="Open Sans"/>
                <a:cs typeface="Open Sans"/>
              </a:rPr>
              <a:t>Baltic</a:t>
            </a:r>
            <a:r>
              <a:rPr lang="lv-LV" sz="900" b="0" dirty="0">
                <a:solidFill>
                  <a:schemeClr val="tx1"/>
                </a:solidFill>
                <a:ea typeface="Open Sans"/>
                <a:cs typeface="Open Sans"/>
              </a:rPr>
              <a:t> </a:t>
            </a:r>
            <a:r>
              <a:rPr lang="lv-LV" sz="900" b="0" dirty="0" err="1">
                <a:solidFill>
                  <a:schemeClr val="tx1"/>
                </a:solidFill>
                <a:ea typeface="Open Sans"/>
                <a:cs typeface="Open Sans"/>
              </a:rPr>
              <a:t>Sea</a:t>
            </a:r>
            <a:r>
              <a:rPr lang="lv-LV" sz="900" b="0" dirty="0">
                <a:solidFill>
                  <a:schemeClr val="tx1"/>
                </a:solidFill>
                <a:ea typeface="Open Sans"/>
                <a:cs typeface="Open Sans"/>
              </a:rPr>
              <a:t> </a:t>
            </a:r>
            <a:r>
              <a:rPr lang="lv-LV" sz="900" b="0" dirty="0" err="1">
                <a:solidFill>
                  <a:schemeClr val="tx1"/>
                </a:solidFill>
                <a:ea typeface="Open Sans"/>
                <a:cs typeface="Open Sans"/>
              </a:rPr>
              <a:t>Region</a:t>
            </a:r>
            <a:r>
              <a:rPr lang="lv-LV" sz="900" b="0" dirty="0">
                <a:solidFill>
                  <a:schemeClr val="tx1"/>
                </a:solidFill>
                <a:ea typeface="Open Sans"/>
                <a:cs typeface="Open Sans"/>
              </a:rPr>
              <a:t>. Pieejams: </a:t>
            </a:r>
            <a:r>
              <a:rPr lang="lv-LV" sz="900" b="0" dirty="0">
                <a:solidFill>
                  <a:srgbClr val="A8192D"/>
                </a:solidFill>
                <a:ea typeface="Open Sans"/>
                <a:cs typeface="Open Sans"/>
              </a:rPr>
              <a:t>https://www.eusbsr.eu/attachments/article/590824/Action%20Plan%202021.PDF</a:t>
            </a:r>
          </a:p>
          <a:p>
            <a:pPr marL="172800" indent="-172800">
              <a:spcBef>
                <a:spcPts val="300"/>
              </a:spcBef>
              <a:spcAft>
                <a:spcPts val="300"/>
              </a:spcAft>
              <a:buBlip>
                <a:blip r:embed="rId3"/>
              </a:buBlip>
            </a:pPr>
            <a:r>
              <a:rPr lang="lv-LV" sz="900" b="0" dirty="0">
                <a:solidFill>
                  <a:schemeClr val="tx1"/>
                </a:solidFill>
                <a:ea typeface="Open Sans"/>
                <a:cs typeface="Open Sans"/>
              </a:rPr>
              <a:t>Konvencija par personu ar invaliditāti tiesībām. Pieejams: </a:t>
            </a:r>
            <a:r>
              <a:rPr lang="lv-LV" sz="900" b="0" dirty="0">
                <a:solidFill>
                  <a:srgbClr val="A8192D"/>
                </a:solidFill>
                <a:ea typeface="Open Sans"/>
                <a:cs typeface="Open Sans"/>
              </a:rPr>
              <a:t>https://likumi.lv/ta/lv/starptautiskie-ligumi/id/1630</a:t>
            </a:r>
          </a:p>
          <a:p>
            <a:pPr marL="172800" indent="-172800">
              <a:spcBef>
                <a:spcPts val="300"/>
              </a:spcBef>
              <a:spcAft>
                <a:spcPts val="300"/>
              </a:spcAft>
              <a:buBlip>
                <a:blip r:embed="rId3"/>
              </a:buBlip>
            </a:pPr>
            <a:r>
              <a:rPr lang="lv-LV" sz="900" b="0" dirty="0">
                <a:solidFill>
                  <a:schemeClr val="tx1"/>
                </a:solidFill>
                <a:ea typeface="Open Sans"/>
                <a:cs typeface="Open Sans"/>
              </a:rPr>
              <a:t>Ķīmisko vielu likums. Pieejams: </a:t>
            </a:r>
            <a:r>
              <a:rPr lang="lv-LV" sz="900" b="0" dirty="0">
                <a:solidFill>
                  <a:srgbClr val="A8192D"/>
                </a:solidFill>
                <a:ea typeface="Open Sans"/>
                <a:cs typeface="Open Sans"/>
              </a:rPr>
              <a:t>https://likumi.lv/ta/id/47839</a:t>
            </a:r>
          </a:p>
          <a:p>
            <a:pPr marL="172800" indent="-172800">
              <a:spcBef>
                <a:spcPts val="300"/>
              </a:spcBef>
              <a:spcAft>
                <a:spcPts val="300"/>
              </a:spcAft>
              <a:buBlip>
                <a:blip r:embed="rId3"/>
              </a:buBlip>
            </a:pPr>
            <a:r>
              <a:rPr lang="lv-LV" sz="900" b="0" dirty="0">
                <a:solidFill>
                  <a:schemeClr val="tx1"/>
                </a:solidFill>
                <a:ea typeface="Open Sans"/>
                <a:cs typeface="Open Sans"/>
              </a:rPr>
              <a:t>Latvijas Republikas Satversme. Pieejams: </a:t>
            </a:r>
            <a:r>
              <a:rPr lang="lv-LV" sz="900" b="0" dirty="0">
                <a:solidFill>
                  <a:srgbClr val="A8192D"/>
                </a:solidFill>
                <a:ea typeface="Open Sans"/>
                <a:cs typeface="Open Sans"/>
              </a:rPr>
              <a:t>https://likumi.lv/ta/id/57980</a:t>
            </a:r>
          </a:p>
          <a:p>
            <a:pPr marL="172800" indent="-172800">
              <a:spcBef>
                <a:spcPts val="300"/>
              </a:spcBef>
              <a:spcAft>
                <a:spcPts val="300"/>
              </a:spcAft>
              <a:buBlip>
                <a:blip r:embed="rId3"/>
              </a:buBlip>
            </a:pPr>
            <a:r>
              <a:rPr lang="lv-LV" sz="900" b="0" dirty="0">
                <a:solidFill>
                  <a:schemeClr val="tx1"/>
                </a:solidFill>
                <a:ea typeface="Open Sans"/>
                <a:cs typeface="Open Sans"/>
              </a:rPr>
              <a:t>Latvijas Republikas Valsts kontrole. 2022. Valsts civilās aizsardzības sistēmas plānošana un gatavība. Pieejams: </a:t>
            </a:r>
            <a:r>
              <a:rPr lang="lv-LV" sz="900" b="0" dirty="0">
                <a:solidFill>
                  <a:srgbClr val="A8192D"/>
                </a:solidFill>
                <a:ea typeface="Open Sans"/>
                <a:cs typeface="Open Sans"/>
              </a:rPr>
              <a:t>https://lrvk.gov.lv/lv/getrevisionfile/29552-BEB0L79wVBRtl5z947s2p5lODAW3jqJh.pdf</a:t>
            </a:r>
          </a:p>
          <a:p>
            <a:pPr marL="172800" indent="-172800">
              <a:spcBef>
                <a:spcPts val="300"/>
              </a:spcBef>
              <a:spcAft>
                <a:spcPts val="300"/>
              </a:spcAft>
              <a:buBlip>
                <a:blip r:embed="rId3"/>
              </a:buBlip>
            </a:pPr>
            <a:r>
              <a:rPr lang="lv-LV" sz="900" b="0" dirty="0">
                <a:solidFill>
                  <a:schemeClr val="tx1"/>
                </a:solidFill>
                <a:ea typeface="Open Sans"/>
                <a:cs typeface="Open Sans"/>
              </a:rPr>
              <a:t>Latvijas Republikas Veselības ministrija. Valsts katastrofu medicīnas plāns. Pieejams: </a:t>
            </a:r>
            <a:r>
              <a:rPr lang="lv-LV" sz="900" b="0" dirty="0">
                <a:solidFill>
                  <a:srgbClr val="A8192D"/>
                </a:solidFill>
                <a:ea typeface="Open Sans"/>
                <a:cs typeface="Open Sans"/>
              </a:rPr>
              <a:t>https://www.nmpd.gov.lv/lv/media/769/download</a:t>
            </a:r>
          </a:p>
          <a:p>
            <a:pPr marL="172800" indent="-172800">
              <a:spcBef>
                <a:spcPts val="300"/>
              </a:spcBef>
              <a:spcAft>
                <a:spcPts val="300"/>
              </a:spcAft>
              <a:buBlip>
                <a:blip r:embed="rId3"/>
              </a:buBlip>
            </a:pPr>
            <a:r>
              <a:rPr lang="lv-LV" sz="900" b="0" dirty="0">
                <a:solidFill>
                  <a:schemeClr val="tx1"/>
                </a:solidFill>
                <a:ea typeface="Open Sans"/>
                <a:cs typeface="Open Sans"/>
              </a:rPr>
              <a:t>Likums "Par ārkārtējo situāciju un izņēmuma stāvokli". Pieejams: </a:t>
            </a:r>
            <a:r>
              <a:rPr lang="lv-LV" sz="900" b="0" dirty="0">
                <a:solidFill>
                  <a:srgbClr val="A8192D"/>
                </a:solidFill>
                <a:ea typeface="Open Sans"/>
                <a:cs typeface="Open Sans"/>
              </a:rPr>
              <a:t>https://likumi.lv/ta/id/255713</a:t>
            </a:r>
          </a:p>
        </p:txBody>
      </p:sp>
      <p:sp>
        <p:nvSpPr>
          <p:cNvPr id="3" name="Rectangle 2">
            <a:extLst>
              <a:ext uri="{FF2B5EF4-FFF2-40B4-BE49-F238E27FC236}">
                <a16:creationId xmlns:a16="http://schemas.microsoft.com/office/drawing/2014/main" id="{7D84EAD6-3EE4-C052-2B5F-2FFA6C0D7A59}"/>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rgbClr val="A4A3B2"/>
                </a:solidFill>
                <a:effectLst/>
                <a:uLnTx/>
                <a:uFillTx/>
                <a:ea typeface="Georgia"/>
                <a:cs typeface="Georgia"/>
                <a:sym typeface="Georgia"/>
              </a:rPr>
              <a:t>2. CIVILĀS AIZSARDZĪBAS SISTĒMA UN NORMATĪVAIS UN POLITIKAS PLĀNOŠANAS IETVARS</a:t>
            </a:r>
          </a:p>
        </p:txBody>
      </p:sp>
    </p:spTree>
    <p:extLst>
      <p:ext uri="{BB962C8B-B14F-4D97-AF65-F5344CB8AC3E}">
        <p14:creationId xmlns:p14="http://schemas.microsoft.com/office/powerpoint/2010/main" val="79636148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vert="horz"/>
          <a:lstStyle/>
          <a:p>
            <a:r>
              <a:rPr lang="lv-LV"/>
              <a:t>Izmantotie avoti (2/3)</a:t>
            </a:r>
            <a:endParaRPr lang="en-US"/>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5</a:t>
            </a:fld>
            <a:endParaRPr lang="en-GB"/>
          </a:p>
        </p:txBody>
      </p:sp>
      <p:sp>
        <p:nvSpPr>
          <p:cNvPr id="24" name="Content Placeholder 2">
            <a:extLst>
              <a:ext uri="{FF2B5EF4-FFF2-40B4-BE49-F238E27FC236}">
                <a16:creationId xmlns:a16="http://schemas.microsoft.com/office/drawing/2014/main" id="{20F6161A-E3E2-A765-A44D-92728895AC83}"/>
              </a:ext>
            </a:extLst>
          </p:cNvPr>
          <p:cNvSpPr txBox="1">
            <a:spLocks/>
          </p:cNvSpPr>
          <p:nvPr/>
        </p:nvSpPr>
        <p:spPr>
          <a:xfrm>
            <a:off x="442913" y="1819276"/>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800" indent="-172800">
              <a:spcBef>
                <a:spcPts val="300"/>
              </a:spcBef>
              <a:spcAft>
                <a:spcPts val="300"/>
              </a:spcAft>
              <a:buBlip>
                <a:blip r:embed="rId3"/>
              </a:buBlip>
            </a:pPr>
            <a:r>
              <a:rPr lang="lv-LV" sz="900" b="0" dirty="0">
                <a:solidFill>
                  <a:schemeClr val="tx1"/>
                </a:solidFill>
                <a:ea typeface="Open Sans"/>
                <a:cs typeface="Open Sans"/>
              </a:rPr>
              <a:t>Likums "Par piesārņojumu". Pieejams: </a:t>
            </a:r>
            <a:r>
              <a:rPr lang="lv-LV" sz="900" b="0" dirty="0">
                <a:solidFill>
                  <a:srgbClr val="A8192D"/>
                </a:solidFill>
                <a:ea typeface="Open Sans"/>
                <a:cs typeface="Open Sans"/>
              </a:rPr>
              <a:t>https://likumi.lv/ta/id/6075</a:t>
            </a:r>
            <a:endParaRPr lang="lv-LV" sz="900" b="0" dirty="0">
              <a:solidFill>
                <a:schemeClr val="tx1"/>
              </a:solidFill>
              <a:ea typeface="Open Sans"/>
              <a:cs typeface="Open Sans"/>
            </a:endParaRPr>
          </a:p>
          <a:p>
            <a:pPr marL="172800" indent="-172800">
              <a:spcBef>
                <a:spcPts val="300"/>
              </a:spcBef>
              <a:spcAft>
                <a:spcPts val="300"/>
              </a:spcAft>
              <a:buBlip>
                <a:blip r:embed="rId3"/>
              </a:buBlip>
            </a:pPr>
            <a:r>
              <a:rPr lang="lv-LV" sz="900" b="0" dirty="0">
                <a:solidFill>
                  <a:schemeClr val="tx1"/>
                </a:solidFill>
                <a:ea typeface="Open Sans"/>
                <a:cs typeface="Open Sans"/>
              </a:rPr>
              <a:t>Likums "Par radiācijas drošību un kodoldrošību". Pieejams: </a:t>
            </a:r>
            <a:r>
              <a:rPr lang="lv-LV" sz="900" b="0" dirty="0">
                <a:solidFill>
                  <a:srgbClr val="A8192D"/>
                </a:solidFill>
                <a:ea typeface="Open Sans"/>
                <a:cs typeface="Open Sans"/>
              </a:rPr>
              <a:t>https://likumi.lv/ta/id/12484</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02. gada 29. janvāra noteikumi Nr. 40 "Valsts enerģētiskās krīzes centra nolikums". Pieejams: </a:t>
            </a:r>
            <a:r>
              <a:rPr lang="lv-LV" sz="900" b="0" dirty="0">
                <a:solidFill>
                  <a:srgbClr val="A8192D"/>
                </a:solidFill>
                <a:ea typeface="Open Sans"/>
                <a:cs typeface="Open Sans"/>
              </a:rPr>
              <a:t>https://likumi.lv/ta/id/58439</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0. gada 28. septembra instrukcija Nr. 16 "Kārtība, kādā valsts augstākās amatpersonas apziņojamas valsts apdraudējuma gadījumā un par ārkārtas notikumiem valstī". Pieejams: </a:t>
            </a:r>
            <a:r>
              <a:rPr lang="lv-LV" sz="900" b="0" dirty="0">
                <a:solidFill>
                  <a:srgbClr val="A8192D"/>
                </a:solidFill>
                <a:ea typeface="Open Sans"/>
                <a:cs typeface="Open Sans"/>
              </a:rPr>
              <a:t>https://likumi.lv/ta/id/218821</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1. gada 13. decembra noteikumi Nr. 948 "Katastrofu medicīnas sistēmas organizēšanas noteikumi". Pieejams: </a:t>
            </a:r>
            <a:r>
              <a:rPr lang="lv-LV" sz="900" b="0" dirty="0">
                <a:solidFill>
                  <a:srgbClr val="A8192D"/>
                </a:solidFill>
                <a:ea typeface="Open Sans"/>
                <a:cs typeface="Open Sans"/>
              </a:rPr>
              <a:t>https://likumi.lv/ta/id/241413</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7. gada 12. decembra noteikumi Nr. 723 "Valsts civilās aizsardzības kontaktpunkta noteikumi". Pieejams: </a:t>
            </a:r>
            <a:r>
              <a:rPr lang="lv-LV" sz="900" b="0" dirty="0">
                <a:solidFill>
                  <a:srgbClr val="A8192D"/>
                </a:solidFill>
                <a:ea typeface="Open Sans"/>
                <a:cs typeface="Open Sans"/>
              </a:rPr>
              <a:t>https://likumi.lv/ta/id/295780</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7. gada 26. septembra noteikumi Nr. 582 "Noteikumi par pašvaldību sadarbības teritorijas civilās aizsardzības komisijām". Pieejams: </a:t>
            </a:r>
            <a:r>
              <a:rPr lang="lv-LV" sz="900" b="0" dirty="0">
                <a:solidFill>
                  <a:srgbClr val="A8192D"/>
                </a:solidFill>
                <a:ea typeface="Open Sans"/>
                <a:cs typeface="Open Sans"/>
              </a:rPr>
              <a:t>https://likumi.lv/ta/id/293820</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7. gada 5. decembra noteikumi Nr. 716 "Minimālās prasības obligātā civilās aizsardzības kursa saturam un nodarbināto civilās aizsardzības apmācības saturam". Pieejams: </a:t>
            </a:r>
            <a:r>
              <a:rPr lang="lv-LV" sz="900" b="0" dirty="0">
                <a:solidFill>
                  <a:srgbClr val="A8192D"/>
                </a:solidFill>
                <a:ea typeface="Open Sans"/>
                <a:cs typeface="Open Sans"/>
              </a:rPr>
              <a:t>https://likumi.lv/ta/id/295896</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7. gada 7. novembra noteikumi Nr. 658 "Noteikumi par civilās aizsardzības plānu struktūru un tajos iekļaujamo informāciju". Pieejams: </a:t>
            </a:r>
            <a:r>
              <a:rPr lang="lv-LV" sz="900" b="0" dirty="0">
                <a:solidFill>
                  <a:srgbClr val="A8192D"/>
                </a:solidFill>
                <a:ea typeface="Open Sans"/>
                <a:cs typeface="Open Sans"/>
              </a:rPr>
              <a:t>https://likumi.lv/ta/id/294938</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7. gada 8. augusta noteikumi Nr. 440 "Valsts agrīnās brīdināšanas sistēmas izveidošanas, darbības un finansēšanas kārtība". Pieejams: </a:t>
            </a:r>
            <a:r>
              <a:rPr lang="lv-LV" sz="900" b="0" dirty="0">
                <a:solidFill>
                  <a:srgbClr val="A8192D"/>
                </a:solidFill>
                <a:ea typeface="Open Sans"/>
                <a:cs typeface="Open Sans"/>
              </a:rPr>
              <a:t>https://likumi.lv/ta/id/292740</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20. gada 26. augusta rīkojums Nr. 476 "Par Valsts civilās aizsardzības plānu". Pieejams: </a:t>
            </a:r>
            <a:r>
              <a:rPr lang="lv-LV" sz="900" b="0" dirty="0">
                <a:solidFill>
                  <a:srgbClr val="A8192D"/>
                </a:solidFill>
                <a:ea typeface="Open Sans"/>
                <a:cs typeface="Open Sans"/>
              </a:rPr>
              <a:t>https://likumi.lv/ta/id/317006</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21. gada 21. janvāra noteikumi Nr. 46 "Paaugstinātas bīstamības objektu saraksts". Pieejams: </a:t>
            </a:r>
            <a:r>
              <a:rPr lang="lv-LV" sz="900" b="0" dirty="0">
                <a:solidFill>
                  <a:srgbClr val="A8192D"/>
                </a:solidFill>
                <a:ea typeface="Open Sans"/>
                <a:cs typeface="Open Sans"/>
              </a:rPr>
              <a:t>https://likumi.lv/ta/id/320469</a:t>
            </a:r>
          </a:p>
          <a:p>
            <a:pPr marL="172800" indent="-172800">
              <a:spcBef>
                <a:spcPts val="300"/>
              </a:spcBef>
              <a:spcAft>
                <a:spcPts val="300"/>
              </a:spcAft>
              <a:buBlip>
                <a:blip r:embed="rId3"/>
              </a:buBlip>
            </a:pPr>
            <a:r>
              <a:rPr lang="lv-LV" sz="900" b="0" dirty="0">
                <a:solidFill>
                  <a:schemeClr val="tx1"/>
                </a:solidFill>
                <a:ea typeface="Open Sans"/>
                <a:cs typeface="Open Sans"/>
              </a:rPr>
              <a:t>Nacionālās drošības likums. Pieejams: </a:t>
            </a:r>
            <a:r>
              <a:rPr lang="lv-LV" sz="900" b="0" dirty="0">
                <a:solidFill>
                  <a:srgbClr val="A8192D"/>
                </a:solidFill>
                <a:ea typeface="Open Sans"/>
                <a:cs typeface="Open Sans"/>
              </a:rPr>
              <a:t>https://likumi.lv/ta/id/14011</a:t>
            </a:r>
          </a:p>
          <a:p>
            <a:pPr marL="172800" indent="-172800">
              <a:spcBef>
                <a:spcPts val="300"/>
              </a:spcBef>
              <a:spcAft>
                <a:spcPts val="300"/>
              </a:spcAft>
              <a:buBlip>
                <a:blip r:embed="rId3"/>
              </a:buBlip>
            </a:pPr>
            <a:r>
              <a:rPr lang="lv-LV" sz="900" b="0" dirty="0">
                <a:solidFill>
                  <a:schemeClr val="tx1"/>
                </a:solidFill>
                <a:ea typeface="Open Sans"/>
                <a:cs typeface="Open Sans"/>
              </a:rPr>
              <a:t>Neatliekamās medicīniskās palīdzības dienests. Katastrofu medicīnas sistēma. Pieejams: </a:t>
            </a:r>
            <a:r>
              <a:rPr lang="lv-LV" sz="900" b="0" dirty="0">
                <a:solidFill>
                  <a:srgbClr val="A8192D"/>
                </a:solidFill>
                <a:ea typeface="Open Sans"/>
                <a:cs typeface="Open Sans"/>
              </a:rPr>
              <a:t>https://www.nmpd.gov.lv/lv/katastrofu-medicinas-sistema-0</a:t>
            </a:r>
          </a:p>
          <a:p>
            <a:pPr marL="172800" indent="-172800">
              <a:spcBef>
                <a:spcPts val="300"/>
              </a:spcBef>
              <a:spcAft>
                <a:spcPts val="300"/>
              </a:spcAft>
              <a:buBlip>
                <a:blip r:embed="rId3"/>
              </a:buBlip>
            </a:pPr>
            <a:r>
              <a:rPr lang="lv-LV" sz="900" b="0" dirty="0">
                <a:solidFill>
                  <a:schemeClr val="tx1"/>
                </a:solidFill>
                <a:ea typeface="Open Sans"/>
                <a:cs typeface="Open Sans"/>
              </a:rPr>
              <a:t>Parīzes nolīgums. 2016. Pieejams: </a:t>
            </a:r>
            <a:r>
              <a:rPr lang="lv-LV" sz="900" b="0" dirty="0">
                <a:solidFill>
                  <a:srgbClr val="A8192D"/>
                </a:solidFill>
                <a:ea typeface="Open Sans"/>
                <a:cs typeface="Open Sans"/>
              </a:rPr>
              <a:t>https://eur-lex.europa.eu/legal-content/LV/ALL/?uri=CELEX:22016A1019(01)</a:t>
            </a:r>
          </a:p>
          <a:p>
            <a:pPr marL="172800" indent="-172800">
              <a:spcBef>
                <a:spcPts val="300"/>
              </a:spcBef>
              <a:spcAft>
                <a:spcPts val="300"/>
              </a:spcAft>
              <a:buBlip>
                <a:blip r:embed="rId3"/>
              </a:buBlip>
            </a:pPr>
            <a:r>
              <a:rPr lang="lv-LV" sz="900" b="0" dirty="0">
                <a:solidFill>
                  <a:schemeClr val="tx1"/>
                </a:solidFill>
                <a:ea typeface="Open Sans"/>
                <a:cs typeface="Open Sans"/>
              </a:rPr>
              <a:t>Saeimas 2023. gada 11. maija paziņojums "Par Ministru kabineta 2023. gada 2. maija rīkojumu Nr. 252, ar kuru grozīts 2021. gada 10. augusta rīkojums Nr. 518 "Par ārkārtējās situācijas izsludināšanu"". Pieejams: </a:t>
            </a:r>
            <a:r>
              <a:rPr lang="lv-LV" sz="900" b="0" dirty="0">
                <a:solidFill>
                  <a:srgbClr val="A8192D"/>
                </a:solidFill>
                <a:ea typeface="Open Sans"/>
                <a:cs typeface="Open Sans"/>
              </a:rPr>
              <a:t>https://likumi.lv/ta/id/341834</a:t>
            </a:r>
          </a:p>
          <a:p>
            <a:pPr marL="172800" indent="-172800">
              <a:spcBef>
                <a:spcPts val="300"/>
              </a:spcBef>
              <a:spcAft>
                <a:spcPts val="300"/>
              </a:spcAft>
              <a:buBlip>
                <a:blip r:embed="rId3"/>
              </a:buBlip>
            </a:pPr>
            <a:r>
              <a:rPr lang="lv-LV" sz="900" b="0" dirty="0">
                <a:solidFill>
                  <a:schemeClr val="tx1"/>
                </a:solidFill>
                <a:ea typeface="Open Sans"/>
                <a:cs typeface="Open Sans"/>
              </a:rPr>
              <a:t>Saeimas 2023. gada 28. septembra paziņojums "Par Nacionālās drošības koncepcijas apstiprināšanu". Pieejams: </a:t>
            </a:r>
            <a:r>
              <a:rPr lang="lv-LV" sz="900" b="0" dirty="0">
                <a:solidFill>
                  <a:srgbClr val="A8192D"/>
                </a:solidFill>
                <a:ea typeface="Open Sans"/>
                <a:cs typeface="Open Sans"/>
              </a:rPr>
              <a:t>https://likumi.lv/ta/id/345911</a:t>
            </a:r>
          </a:p>
          <a:p>
            <a:pPr marL="172800" indent="-172800">
              <a:spcBef>
                <a:spcPts val="300"/>
              </a:spcBef>
              <a:spcAft>
                <a:spcPts val="300"/>
              </a:spcAft>
              <a:buBlip>
                <a:blip r:embed="rId3"/>
              </a:buBlip>
            </a:pPr>
            <a:r>
              <a:rPr lang="lv-LV" sz="900" b="0" dirty="0">
                <a:solidFill>
                  <a:schemeClr val="tx1"/>
                </a:solidFill>
                <a:ea typeface="Open Sans"/>
                <a:cs typeface="Open Sans"/>
              </a:rPr>
              <a:t>Starptautiskās palīdzības likums. Pieejams: </a:t>
            </a:r>
            <a:r>
              <a:rPr lang="lv-LV" sz="900" b="0" dirty="0">
                <a:solidFill>
                  <a:srgbClr val="A8192D"/>
                </a:solidFill>
                <a:ea typeface="Open Sans"/>
                <a:cs typeface="Open Sans"/>
              </a:rPr>
              <a:t>https://likumi.lv/ta/id/175254</a:t>
            </a:r>
          </a:p>
        </p:txBody>
      </p:sp>
      <p:sp>
        <p:nvSpPr>
          <p:cNvPr id="3" name="Rectangle 2">
            <a:extLst>
              <a:ext uri="{FF2B5EF4-FFF2-40B4-BE49-F238E27FC236}">
                <a16:creationId xmlns:a16="http://schemas.microsoft.com/office/drawing/2014/main" id="{7D84EAD6-3EE4-C052-2B5F-2FFA6C0D7A59}"/>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rgbClr val="A4A3B2"/>
                </a:solidFill>
                <a:effectLst/>
                <a:uLnTx/>
                <a:uFillTx/>
                <a:ea typeface="Georgia"/>
                <a:cs typeface="Georgia"/>
                <a:sym typeface="Georgia"/>
              </a:rPr>
              <a:t>2. CIVILĀS AIZSARDZĪBAS SISTĒMA UN NORMATĪVAIS UN POLITIKAS PLĀNOŠANAS IETVARS</a:t>
            </a:r>
          </a:p>
        </p:txBody>
      </p:sp>
    </p:spTree>
    <p:extLst>
      <p:ext uri="{BB962C8B-B14F-4D97-AF65-F5344CB8AC3E}">
        <p14:creationId xmlns:p14="http://schemas.microsoft.com/office/powerpoint/2010/main" val="152788086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vert="horz"/>
          <a:lstStyle/>
          <a:p>
            <a:r>
              <a:rPr lang="lv-LV"/>
              <a:t>Izmantotie avoti (3/3)</a:t>
            </a:r>
            <a:endParaRPr lang="en-US"/>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6</a:t>
            </a:fld>
            <a:endParaRPr lang="en-GB"/>
          </a:p>
        </p:txBody>
      </p:sp>
      <p:sp>
        <p:nvSpPr>
          <p:cNvPr id="24" name="Content Placeholder 2">
            <a:extLst>
              <a:ext uri="{FF2B5EF4-FFF2-40B4-BE49-F238E27FC236}">
                <a16:creationId xmlns:a16="http://schemas.microsoft.com/office/drawing/2014/main" id="{20F6161A-E3E2-A765-A44D-92728895AC83}"/>
              </a:ext>
            </a:extLst>
          </p:cNvPr>
          <p:cNvSpPr txBox="1">
            <a:spLocks/>
          </p:cNvSpPr>
          <p:nvPr/>
        </p:nvSpPr>
        <p:spPr>
          <a:xfrm>
            <a:off x="442913" y="1819276"/>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800" indent="-172800">
              <a:spcBef>
                <a:spcPts val="300"/>
              </a:spcBef>
              <a:spcAft>
                <a:spcPts val="300"/>
              </a:spcAft>
              <a:buBlip>
                <a:blip r:embed="rId3"/>
              </a:buBlip>
            </a:pPr>
            <a:r>
              <a:rPr lang="lv-LV" sz="900" b="0" dirty="0">
                <a:solidFill>
                  <a:schemeClr val="tx1"/>
                </a:solidFill>
                <a:ea typeface="Open Sans"/>
                <a:cs typeface="Open Sans"/>
              </a:rPr>
              <a:t>Ugunsdrošības un ugunsdzēsības likums. Pieejams: </a:t>
            </a:r>
            <a:r>
              <a:rPr lang="lv-LV" sz="900" b="0" dirty="0">
                <a:solidFill>
                  <a:srgbClr val="A8192D"/>
                </a:solidFill>
                <a:ea typeface="Open Sans"/>
                <a:cs typeface="Open Sans"/>
              </a:rPr>
              <a:t>https://likumi.lv/ta/id/68293</a:t>
            </a:r>
            <a:endParaRPr lang="lv-LV" sz="900" b="0" dirty="0">
              <a:solidFill>
                <a:schemeClr val="tx1"/>
              </a:solidFill>
              <a:ea typeface="Open Sans"/>
              <a:cs typeface="Open Sans"/>
            </a:endParaRPr>
          </a:p>
          <a:p>
            <a:pPr marL="172800" indent="-172800">
              <a:spcBef>
                <a:spcPts val="300"/>
              </a:spcBef>
              <a:spcAft>
                <a:spcPts val="300"/>
              </a:spcAft>
              <a:buBlip>
                <a:blip r:embed="rId3"/>
              </a:buBlip>
            </a:pPr>
            <a:r>
              <a:rPr lang="lv-LV" sz="900" b="0" dirty="0" err="1">
                <a:solidFill>
                  <a:schemeClr val="tx1"/>
                </a:solidFill>
                <a:ea typeface="Open Sans"/>
                <a:cs typeface="Open Sans"/>
              </a:rPr>
              <a:t>United</a:t>
            </a:r>
            <a:r>
              <a:rPr lang="lv-LV" sz="900" b="0" dirty="0">
                <a:solidFill>
                  <a:schemeClr val="tx1"/>
                </a:solidFill>
                <a:ea typeface="Open Sans"/>
                <a:cs typeface="Open Sans"/>
              </a:rPr>
              <a:t> </a:t>
            </a:r>
            <a:r>
              <a:rPr lang="lv-LV" sz="900" b="0" dirty="0" err="1">
                <a:solidFill>
                  <a:schemeClr val="tx1"/>
                </a:solidFill>
                <a:ea typeface="Open Sans"/>
                <a:cs typeface="Open Sans"/>
              </a:rPr>
              <a:t>Nations</a:t>
            </a:r>
            <a:r>
              <a:rPr lang="lv-LV" sz="900" b="0" dirty="0">
                <a:solidFill>
                  <a:schemeClr val="tx1"/>
                </a:solidFill>
                <a:ea typeface="Open Sans"/>
                <a:cs typeface="Open Sans"/>
              </a:rPr>
              <a:t> Office </a:t>
            </a:r>
            <a:r>
              <a:rPr lang="lv-LV" sz="900" b="0" dirty="0" err="1">
                <a:solidFill>
                  <a:schemeClr val="tx1"/>
                </a:solidFill>
                <a:ea typeface="Open Sans"/>
                <a:cs typeface="Open Sans"/>
              </a:rPr>
              <a:t>for</a:t>
            </a:r>
            <a:r>
              <a:rPr lang="lv-LV" sz="900" b="0" dirty="0">
                <a:solidFill>
                  <a:schemeClr val="tx1"/>
                </a:solidFill>
                <a:ea typeface="Open Sans"/>
                <a:cs typeface="Open Sans"/>
              </a:rPr>
              <a:t> </a:t>
            </a:r>
            <a:r>
              <a:rPr lang="lv-LV" sz="900" b="0" dirty="0" err="1">
                <a:solidFill>
                  <a:schemeClr val="tx1"/>
                </a:solidFill>
                <a:ea typeface="Open Sans"/>
                <a:cs typeface="Open Sans"/>
              </a:rPr>
              <a:t>Disaster</a:t>
            </a:r>
            <a:r>
              <a:rPr lang="lv-LV" sz="900" b="0" dirty="0">
                <a:solidFill>
                  <a:schemeClr val="tx1"/>
                </a:solidFill>
                <a:ea typeface="Open Sans"/>
                <a:cs typeface="Open Sans"/>
              </a:rPr>
              <a:t> Risk </a:t>
            </a:r>
            <a:r>
              <a:rPr lang="lv-LV" sz="900" b="0" dirty="0" err="1">
                <a:solidFill>
                  <a:schemeClr val="tx1"/>
                </a:solidFill>
                <a:ea typeface="Open Sans"/>
                <a:cs typeface="Open Sans"/>
              </a:rPr>
              <a:t>Reduction</a:t>
            </a:r>
            <a:r>
              <a:rPr lang="lv-LV" sz="900" b="0" dirty="0">
                <a:solidFill>
                  <a:schemeClr val="tx1"/>
                </a:solidFill>
                <a:ea typeface="Open Sans"/>
                <a:cs typeface="Open Sans"/>
              </a:rPr>
              <a:t>. </a:t>
            </a:r>
            <a:r>
              <a:rPr lang="lv-LV" sz="900" b="0" dirty="0" err="1">
                <a:solidFill>
                  <a:schemeClr val="tx1"/>
                </a:solidFill>
                <a:ea typeface="Open Sans"/>
                <a:cs typeface="Open Sans"/>
              </a:rPr>
              <a:t>Sendai</a:t>
            </a:r>
            <a:r>
              <a:rPr lang="lv-LV" sz="900" b="0" dirty="0">
                <a:solidFill>
                  <a:schemeClr val="tx1"/>
                </a:solidFill>
                <a:ea typeface="Open Sans"/>
                <a:cs typeface="Open Sans"/>
              </a:rPr>
              <a:t> </a:t>
            </a:r>
            <a:r>
              <a:rPr lang="lv-LV" sz="900" b="0" dirty="0" err="1">
                <a:solidFill>
                  <a:schemeClr val="tx1"/>
                </a:solidFill>
                <a:ea typeface="Open Sans"/>
                <a:cs typeface="Open Sans"/>
              </a:rPr>
              <a:t>Framework</a:t>
            </a:r>
            <a:r>
              <a:rPr lang="lv-LV" sz="900" b="0" dirty="0">
                <a:solidFill>
                  <a:schemeClr val="tx1"/>
                </a:solidFill>
                <a:ea typeface="Open Sans"/>
                <a:cs typeface="Open Sans"/>
              </a:rPr>
              <a:t> </a:t>
            </a:r>
            <a:r>
              <a:rPr lang="lv-LV" sz="900" b="0" dirty="0" err="1">
                <a:solidFill>
                  <a:schemeClr val="tx1"/>
                </a:solidFill>
                <a:ea typeface="Open Sans"/>
                <a:cs typeface="Open Sans"/>
              </a:rPr>
              <a:t>for</a:t>
            </a:r>
            <a:r>
              <a:rPr lang="lv-LV" sz="900" b="0" dirty="0">
                <a:solidFill>
                  <a:schemeClr val="tx1"/>
                </a:solidFill>
                <a:ea typeface="Open Sans"/>
                <a:cs typeface="Open Sans"/>
              </a:rPr>
              <a:t> </a:t>
            </a:r>
            <a:r>
              <a:rPr lang="lv-LV" sz="900" b="0" dirty="0" err="1">
                <a:solidFill>
                  <a:schemeClr val="tx1"/>
                </a:solidFill>
                <a:ea typeface="Open Sans"/>
                <a:cs typeface="Open Sans"/>
              </a:rPr>
              <a:t>Disaster</a:t>
            </a:r>
            <a:r>
              <a:rPr lang="lv-LV" sz="900" b="0" dirty="0">
                <a:solidFill>
                  <a:schemeClr val="tx1"/>
                </a:solidFill>
                <a:ea typeface="Open Sans"/>
                <a:cs typeface="Open Sans"/>
              </a:rPr>
              <a:t> Risk </a:t>
            </a:r>
            <a:r>
              <a:rPr lang="lv-LV" sz="900" b="0" dirty="0" err="1">
                <a:solidFill>
                  <a:schemeClr val="tx1"/>
                </a:solidFill>
                <a:ea typeface="Open Sans"/>
                <a:cs typeface="Open Sans"/>
              </a:rPr>
              <a:t>Reduction</a:t>
            </a:r>
            <a:r>
              <a:rPr lang="lv-LV" sz="900" b="0" dirty="0">
                <a:solidFill>
                  <a:schemeClr val="tx1"/>
                </a:solidFill>
                <a:ea typeface="Open Sans"/>
                <a:cs typeface="Open Sans"/>
              </a:rPr>
              <a:t> 2015-2030. Pieejams: </a:t>
            </a:r>
            <a:r>
              <a:rPr lang="lv-LV" sz="900" b="0" dirty="0">
                <a:solidFill>
                  <a:srgbClr val="A8192D"/>
                </a:solidFill>
                <a:ea typeface="Open Sans"/>
                <a:cs typeface="Open Sans"/>
              </a:rPr>
              <a:t>https://www.undrr.org/publication/sendai-framework-disaster-risk-reduction-2015-2030</a:t>
            </a:r>
          </a:p>
          <a:p>
            <a:pPr marL="172800" indent="-172800">
              <a:spcBef>
                <a:spcPts val="300"/>
              </a:spcBef>
              <a:spcAft>
                <a:spcPts val="300"/>
              </a:spcAft>
              <a:buBlip>
                <a:blip r:embed="rId3"/>
              </a:buBlip>
            </a:pPr>
            <a:r>
              <a:rPr lang="lv-LV" sz="900" b="0" dirty="0" err="1">
                <a:solidFill>
                  <a:schemeClr val="tx1"/>
                </a:solidFill>
                <a:ea typeface="Open Sans"/>
                <a:cs typeface="Open Sans"/>
              </a:rPr>
              <a:t>United</a:t>
            </a:r>
            <a:r>
              <a:rPr lang="lv-LV" sz="900" b="0" dirty="0">
                <a:solidFill>
                  <a:schemeClr val="tx1"/>
                </a:solidFill>
                <a:ea typeface="Open Sans"/>
                <a:cs typeface="Open Sans"/>
              </a:rPr>
              <a:t> </a:t>
            </a:r>
            <a:r>
              <a:rPr lang="lv-LV" sz="900" b="0" dirty="0" err="1">
                <a:solidFill>
                  <a:schemeClr val="tx1"/>
                </a:solidFill>
                <a:ea typeface="Open Sans"/>
                <a:cs typeface="Open Sans"/>
              </a:rPr>
              <a:t>Nations</a:t>
            </a:r>
            <a:r>
              <a:rPr lang="lv-LV" sz="900" b="0" dirty="0">
                <a:solidFill>
                  <a:schemeClr val="tx1"/>
                </a:solidFill>
                <a:ea typeface="Open Sans"/>
                <a:cs typeface="Open Sans"/>
              </a:rPr>
              <a:t>. </a:t>
            </a:r>
            <a:r>
              <a:rPr lang="lv-LV" sz="900" b="0" dirty="0" err="1">
                <a:solidFill>
                  <a:schemeClr val="tx1"/>
                </a:solidFill>
                <a:ea typeface="Open Sans"/>
                <a:cs typeface="Open Sans"/>
              </a:rPr>
              <a:t>Transforming</a:t>
            </a:r>
            <a:r>
              <a:rPr lang="lv-LV" sz="900" b="0" dirty="0">
                <a:solidFill>
                  <a:schemeClr val="tx1"/>
                </a:solidFill>
                <a:ea typeface="Open Sans"/>
                <a:cs typeface="Open Sans"/>
              </a:rPr>
              <a:t> </a:t>
            </a:r>
            <a:r>
              <a:rPr lang="lv-LV" sz="900" b="0" dirty="0" err="1">
                <a:solidFill>
                  <a:schemeClr val="tx1"/>
                </a:solidFill>
                <a:ea typeface="Open Sans"/>
                <a:cs typeface="Open Sans"/>
              </a:rPr>
              <a:t>our</a:t>
            </a:r>
            <a:r>
              <a:rPr lang="lv-LV" sz="900" b="0" dirty="0">
                <a:solidFill>
                  <a:schemeClr val="tx1"/>
                </a:solidFill>
                <a:ea typeface="Open Sans"/>
                <a:cs typeface="Open Sans"/>
              </a:rPr>
              <a:t> </a:t>
            </a:r>
            <a:r>
              <a:rPr lang="lv-LV" sz="900" b="0" dirty="0" err="1">
                <a:solidFill>
                  <a:schemeClr val="tx1"/>
                </a:solidFill>
                <a:ea typeface="Open Sans"/>
                <a:cs typeface="Open Sans"/>
              </a:rPr>
              <a:t>world</a:t>
            </a:r>
            <a:r>
              <a:rPr lang="lv-LV" sz="900" b="0" dirty="0">
                <a:solidFill>
                  <a:schemeClr val="tx1"/>
                </a:solidFill>
                <a:ea typeface="Open Sans"/>
                <a:cs typeface="Open Sans"/>
              </a:rPr>
              <a:t>: </a:t>
            </a:r>
            <a:r>
              <a:rPr lang="lv-LV" sz="900" b="0" dirty="0" err="1">
                <a:solidFill>
                  <a:schemeClr val="tx1"/>
                </a:solidFill>
                <a:ea typeface="Open Sans"/>
                <a:cs typeface="Open Sans"/>
              </a:rPr>
              <a:t>the</a:t>
            </a:r>
            <a:r>
              <a:rPr lang="lv-LV" sz="900" b="0" dirty="0">
                <a:solidFill>
                  <a:schemeClr val="tx1"/>
                </a:solidFill>
                <a:ea typeface="Open Sans"/>
                <a:cs typeface="Open Sans"/>
              </a:rPr>
              <a:t> 2030 </a:t>
            </a:r>
            <a:r>
              <a:rPr lang="lv-LV" sz="900" b="0" dirty="0" err="1">
                <a:solidFill>
                  <a:schemeClr val="tx1"/>
                </a:solidFill>
                <a:ea typeface="Open Sans"/>
                <a:cs typeface="Open Sans"/>
              </a:rPr>
              <a:t>Agenda</a:t>
            </a:r>
            <a:r>
              <a:rPr lang="lv-LV" sz="900" b="0" dirty="0">
                <a:solidFill>
                  <a:schemeClr val="tx1"/>
                </a:solidFill>
                <a:ea typeface="Open Sans"/>
                <a:cs typeface="Open Sans"/>
              </a:rPr>
              <a:t> </a:t>
            </a:r>
            <a:r>
              <a:rPr lang="lv-LV" sz="900" b="0" dirty="0" err="1">
                <a:solidFill>
                  <a:schemeClr val="tx1"/>
                </a:solidFill>
                <a:ea typeface="Open Sans"/>
                <a:cs typeface="Open Sans"/>
              </a:rPr>
              <a:t>for</a:t>
            </a:r>
            <a:r>
              <a:rPr lang="lv-LV" sz="900" b="0" dirty="0">
                <a:solidFill>
                  <a:schemeClr val="tx1"/>
                </a:solidFill>
                <a:ea typeface="Open Sans"/>
                <a:cs typeface="Open Sans"/>
              </a:rPr>
              <a:t> </a:t>
            </a:r>
            <a:r>
              <a:rPr lang="lv-LV" sz="900" b="0" dirty="0" err="1">
                <a:solidFill>
                  <a:schemeClr val="tx1"/>
                </a:solidFill>
                <a:ea typeface="Open Sans"/>
                <a:cs typeface="Open Sans"/>
              </a:rPr>
              <a:t>Sustainable</a:t>
            </a:r>
            <a:r>
              <a:rPr lang="lv-LV" sz="900" b="0" dirty="0">
                <a:solidFill>
                  <a:schemeClr val="tx1"/>
                </a:solidFill>
                <a:ea typeface="Open Sans"/>
                <a:cs typeface="Open Sans"/>
              </a:rPr>
              <a:t> </a:t>
            </a:r>
            <a:r>
              <a:rPr lang="lv-LV" sz="900" b="0" dirty="0" err="1">
                <a:solidFill>
                  <a:schemeClr val="tx1"/>
                </a:solidFill>
                <a:ea typeface="Open Sans"/>
                <a:cs typeface="Open Sans"/>
              </a:rPr>
              <a:t>Development</a:t>
            </a:r>
            <a:r>
              <a:rPr lang="lv-LV" sz="900" b="0" dirty="0">
                <a:solidFill>
                  <a:schemeClr val="tx1"/>
                </a:solidFill>
                <a:ea typeface="Open Sans"/>
                <a:cs typeface="Open Sans"/>
              </a:rPr>
              <a:t>. Pieejams: </a:t>
            </a:r>
            <a:r>
              <a:rPr lang="lv-LV" sz="900" b="0" dirty="0">
                <a:solidFill>
                  <a:srgbClr val="A8192D"/>
                </a:solidFill>
                <a:ea typeface="Open Sans"/>
                <a:cs typeface="Open Sans"/>
              </a:rPr>
              <a:t>https://sdgs.un.org/2030agenda</a:t>
            </a:r>
          </a:p>
          <a:p>
            <a:pPr marL="172800" indent="-172800">
              <a:spcBef>
                <a:spcPts val="300"/>
              </a:spcBef>
              <a:spcAft>
                <a:spcPts val="300"/>
              </a:spcAft>
              <a:buBlip>
                <a:blip r:embed="rId3"/>
              </a:buBlip>
            </a:pPr>
            <a:r>
              <a:rPr lang="lv-LV" sz="900" b="0" dirty="0">
                <a:solidFill>
                  <a:schemeClr val="tx1"/>
                </a:solidFill>
                <a:ea typeface="Open Sans"/>
                <a:cs typeface="Open Sans"/>
              </a:rPr>
              <a:t>Valsts materiālo rezervju likums. Pieejams: </a:t>
            </a:r>
            <a:r>
              <a:rPr lang="lv-LV" sz="900" b="0" dirty="0">
                <a:solidFill>
                  <a:srgbClr val="A8192D"/>
                </a:solidFill>
                <a:ea typeface="Open Sans"/>
                <a:cs typeface="Open Sans"/>
              </a:rPr>
              <a:t>https://likumi.lv/ta/id/302995</a:t>
            </a:r>
          </a:p>
          <a:p>
            <a:pPr marL="172800" indent="-172800">
              <a:spcBef>
                <a:spcPts val="300"/>
              </a:spcBef>
              <a:spcAft>
                <a:spcPts val="300"/>
              </a:spcAft>
              <a:buBlip>
                <a:blip r:embed="rId3"/>
              </a:buBlip>
            </a:pPr>
            <a:r>
              <a:rPr lang="lv-LV" sz="900" b="0" dirty="0">
                <a:solidFill>
                  <a:schemeClr val="tx1"/>
                </a:solidFill>
                <a:ea typeface="Open Sans"/>
                <a:cs typeface="Open Sans"/>
              </a:rPr>
              <a:t>Zemkopības ministrija. 2023. 32 novados Latvijā no 1. aprīļa līdz 30. jūnijam izsludināta ārkārtējā situācija egļu mežaudzēm ļoti bīstamā egļu </a:t>
            </a:r>
            <a:r>
              <a:rPr lang="lv-LV" sz="900" b="0" dirty="0" err="1">
                <a:solidFill>
                  <a:schemeClr val="tx1"/>
                </a:solidFill>
                <a:ea typeface="Open Sans"/>
                <a:cs typeface="Open Sans"/>
              </a:rPr>
              <a:t>astoņzobu</a:t>
            </a:r>
            <a:r>
              <a:rPr lang="lv-LV" sz="900" b="0" dirty="0">
                <a:solidFill>
                  <a:schemeClr val="tx1"/>
                </a:solidFill>
                <a:ea typeface="Open Sans"/>
                <a:cs typeface="Open Sans"/>
              </a:rPr>
              <a:t> mizgrauža ierobežošanai. Pieejams: </a:t>
            </a:r>
            <a:r>
              <a:rPr lang="lv-LV" sz="900" b="0" dirty="0">
                <a:solidFill>
                  <a:srgbClr val="A8192D"/>
                </a:solidFill>
                <a:ea typeface="Open Sans"/>
                <a:cs typeface="Open Sans"/>
              </a:rPr>
              <a:t>https://www.zm.gov.lv/lv/jaunums/32-novados-latvija-no-1-aprila-lidz-30-junijam-izsludinata-arkarteja-situacija-eglu-mezaudzem-loti-bistama-eglu-astonzobu-mizgrauza-ierobezosanai</a:t>
            </a:r>
          </a:p>
          <a:p>
            <a:pPr marL="172800" indent="-172800">
              <a:spcBef>
                <a:spcPts val="300"/>
              </a:spcBef>
              <a:spcAft>
                <a:spcPts val="300"/>
              </a:spcAft>
              <a:buBlip>
                <a:blip r:embed="rId3"/>
              </a:buBlip>
            </a:pPr>
            <a:endParaRPr lang="lv-LV" sz="900" b="0" dirty="0">
              <a:solidFill>
                <a:schemeClr val="tx1"/>
              </a:solidFill>
              <a:ea typeface="Open Sans"/>
              <a:cs typeface="Open Sans"/>
            </a:endParaRPr>
          </a:p>
        </p:txBody>
      </p:sp>
      <p:sp>
        <p:nvSpPr>
          <p:cNvPr id="3" name="Rectangle 2">
            <a:extLst>
              <a:ext uri="{FF2B5EF4-FFF2-40B4-BE49-F238E27FC236}">
                <a16:creationId xmlns:a16="http://schemas.microsoft.com/office/drawing/2014/main" id="{7D84EAD6-3EE4-C052-2B5F-2FFA6C0D7A59}"/>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rgbClr val="A4A3B2"/>
                </a:solidFill>
                <a:effectLst/>
                <a:uLnTx/>
                <a:uFillTx/>
                <a:ea typeface="Georgia"/>
                <a:cs typeface="Georgia"/>
                <a:sym typeface="Georgia"/>
              </a:rPr>
              <a:t>2. CIVILĀS AIZSARDZĪBAS SISTĒMA UN NORMATĪVAIS UN POLITIKAS PLĀNOŠANAS IETVARS</a:t>
            </a:r>
          </a:p>
        </p:txBody>
      </p:sp>
    </p:spTree>
    <p:extLst>
      <p:ext uri="{BB962C8B-B14F-4D97-AF65-F5344CB8AC3E}">
        <p14:creationId xmlns:p14="http://schemas.microsoft.com/office/powerpoint/2010/main" val="31403299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448A3B5-3EE2-FA0B-8381-A23067061EC1}"/>
              </a:ext>
            </a:extLst>
          </p:cNvPr>
          <p:cNvPicPr>
            <a:picLocks noChangeAspect="1"/>
          </p:cNvPicPr>
          <p:nvPr/>
        </p:nvPicPr>
        <p:blipFill rotWithShape="1">
          <a:blip r:embed="rId3"/>
          <a:srcRect b="23131"/>
          <a:stretch/>
        </p:blipFill>
        <p:spPr>
          <a:xfrm>
            <a:off x="442911" y="3460253"/>
            <a:ext cx="5463617" cy="2638717"/>
          </a:xfrm>
          <a:prstGeom prst="rect">
            <a:avLst/>
          </a:prstGeom>
        </p:spPr>
      </p:pic>
      <p:pic>
        <p:nvPicPr>
          <p:cNvPr id="14" name="Picture 13">
            <a:extLst>
              <a:ext uri="{FF2B5EF4-FFF2-40B4-BE49-F238E27FC236}">
                <a16:creationId xmlns:a16="http://schemas.microsoft.com/office/drawing/2014/main" id="{5F50378F-4442-C830-0F6D-C21B955A2DF0}"/>
              </a:ext>
            </a:extLst>
          </p:cNvPr>
          <p:cNvPicPr>
            <a:picLocks noChangeAspect="1"/>
          </p:cNvPicPr>
          <p:nvPr/>
        </p:nvPicPr>
        <p:blipFill rotWithShape="1">
          <a:blip r:embed="rId4"/>
          <a:srcRect b="26801"/>
          <a:stretch/>
        </p:blipFill>
        <p:spPr>
          <a:xfrm>
            <a:off x="6265299" y="3460253"/>
            <a:ext cx="5483785" cy="2676065"/>
          </a:xfrm>
          <a:prstGeom prst="rect">
            <a:avLst/>
          </a:prstGeom>
        </p:spPr>
      </p:pic>
      <p:sp>
        <p:nvSpPr>
          <p:cNvPr id="22" name="Rectangle 21">
            <a:extLst>
              <a:ext uri="{FF2B5EF4-FFF2-40B4-BE49-F238E27FC236}">
                <a16:creationId xmlns:a16="http://schemas.microsoft.com/office/drawing/2014/main" id="{0A1CDF94-AF3F-D62F-B5F7-C4AEEA16B077}"/>
              </a:ext>
            </a:extLst>
          </p:cNvPr>
          <p:cNvSpPr/>
          <p:nvPr/>
        </p:nvSpPr>
        <p:spPr>
          <a:xfrm>
            <a:off x="442912" y="1819275"/>
            <a:ext cx="586800" cy="1496976"/>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2800" b="1"/>
          </a:p>
        </p:txBody>
      </p:sp>
      <p:sp>
        <p:nvSpPr>
          <p:cNvPr id="7" name="Title 18">
            <a:extLst>
              <a:ext uri="{FF2B5EF4-FFF2-40B4-BE49-F238E27FC236}">
                <a16:creationId xmlns:a16="http://schemas.microsoft.com/office/drawing/2014/main" id="{8955B2C7-F22E-6F52-733B-63ECB21657CB}"/>
              </a:ext>
            </a:extLst>
          </p:cNvPr>
          <p:cNvSpPr>
            <a:spLocks noGrp="1"/>
          </p:cNvSpPr>
          <p:nvPr>
            <p:ph type="title"/>
          </p:nvPr>
        </p:nvSpPr>
        <p:spPr/>
        <p:txBody>
          <a:bodyPr vert="horz"/>
          <a:lstStyle/>
          <a:p>
            <a:r>
              <a:rPr lang="lv-LV" noProof="0" err="1"/>
              <a:t>Ievaddiskusija</a:t>
            </a:r>
            <a:r>
              <a:rPr lang="lv-LV" noProof="0"/>
              <a:t> ar </a:t>
            </a:r>
            <a:r>
              <a:rPr lang="lv-LV"/>
              <a:t>izglītojamajiem</a:t>
            </a:r>
            <a:r>
              <a:rPr lang="lv-LV" noProof="0"/>
              <a:t> par civilās aizsardzības sistēmu</a:t>
            </a:r>
            <a:r>
              <a:rPr lang="lv-LV"/>
              <a:t> Latvijā</a:t>
            </a:r>
            <a:endParaRPr lang="lv-LV" noProof="0"/>
          </a:p>
        </p:txBody>
      </p:sp>
      <p:sp>
        <p:nvSpPr>
          <p:cNvPr id="4" name="Slide Number Placeholder 3">
            <a:extLst>
              <a:ext uri="{FF2B5EF4-FFF2-40B4-BE49-F238E27FC236}">
                <a16:creationId xmlns:a16="http://schemas.microsoft.com/office/drawing/2014/main" id="{900267F3-AAB7-0E08-7CC5-CCA5AF1FEB2C}"/>
              </a:ext>
            </a:extLst>
          </p:cNvPr>
          <p:cNvSpPr>
            <a:spLocks noGrp="1"/>
          </p:cNvSpPr>
          <p:nvPr>
            <p:ph type="sldNum" sz="quarter" idx="11"/>
          </p:nvPr>
        </p:nvSpPr>
        <p:spPr/>
        <p:txBody>
          <a:bodyPr/>
          <a:lstStyle/>
          <a:p>
            <a:fld id="{7870704B-CE94-48CC-AF30-84932A1262A7}" type="slidenum">
              <a:rPr lang="en-GB" smtClean="0"/>
              <a:pPr/>
              <a:t>4</a:t>
            </a:fld>
            <a:endParaRPr lang="en-GB"/>
          </a:p>
        </p:txBody>
      </p:sp>
      <p:sp>
        <p:nvSpPr>
          <p:cNvPr id="20" name="Satura vietturis 2">
            <a:extLst>
              <a:ext uri="{FF2B5EF4-FFF2-40B4-BE49-F238E27FC236}">
                <a16:creationId xmlns:a16="http://schemas.microsoft.com/office/drawing/2014/main" id="{D4BC4F3D-6634-58D4-2990-13297BD830D1}"/>
              </a:ext>
            </a:extLst>
          </p:cNvPr>
          <p:cNvSpPr txBox="1">
            <a:spLocks/>
          </p:cNvSpPr>
          <p:nvPr/>
        </p:nvSpPr>
        <p:spPr>
          <a:xfrm>
            <a:off x="1139874" y="1819275"/>
            <a:ext cx="4766654" cy="1499562"/>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a:solidFill>
                  <a:schemeClr val="tx1"/>
                </a:solidFill>
              </a:rPr>
              <a:t>Vai Jūs varat nosaukt kādu ar civilo </a:t>
            </a:r>
            <a:endParaRPr lang="en-US" altLang="lv-LV" sz="1600">
              <a:solidFill>
                <a:schemeClr val="tx1"/>
              </a:solidFill>
            </a:endParaRPr>
          </a:p>
          <a:p>
            <a:pPr>
              <a:spcAft>
                <a:spcPts val="0"/>
              </a:spcAft>
              <a:defRPr/>
            </a:pPr>
            <a:r>
              <a:rPr lang="lv-LV" altLang="lv-LV" sz="1600">
                <a:solidFill>
                  <a:schemeClr val="tx1"/>
                </a:solidFill>
              </a:rPr>
              <a:t>aizsardzību saistītu normatīvo aktu? </a:t>
            </a:r>
            <a:endParaRPr lang="en-US" altLang="lv-LV" sz="1600">
              <a:solidFill>
                <a:schemeClr val="tx1"/>
              </a:solidFill>
            </a:endParaRPr>
          </a:p>
        </p:txBody>
      </p:sp>
      <p:sp>
        <p:nvSpPr>
          <p:cNvPr id="21" name="Satura vietturis 2">
            <a:extLst>
              <a:ext uri="{FF2B5EF4-FFF2-40B4-BE49-F238E27FC236}">
                <a16:creationId xmlns:a16="http://schemas.microsoft.com/office/drawing/2014/main" id="{A3DAE46C-43DB-A6F2-C680-13972AF27B1E}"/>
              </a:ext>
            </a:extLst>
          </p:cNvPr>
          <p:cNvSpPr txBox="1">
            <a:spLocks/>
          </p:cNvSpPr>
          <p:nvPr/>
        </p:nvSpPr>
        <p:spPr>
          <a:xfrm>
            <a:off x="6981826" y="1819275"/>
            <a:ext cx="4767263" cy="1499562"/>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a:solidFill>
                  <a:schemeClr val="tx1"/>
                </a:solidFill>
              </a:rPr>
              <a:t>Vai Jūs zināt kādu gadījumu, kad Latvijā izsludināta ārkārtējā situācija?</a:t>
            </a:r>
            <a:endParaRPr lang="lv-LV" altLang="lv-LV" sz="1600">
              <a:solidFill>
                <a:schemeClr val="tx1"/>
              </a:solidFill>
              <a:cs typeface="Arial"/>
            </a:endParaRPr>
          </a:p>
        </p:txBody>
      </p:sp>
      <p:sp>
        <p:nvSpPr>
          <p:cNvPr id="23" name="Rectangle 22">
            <a:extLst>
              <a:ext uri="{FF2B5EF4-FFF2-40B4-BE49-F238E27FC236}">
                <a16:creationId xmlns:a16="http://schemas.microsoft.com/office/drawing/2014/main" id="{BA1CF5E6-AD1C-0222-19E8-20CB8C78445A}"/>
              </a:ext>
            </a:extLst>
          </p:cNvPr>
          <p:cNvSpPr/>
          <p:nvPr/>
        </p:nvSpPr>
        <p:spPr>
          <a:xfrm>
            <a:off x="6286501" y="1819275"/>
            <a:ext cx="586800" cy="1496976"/>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2800" b="1"/>
          </a:p>
        </p:txBody>
      </p:sp>
      <p:sp>
        <p:nvSpPr>
          <p:cNvPr id="24" name="Freeform 20">
            <a:extLst>
              <a:ext uri="{FF2B5EF4-FFF2-40B4-BE49-F238E27FC236}">
                <a16:creationId xmlns:a16="http://schemas.microsoft.com/office/drawing/2014/main" id="{27E887F0-3432-3828-7003-D6E223AC187A}"/>
              </a:ext>
            </a:extLst>
          </p:cNvPr>
          <p:cNvSpPr>
            <a:spLocks noChangeAspect="1" noEditPoints="1"/>
          </p:cNvSpPr>
          <p:nvPr/>
        </p:nvSpPr>
        <p:spPr bwMode="auto">
          <a:xfrm>
            <a:off x="508506" y="2339163"/>
            <a:ext cx="455613" cy="457200"/>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332 w 346"/>
              <a:gd name="T11" fmla="*/ 331 h 346"/>
              <a:gd name="T12" fmla="*/ 15 w 346"/>
              <a:gd name="T13" fmla="*/ 331 h 346"/>
              <a:gd name="T14" fmla="*/ 15 w 346"/>
              <a:gd name="T15" fmla="*/ 15 h 346"/>
              <a:gd name="T16" fmla="*/ 332 w 346"/>
              <a:gd name="T17" fmla="*/ 15 h 346"/>
              <a:gd name="T18" fmla="*/ 332 w 346"/>
              <a:gd name="T19" fmla="*/ 331 h 346"/>
              <a:gd name="T20" fmla="*/ 80 w 346"/>
              <a:gd name="T21" fmla="*/ 145 h 346"/>
              <a:gd name="T22" fmla="*/ 32 w 346"/>
              <a:gd name="T23" fmla="*/ 239 h 346"/>
              <a:gd name="T24" fmla="*/ 127 w 346"/>
              <a:gd name="T25" fmla="*/ 239 h 346"/>
              <a:gd name="T26" fmla="*/ 80 w 346"/>
              <a:gd name="T27" fmla="*/ 145 h 346"/>
              <a:gd name="T28" fmla="*/ 80 w 346"/>
              <a:gd name="T29" fmla="*/ 178 h 346"/>
              <a:gd name="T30" fmla="*/ 103 w 346"/>
              <a:gd name="T31" fmla="*/ 224 h 346"/>
              <a:gd name="T32" fmla="*/ 56 w 346"/>
              <a:gd name="T33" fmla="*/ 224 h 346"/>
              <a:gd name="T34" fmla="*/ 80 w 346"/>
              <a:gd name="T35" fmla="*/ 178 h 346"/>
              <a:gd name="T36" fmla="*/ 219 w 346"/>
              <a:gd name="T37" fmla="*/ 195 h 346"/>
              <a:gd name="T38" fmla="*/ 315 w 346"/>
              <a:gd name="T39" fmla="*/ 195 h 346"/>
              <a:gd name="T40" fmla="*/ 267 w 346"/>
              <a:gd name="T41" fmla="*/ 101 h 346"/>
              <a:gd name="T42" fmla="*/ 219 w 346"/>
              <a:gd name="T43" fmla="*/ 195 h 346"/>
              <a:gd name="T44" fmla="*/ 243 w 346"/>
              <a:gd name="T45" fmla="*/ 180 h 346"/>
              <a:gd name="T46" fmla="*/ 267 w 346"/>
              <a:gd name="T47" fmla="*/ 133 h 346"/>
              <a:gd name="T48" fmla="*/ 291 w 346"/>
              <a:gd name="T49" fmla="*/ 180 h 346"/>
              <a:gd name="T50" fmla="*/ 243 w 346"/>
              <a:gd name="T51" fmla="*/ 180 h 346"/>
              <a:gd name="T52" fmla="*/ 83 w 346"/>
              <a:gd name="T53" fmla="*/ 104 h 346"/>
              <a:gd name="T54" fmla="*/ 136 w 346"/>
              <a:gd name="T55" fmla="*/ 95 h 346"/>
              <a:gd name="T56" fmla="*/ 164 w 346"/>
              <a:gd name="T57" fmla="*/ 119 h 346"/>
              <a:gd name="T58" fmla="*/ 164 w 346"/>
              <a:gd name="T59" fmla="*/ 295 h 346"/>
              <a:gd name="T60" fmla="*/ 120 w 346"/>
              <a:gd name="T61" fmla="*/ 295 h 346"/>
              <a:gd name="T62" fmla="*/ 120 w 346"/>
              <a:gd name="T63" fmla="*/ 310 h 346"/>
              <a:gd name="T64" fmla="*/ 227 w 346"/>
              <a:gd name="T65" fmla="*/ 310 h 346"/>
              <a:gd name="T66" fmla="*/ 227 w 346"/>
              <a:gd name="T67" fmla="*/ 295 h 346"/>
              <a:gd name="T68" fmla="*/ 179 w 346"/>
              <a:gd name="T69" fmla="*/ 295 h 346"/>
              <a:gd name="T70" fmla="*/ 179 w 346"/>
              <a:gd name="T71" fmla="*/ 119 h 346"/>
              <a:gd name="T72" fmla="*/ 210 w 346"/>
              <a:gd name="T73" fmla="*/ 81 h 346"/>
              <a:gd name="T74" fmla="*/ 210 w 346"/>
              <a:gd name="T75" fmla="*/ 81 h 346"/>
              <a:gd name="T76" fmla="*/ 260 w 346"/>
              <a:gd name="T77" fmla="*/ 71 h 346"/>
              <a:gd name="T78" fmla="*/ 260 w 346"/>
              <a:gd name="T79" fmla="*/ 81 h 346"/>
              <a:gd name="T80" fmla="*/ 275 w 346"/>
              <a:gd name="T81" fmla="*/ 81 h 346"/>
              <a:gd name="T82" fmla="*/ 275 w 346"/>
              <a:gd name="T83" fmla="*/ 54 h 346"/>
              <a:gd name="T84" fmla="*/ 207 w 346"/>
              <a:gd name="T85" fmla="*/ 66 h 346"/>
              <a:gd name="T86" fmla="*/ 172 w 346"/>
              <a:gd name="T87" fmla="*/ 43 h 346"/>
              <a:gd name="T88" fmla="*/ 133 w 346"/>
              <a:gd name="T89" fmla="*/ 80 h 346"/>
              <a:gd name="T90" fmla="*/ 68 w 346"/>
              <a:gd name="T91" fmla="*/ 92 h 346"/>
              <a:gd name="T92" fmla="*/ 68 w 346"/>
              <a:gd name="T93" fmla="*/ 121 h 346"/>
              <a:gd name="T94" fmla="*/ 83 w 346"/>
              <a:gd name="T95" fmla="*/ 121 h 346"/>
              <a:gd name="T96" fmla="*/ 83 w 346"/>
              <a:gd name="T97" fmla="*/ 104 h 346"/>
              <a:gd name="T98" fmla="*/ 172 w 346"/>
              <a:gd name="T99" fmla="*/ 58 h 346"/>
              <a:gd name="T100" fmla="*/ 195 w 346"/>
              <a:gd name="T101" fmla="*/ 81 h 346"/>
              <a:gd name="T102" fmla="*/ 172 w 346"/>
              <a:gd name="T103" fmla="*/ 105 h 346"/>
              <a:gd name="T104" fmla="*/ 148 w 346"/>
              <a:gd name="T105" fmla="*/ 81 h 346"/>
              <a:gd name="T106" fmla="*/ 172 w 346"/>
              <a:gd name="T107" fmla="*/ 5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800">
              <a:solidFill>
                <a:schemeClr val="accent1"/>
              </a:solidFill>
            </a:endParaRPr>
          </a:p>
        </p:txBody>
      </p:sp>
      <p:sp>
        <p:nvSpPr>
          <p:cNvPr id="25" name="Freeform 65">
            <a:extLst>
              <a:ext uri="{FF2B5EF4-FFF2-40B4-BE49-F238E27FC236}">
                <a16:creationId xmlns:a16="http://schemas.microsoft.com/office/drawing/2014/main" id="{A6593E3D-0509-B640-EC4B-6292EFB8D3D1}"/>
              </a:ext>
            </a:extLst>
          </p:cNvPr>
          <p:cNvSpPr>
            <a:spLocks noChangeAspect="1" noEditPoints="1"/>
          </p:cNvSpPr>
          <p:nvPr/>
        </p:nvSpPr>
        <p:spPr bwMode="auto">
          <a:xfrm>
            <a:off x="6352094" y="2339163"/>
            <a:ext cx="455613" cy="457200"/>
          </a:xfrm>
          <a:custGeom>
            <a:avLst/>
            <a:gdLst>
              <a:gd name="T0" fmla="*/ 576 w 576"/>
              <a:gd name="T1" fmla="*/ 0 h 576"/>
              <a:gd name="T2" fmla="*/ 540 w 576"/>
              <a:gd name="T3" fmla="*/ 401 h 576"/>
              <a:gd name="T4" fmla="*/ 472 w 576"/>
              <a:gd name="T5" fmla="*/ 398 h 576"/>
              <a:gd name="T6" fmla="*/ 404 w 576"/>
              <a:gd name="T7" fmla="*/ 401 h 576"/>
              <a:gd name="T8" fmla="*/ 319 w 576"/>
              <a:gd name="T9" fmla="*/ 388 h 576"/>
              <a:gd name="T10" fmla="*/ 257 w 576"/>
              <a:gd name="T11" fmla="*/ 388 h 576"/>
              <a:gd name="T12" fmla="*/ 172 w 576"/>
              <a:gd name="T13" fmla="*/ 401 h 576"/>
              <a:gd name="T14" fmla="*/ 104 w 576"/>
              <a:gd name="T15" fmla="*/ 398 h 576"/>
              <a:gd name="T16" fmla="*/ 36 w 576"/>
              <a:gd name="T17" fmla="*/ 401 h 576"/>
              <a:gd name="T18" fmla="*/ 208 w 576"/>
              <a:gd name="T19" fmla="*/ 471 h 576"/>
              <a:gd name="T20" fmla="*/ 264 w 576"/>
              <a:gd name="T21" fmla="*/ 411 h 576"/>
              <a:gd name="T22" fmla="*/ 348 w 576"/>
              <a:gd name="T23" fmla="*/ 424 h 576"/>
              <a:gd name="T24" fmla="*/ 208 w 576"/>
              <a:gd name="T25" fmla="*/ 552 h 576"/>
              <a:gd name="T26" fmla="*/ 44 w 576"/>
              <a:gd name="T27" fmla="*/ 424 h 576"/>
              <a:gd name="T28" fmla="*/ 128 w 576"/>
              <a:gd name="T29" fmla="*/ 411 h 576"/>
              <a:gd name="T30" fmla="*/ 184 w 576"/>
              <a:gd name="T31" fmla="*/ 471 h 576"/>
              <a:gd name="T32" fmla="*/ 392 w 576"/>
              <a:gd name="T33" fmla="*/ 552 h 576"/>
              <a:gd name="T34" fmla="*/ 447 w 576"/>
              <a:gd name="T35" fmla="*/ 412 h 576"/>
              <a:gd name="T36" fmla="*/ 496 w 576"/>
              <a:gd name="T37" fmla="*/ 412 h 576"/>
              <a:gd name="T38" fmla="*/ 551 w 576"/>
              <a:gd name="T39" fmla="*/ 552 h 576"/>
              <a:gd name="T40" fmla="*/ 147 w 576"/>
              <a:gd name="T41" fmla="*/ 328 h 576"/>
              <a:gd name="T42" fmla="*/ 136 w 576"/>
              <a:gd name="T43" fmla="*/ 235 h 576"/>
              <a:gd name="T44" fmla="*/ 220 w 576"/>
              <a:gd name="T45" fmla="*/ 223 h 576"/>
              <a:gd name="T46" fmla="*/ 275 w 576"/>
              <a:gd name="T47" fmla="*/ 279 h 576"/>
              <a:gd name="T48" fmla="*/ 288 w 576"/>
              <a:gd name="T49" fmla="*/ 387 h 576"/>
              <a:gd name="T50" fmla="*/ 304 w 576"/>
              <a:gd name="T51" fmla="*/ 252 h 576"/>
              <a:gd name="T52" fmla="*/ 380 w 576"/>
              <a:gd name="T53" fmla="*/ 234 h 576"/>
              <a:gd name="T54" fmla="*/ 455 w 576"/>
              <a:gd name="T55" fmla="*/ 252 h 576"/>
              <a:gd name="T56" fmla="*/ 472 w 576"/>
              <a:gd name="T57" fmla="*/ 387 h 576"/>
              <a:gd name="T58" fmla="*/ 484 w 576"/>
              <a:gd name="T59" fmla="*/ 278 h 576"/>
              <a:gd name="T60" fmla="*/ 411 w 576"/>
              <a:gd name="T61" fmla="*/ 200 h 576"/>
              <a:gd name="T62" fmla="*/ 348 w 576"/>
              <a:gd name="T63" fmla="*/ 200 h 576"/>
              <a:gd name="T64" fmla="*/ 264 w 576"/>
              <a:gd name="T65" fmla="*/ 212 h 576"/>
              <a:gd name="T66" fmla="*/ 196 w 576"/>
              <a:gd name="T67" fmla="*/ 209 h 576"/>
              <a:gd name="T68" fmla="*/ 128 w 576"/>
              <a:gd name="T69" fmla="*/ 212 h 576"/>
              <a:gd name="T70" fmla="*/ 62 w 576"/>
              <a:gd name="T71" fmla="*/ 328 h 576"/>
              <a:gd name="T72" fmla="*/ 472 w 576"/>
              <a:gd name="T73" fmla="*/ 362 h 576"/>
              <a:gd name="T74" fmla="*/ 472 w 576"/>
              <a:gd name="T75" fmla="*/ 301 h 576"/>
              <a:gd name="T76" fmla="*/ 288 w 576"/>
              <a:gd name="T77" fmla="*/ 362 h 576"/>
              <a:gd name="T78" fmla="*/ 288 w 576"/>
              <a:gd name="T79" fmla="*/ 301 h 576"/>
              <a:gd name="T80" fmla="*/ 92 w 576"/>
              <a:gd name="T81" fmla="*/ 307 h 576"/>
              <a:gd name="T82" fmla="*/ 122 w 576"/>
              <a:gd name="T83" fmla="*/ 326 h 576"/>
              <a:gd name="T84" fmla="*/ 92 w 576"/>
              <a:gd name="T85" fmla="*/ 307 h 576"/>
              <a:gd name="T86" fmla="*/ 227 w 576"/>
              <a:gd name="T87" fmla="*/ 102 h 576"/>
              <a:gd name="T88" fmla="*/ 154 w 576"/>
              <a:gd name="T89" fmla="*/ 140 h 576"/>
              <a:gd name="T90" fmla="*/ 197 w 576"/>
              <a:gd name="T91" fmla="*/ 112 h 576"/>
              <a:gd name="T92" fmla="*/ 196 w 576"/>
              <a:gd name="T93" fmla="*/ 173 h 576"/>
              <a:gd name="T94" fmla="*/ 380 w 576"/>
              <a:gd name="T95" fmla="*/ 198 h 576"/>
              <a:gd name="T96" fmla="*/ 380 w 576"/>
              <a:gd name="T97" fmla="*/ 88 h 576"/>
              <a:gd name="T98" fmla="*/ 368 w 576"/>
              <a:gd name="T99" fmla="*/ 118 h 576"/>
              <a:gd name="T100" fmla="*/ 398 w 576"/>
              <a:gd name="T101" fmla="*/ 138 h 576"/>
              <a:gd name="T102" fmla="*/ 368 w 576"/>
              <a:gd name="T103" fmla="*/ 11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25"/>
                </a:moveTo>
                <a:cubicBezTo>
                  <a:pt x="551" y="406"/>
                  <a:pt x="551" y="406"/>
                  <a:pt x="551" y="406"/>
                </a:cubicBezTo>
                <a:cubicBezTo>
                  <a:pt x="548" y="404"/>
                  <a:pt x="544" y="402"/>
                  <a:pt x="540" y="401"/>
                </a:cubicBezTo>
                <a:cubicBezTo>
                  <a:pt x="531" y="397"/>
                  <a:pt x="519" y="393"/>
                  <a:pt x="504" y="388"/>
                </a:cubicBezTo>
                <a:cubicBezTo>
                  <a:pt x="503" y="388"/>
                  <a:pt x="503" y="388"/>
                  <a:pt x="503" y="388"/>
                </a:cubicBezTo>
                <a:cubicBezTo>
                  <a:pt x="489" y="383"/>
                  <a:pt x="481" y="390"/>
                  <a:pt x="477" y="396"/>
                </a:cubicBezTo>
                <a:cubicBezTo>
                  <a:pt x="476" y="397"/>
                  <a:pt x="475" y="398"/>
                  <a:pt x="472" y="398"/>
                </a:cubicBezTo>
                <a:cubicBezTo>
                  <a:pt x="469" y="398"/>
                  <a:pt x="468" y="397"/>
                  <a:pt x="467" y="396"/>
                </a:cubicBezTo>
                <a:cubicBezTo>
                  <a:pt x="463" y="390"/>
                  <a:pt x="455" y="383"/>
                  <a:pt x="440" y="388"/>
                </a:cubicBezTo>
                <a:cubicBezTo>
                  <a:pt x="439" y="388"/>
                  <a:pt x="439" y="388"/>
                  <a:pt x="439" y="388"/>
                </a:cubicBezTo>
                <a:cubicBezTo>
                  <a:pt x="425" y="393"/>
                  <a:pt x="413" y="397"/>
                  <a:pt x="404" y="401"/>
                </a:cubicBezTo>
                <a:cubicBezTo>
                  <a:pt x="394" y="404"/>
                  <a:pt x="386" y="410"/>
                  <a:pt x="380" y="418"/>
                </a:cubicBezTo>
                <a:cubicBezTo>
                  <a:pt x="374" y="410"/>
                  <a:pt x="366" y="404"/>
                  <a:pt x="356" y="401"/>
                </a:cubicBezTo>
                <a:cubicBezTo>
                  <a:pt x="347" y="397"/>
                  <a:pt x="335" y="393"/>
                  <a:pt x="320" y="388"/>
                </a:cubicBezTo>
                <a:cubicBezTo>
                  <a:pt x="319" y="388"/>
                  <a:pt x="319" y="388"/>
                  <a:pt x="319" y="388"/>
                </a:cubicBezTo>
                <a:cubicBezTo>
                  <a:pt x="305" y="383"/>
                  <a:pt x="297" y="390"/>
                  <a:pt x="293" y="396"/>
                </a:cubicBezTo>
                <a:cubicBezTo>
                  <a:pt x="292" y="397"/>
                  <a:pt x="291" y="398"/>
                  <a:pt x="288" y="398"/>
                </a:cubicBezTo>
                <a:cubicBezTo>
                  <a:pt x="285" y="398"/>
                  <a:pt x="284" y="397"/>
                  <a:pt x="283" y="396"/>
                </a:cubicBezTo>
                <a:cubicBezTo>
                  <a:pt x="279" y="390"/>
                  <a:pt x="271" y="383"/>
                  <a:pt x="257" y="388"/>
                </a:cubicBezTo>
                <a:cubicBezTo>
                  <a:pt x="256" y="388"/>
                  <a:pt x="256" y="388"/>
                  <a:pt x="256" y="388"/>
                </a:cubicBezTo>
                <a:cubicBezTo>
                  <a:pt x="241" y="393"/>
                  <a:pt x="229" y="397"/>
                  <a:pt x="220" y="401"/>
                </a:cubicBezTo>
                <a:cubicBezTo>
                  <a:pt x="210" y="404"/>
                  <a:pt x="202" y="410"/>
                  <a:pt x="196" y="418"/>
                </a:cubicBezTo>
                <a:cubicBezTo>
                  <a:pt x="190" y="410"/>
                  <a:pt x="182" y="404"/>
                  <a:pt x="172" y="401"/>
                </a:cubicBezTo>
                <a:cubicBezTo>
                  <a:pt x="163" y="397"/>
                  <a:pt x="151" y="393"/>
                  <a:pt x="136" y="388"/>
                </a:cubicBezTo>
                <a:cubicBezTo>
                  <a:pt x="136" y="388"/>
                  <a:pt x="136" y="388"/>
                  <a:pt x="136" y="388"/>
                </a:cubicBezTo>
                <a:cubicBezTo>
                  <a:pt x="121" y="383"/>
                  <a:pt x="113" y="390"/>
                  <a:pt x="109" y="396"/>
                </a:cubicBezTo>
                <a:cubicBezTo>
                  <a:pt x="108" y="397"/>
                  <a:pt x="107" y="398"/>
                  <a:pt x="104" y="398"/>
                </a:cubicBezTo>
                <a:cubicBezTo>
                  <a:pt x="101" y="398"/>
                  <a:pt x="100" y="397"/>
                  <a:pt x="100" y="396"/>
                </a:cubicBezTo>
                <a:cubicBezTo>
                  <a:pt x="95" y="390"/>
                  <a:pt x="87" y="383"/>
                  <a:pt x="73" y="388"/>
                </a:cubicBezTo>
                <a:cubicBezTo>
                  <a:pt x="72" y="388"/>
                  <a:pt x="72" y="388"/>
                  <a:pt x="72" y="388"/>
                </a:cubicBezTo>
                <a:cubicBezTo>
                  <a:pt x="58" y="393"/>
                  <a:pt x="45" y="397"/>
                  <a:pt x="36" y="401"/>
                </a:cubicBezTo>
                <a:cubicBezTo>
                  <a:pt x="32" y="402"/>
                  <a:pt x="28" y="404"/>
                  <a:pt x="25" y="406"/>
                </a:cubicBezTo>
                <a:cubicBezTo>
                  <a:pt x="25" y="25"/>
                  <a:pt x="25" y="25"/>
                  <a:pt x="25" y="25"/>
                </a:cubicBezTo>
                <a:lnTo>
                  <a:pt x="551" y="25"/>
                </a:lnTo>
                <a:close/>
                <a:moveTo>
                  <a:pt x="208" y="471"/>
                </a:moveTo>
                <a:cubicBezTo>
                  <a:pt x="209" y="467"/>
                  <a:pt x="211" y="450"/>
                  <a:pt x="213" y="440"/>
                </a:cubicBezTo>
                <a:cubicBezTo>
                  <a:pt x="213" y="435"/>
                  <a:pt x="218" y="428"/>
                  <a:pt x="228" y="424"/>
                </a:cubicBezTo>
                <a:cubicBezTo>
                  <a:pt x="237" y="421"/>
                  <a:pt x="249" y="417"/>
                  <a:pt x="264" y="412"/>
                </a:cubicBezTo>
                <a:cubicBezTo>
                  <a:pt x="264" y="411"/>
                  <a:pt x="264" y="411"/>
                  <a:pt x="264" y="411"/>
                </a:cubicBezTo>
                <a:cubicBezTo>
                  <a:pt x="270" y="419"/>
                  <a:pt x="278" y="422"/>
                  <a:pt x="288" y="422"/>
                </a:cubicBezTo>
                <a:cubicBezTo>
                  <a:pt x="298" y="422"/>
                  <a:pt x="306" y="419"/>
                  <a:pt x="312" y="411"/>
                </a:cubicBezTo>
                <a:cubicBezTo>
                  <a:pt x="313" y="412"/>
                  <a:pt x="313" y="412"/>
                  <a:pt x="313" y="412"/>
                </a:cubicBezTo>
                <a:cubicBezTo>
                  <a:pt x="327" y="417"/>
                  <a:pt x="339" y="421"/>
                  <a:pt x="348" y="424"/>
                </a:cubicBezTo>
                <a:cubicBezTo>
                  <a:pt x="358" y="428"/>
                  <a:pt x="363" y="435"/>
                  <a:pt x="364" y="440"/>
                </a:cubicBezTo>
                <a:cubicBezTo>
                  <a:pt x="365" y="450"/>
                  <a:pt x="367" y="467"/>
                  <a:pt x="368" y="471"/>
                </a:cubicBezTo>
                <a:cubicBezTo>
                  <a:pt x="368" y="552"/>
                  <a:pt x="368" y="552"/>
                  <a:pt x="368" y="552"/>
                </a:cubicBezTo>
                <a:cubicBezTo>
                  <a:pt x="208" y="552"/>
                  <a:pt x="208" y="552"/>
                  <a:pt x="208" y="552"/>
                </a:cubicBezTo>
                <a:lnTo>
                  <a:pt x="208" y="471"/>
                </a:lnTo>
                <a:close/>
                <a:moveTo>
                  <a:pt x="25" y="471"/>
                </a:moveTo>
                <a:cubicBezTo>
                  <a:pt x="25" y="467"/>
                  <a:pt x="28" y="450"/>
                  <a:pt x="29" y="440"/>
                </a:cubicBezTo>
                <a:cubicBezTo>
                  <a:pt x="29" y="435"/>
                  <a:pt x="34" y="428"/>
                  <a:pt x="44" y="424"/>
                </a:cubicBezTo>
                <a:cubicBezTo>
                  <a:pt x="51" y="422"/>
                  <a:pt x="62" y="418"/>
                  <a:pt x="80" y="412"/>
                </a:cubicBezTo>
                <a:cubicBezTo>
                  <a:pt x="80" y="411"/>
                  <a:pt x="80" y="411"/>
                  <a:pt x="80" y="411"/>
                </a:cubicBezTo>
                <a:cubicBezTo>
                  <a:pt x="86" y="419"/>
                  <a:pt x="94" y="422"/>
                  <a:pt x="104" y="422"/>
                </a:cubicBezTo>
                <a:cubicBezTo>
                  <a:pt x="114" y="422"/>
                  <a:pt x="122" y="419"/>
                  <a:pt x="128" y="411"/>
                </a:cubicBezTo>
                <a:cubicBezTo>
                  <a:pt x="129" y="412"/>
                  <a:pt x="129" y="412"/>
                  <a:pt x="129" y="412"/>
                </a:cubicBezTo>
                <a:cubicBezTo>
                  <a:pt x="143" y="417"/>
                  <a:pt x="155" y="421"/>
                  <a:pt x="164" y="424"/>
                </a:cubicBezTo>
                <a:cubicBezTo>
                  <a:pt x="175" y="428"/>
                  <a:pt x="179" y="435"/>
                  <a:pt x="180" y="440"/>
                </a:cubicBezTo>
                <a:cubicBezTo>
                  <a:pt x="181" y="450"/>
                  <a:pt x="183" y="467"/>
                  <a:pt x="184" y="471"/>
                </a:cubicBezTo>
                <a:cubicBezTo>
                  <a:pt x="184" y="552"/>
                  <a:pt x="184" y="552"/>
                  <a:pt x="184" y="552"/>
                </a:cubicBezTo>
                <a:cubicBezTo>
                  <a:pt x="25" y="552"/>
                  <a:pt x="25" y="552"/>
                  <a:pt x="25" y="552"/>
                </a:cubicBezTo>
                <a:lnTo>
                  <a:pt x="25" y="471"/>
                </a:lnTo>
                <a:close/>
                <a:moveTo>
                  <a:pt x="392" y="552"/>
                </a:moveTo>
                <a:cubicBezTo>
                  <a:pt x="392" y="471"/>
                  <a:pt x="392" y="471"/>
                  <a:pt x="392" y="471"/>
                </a:cubicBezTo>
                <a:cubicBezTo>
                  <a:pt x="393" y="467"/>
                  <a:pt x="395" y="450"/>
                  <a:pt x="396" y="440"/>
                </a:cubicBezTo>
                <a:cubicBezTo>
                  <a:pt x="397" y="435"/>
                  <a:pt x="401" y="428"/>
                  <a:pt x="412" y="424"/>
                </a:cubicBezTo>
                <a:cubicBezTo>
                  <a:pt x="421" y="421"/>
                  <a:pt x="433" y="417"/>
                  <a:pt x="447" y="412"/>
                </a:cubicBezTo>
                <a:cubicBezTo>
                  <a:pt x="448" y="411"/>
                  <a:pt x="448" y="411"/>
                  <a:pt x="448" y="411"/>
                </a:cubicBezTo>
                <a:cubicBezTo>
                  <a:pt x="454" y="419"/>
                  <a:pt x="462" y="422"/>
                  <a:pt x="472" y="422"/>
                </a:cubicBezTo>
                <a:cubicBezTo>
                  <a:pt x="482" y="422"/>
                  <a:pt x="490" y="419"/>
                  <a:pt x="496" y="411"/>
                </a:cubicBezTo>
                <a:cubicBezTo>
                  <a:pt x="496" y="412"/>
                  <a:pt x="496" y="412"/>
                  <a:pt x="496" y="412"/>
                </a:cubicBezTo>
                <a:cubicBezTo>
                  <a:pt x="511" y="417"/>
                  <a:pt x="523" y="421"/>
                  <a:pt x="532" y="424"/>
                </a:cubicBezTo>
                <a:cubicBezTo>
                  <a:pt x="542" y="428"/>
                  <a:pt x="547" y="435"/>
                  <a:pt x="547" y="440"/>
                </a:cubicBezTo>
                <a:cubicBezTo>
                  <a:pt x="548" y="450"/>
                  <a:pt x="551" y="467"/>
                  <a:pt x="551" y="471"/>
                </a:cubicBezTo>
                <a:cubicBezTo>
                  <a:pt x="551" y="552"/>
                  <a:pt x="551" y="552"/>
                  <a:pt x="551" y="552"/>
                </a:cubicBezTo>
                <a:lnTo>
                  <a:pt x="392" y="552"/>
                </a:lnTo>
                <a:close/>
                <a:moveTo>
                  <a:pt x="104" y="387"/>
                </a:moveTo>
                <a:cubicBezTo>
                  <a:pt x="105" y="387"/>
                  <a:pt x="105" y="387"/>
                  <a:pt x="105" y="387"/>
                </a:cubicBezTo>
                <a:cubicBezTo>
                  <a:pt x="123" y="387"/>
                  <a:pt x="144" y="369"/>
                  <a:pt x="147" y="328"/>
                </a:cubicBezTo>
                <a:cubicBezTo>
                  <a:pt x="148" y="309"/>
                  <a:pt x="141" y="297"/>
                  <a:pt x="135" y="290"/>
                </a:cubicBezTo>
                <a:cubicBezTo>
                  <a:pt x="129" y="284"/>
                  <a:pt x="123" y="281"/>
                  <a:pt x="117" y="279"/>
                </a:cubicBezTo>
                <a:cubicBezTo>
                  <a:pt x="118" y="272"/>
                  <a:pt x="120" y="260"/>
                  <a:pt x="121" y="252"/>
                </a:cubicBezTo>
                <a:cubicBezTo>
                  <a:pt x="121" y="247"/>
                  <a:pt x="126" y="239"/>
                  <a:pt x="136" y="235"/>
                </a:cubicBezTo>
                <a:cubicBezTo>
                  <a:pt x="148" y="231"/>
                  <a:pt x="164" y="226"/>
                  <a:pt x="172" y="223"/>
                </a:cubicBezTo>
                <a:cubicBezTo>
                  <a:pt x="172" y="223"/>
                  <a:pt x="172" y="223"/>
                  <a:pt x="172" y="223"/>
                </a:cubicBezTo>
                <a:cubicBezTo>
                  <a:pt x="178" y="230"/>
                  <a:pt x="186" y="234"/>
                  <a:pt x="196" y="234"/>
                </a:cubicBezTo>
                <a:cubicBezTo>
                  <a:pt x="206" y="234"/>
                  <a:pt x="214" y="230"/>
                  <a:pt x="220" y="223"/>
                </a:cubicBezTo>
                <a:cubicBezTo>
                  <a:pt x="221" y="223"/>
                  <a:pt x="221" y="223"/>
                  <a:pt x="221" y="223"/>
                </a:cubicBezTo>
                <a:cubicBezTo>
                  <a:pt x="228" y="226"/>
                  <a:pt x="244" y="231"/>
                  <a:pt x="256" y="235"/>
                </a:cubicBezTo>
                <a:cubicBezTo>
                  <a:pt x="267" y="239"/>
                  <a:pt x="271" y="247"/>
                  <a:pt x="272" y="252"/>
                </a:cubicBezTo>
                <a:cubicBezTo>
                  <a:pt x="272" y="260"/>
                  <a:pt x="274" y="272"/>
                  <a:pt x="275" y="279"/>
                </a:cubicBezTo>
                <a:cubicBezTo>
                  <a:pt x="269" y="281"/>
                  <a:pt x="263" y="285"/>
                  <a:pt x="258" y="290"/>
                </a:cubicBezTo>
                <a:cubicBezTo>
                  <a:pt x="252" y="297"/>
                  <a:pt x="245" y="309"/>
                  <a:pt x="246" y="328"/>
                </a:cubicBezTo>
                <a:cubicBezTo>
                  <a:pt x="249" y="369"/>
                  <a:pt x="269" y="387"/>
                  <a:pt x="288" y="387"/>
                </a:cubicBezTo>
                <a:cubicBezTo>
                  <a:pt x="288" y="387"/>
                  <a:pt x="288" y="387"/>
                  <a:pt x="288" y="387"/>
                </a:cubicBezTo>
                <a:cubicBezTo>
                  <a:pt x="307" y="387"/>
                  <a:pt x="327" y="369"/>
                  <a:pt x="330" y="328"/>
                </a:cubicBezTo>
                <a:cubicBezTo>
                  <a:pt x="332" y="309"/>
                  <a:pt x="325" y="297"/>
                  <a:pt x="318" y="290"/>
                </a:cubicBezTo>
                <a:cubicBezTo>
                  <a:pt x="313" y="284"/>
                  <a:pt x="307" y="281"/>
                  <a:pt x="301" y="279"/>
                </a:cubicBezTo>
                <a:cubicBezTo>
                  <a:pt x="302" y="272"/>
                  <a:pt x="304" y="260"/>
                  <a:pt x="304" y="252"/>
                </a:cubicBezTo>
                <a:cubicBezTo>
                  <a:pt x="305" y="247"/>
                  <a:pt x="309" y="239"/>
                  <a:pt x="320" y="235"/>
                </a:cubicBezTo>
                <a:cubicBezTo>
                  <a:pt x="332" y="231"/>
                  <a:pt x="348" y="226"/>
                  <a:pt x="356" y="223"/>
                </a:cubicBezTo>
                <a:cubicBezTo>
                  <a:pt x="356" y="223"/>
                  <a:pt x="356" y="223"/>
                  <a:pt x="356" y="223"/>
                </a:cubicBezTo>
                <a:cubicBezTo>
                  <a:pt x="362" y="230"/>
                  <a:pt x="370" y="234"/>
                  <a:pt x="380" y="234"/>
                </a:cubicBezTo>
                <a:cubicBezTo>
                  <a:pt x="390" y="234"/>
                  <a:pt x="398" y="230"/>
                  <a:pt x="404" y="223"/>
                </a:cubicBezTo>
                <a:cubicBezTo>
                  <a:pt x="404" y="223"/>
                  <a:pt x="404" y="223"/>
                  <a:pt x="404" y="223"/>
                </a:cubicBezTo>
                <a:cubicBezTo>
                  <a:pt x="412" y="226"/>
                  <a:pt x="428" y="231"/>
                  <a:pt x="440" y="235"/>
                </a:cubicBezTo>
                <a:cubicBezTo>
                  <a:pt x="450" y="239"/>
                  <a:pt x="455" y="247"/>
                  <a:pt x="455" y="252"/>
                </a:cubicBezTo>
                <a:cubicBezTo>
                  <a:pt x="456" y="260"/>
                  <a:pt x="458" y="272"/>
                  <a:pt x="459" y="279"/>
                </a:cubicBezTo>
                <a:cubicBezTo>
                  <a:pt x="453" y="281"/>
                  <a:pt x="447" y="285"/>
                  <a:pt x="442" y="290"/>
                </a:cubicBezTo>
                <a:cubicBezTo>
                  <a:pt x="436" y="297"/>
                  <a:pt x="428" y="309"/>
                  <a:pt x="430" y="328"/>
                </a:cubicBezTo>
                <a:cubicBezTo>
                  <a:pt x="433" y="369"/>
                  <a:pt x="453" y="387"/>
                  <a:pt x="472" y="387"/>
                </a:cubicBezTo>
                <a:cubicBezTo>
                  <a:pt x="472" y="387"/>
                  <a:pt x="472" y="387"/>
                  <a:pt x="472" y="387"/>
                </a:cubicBezTo>
                <a:cubicBezTo>
                  <a:pt x="491" y="387"/>
                  <a:pt x="511" y="369"/>
                  <a:pt x="514" y="328"/>
                </a:cubicBezTo>
                <a:cubicBezTo>
                  <a:pt x="516" y="309"/>
                  <a:pt x="509" y="297"/>
                  <a:pt x="502" y="290"/>
                </a:cubicBezTo>
                <a:cubicBezTo>
                  <a:pt x="497" y="284"/>
                  <a:pt x="490" y="280"/>
                  <a:pt x="484" y="278"/>
                </a:cubicBezTo>
                <a:cubicBezTo>
                  <a:pt x="483" y="274"/>
                  <a:pt x="481" y="258"/>
                  <a:pt x="480" y="249"/>
                </a:cubicBezTo>
                <a:cubicBezTo>
                  <a:pt x="478" y="233"/>
                  <a:pt x="466" y="219"/>
                  <a:pt x="448" y="212"/>
                </a:cubicBezTo>
                <a:cubicBezTo>
                  <a:pt x="436" y="208"/>
                  <a:pt x="420" y="203"/>
                  <a:pt x="412" y="200"/>
                </a:cubicBezTo>
                <a:cubicBezTo>
                  <a:pt x="411" y="200"/>
                  <a:pt x="411" y="200"/>
                  <a:pt x="411" y="200"/>
                </a:cubicBezTo>
                <a:cubicBezTo>
                  <a:pt x="397" y="195"/>
                  <a:pt x="389" y="201"/>
                  <a:pt x="385" y="207"/>
                </a:cubicBezTo>
                <a:cubicBezTo>
                  <a:pt x="384" y="209"/>
                  <a:pt x="383" y="209"/>
                  <a:pt x="380" y="209"/>
                </a:cubicBezTo>
                <a:cubicBezTo>
                  <a:pt x="377" y="209"/>
                  <a:pt x="376" y="209"/>
                  <a:pt x="375" y="207"/>
                </a:cubicBezTo>
                <a:cubicBezTo>
                  <a:pt x="371" y="201"/>
                  <a:pt x="363" y="195"/>
                  <a:pt x="348" y="200"/>
                </a:cubicBezTo>
                <a:cubicBezTo>
                  <a:pt x="348" y="200"/>
                  <a:pt x="348" y="200"/>
                  <a:pt x="348" y="200"/>
                </a:cubicBezTo>
                <a:cubicBezTo>
                  <a:pt x="340" y="203"/>
                  <a:pt x="324" y="208"/>
                  <a:pt x="312" y="212"/>
                </a:cubicBezTo>
                <a:cubicBezTo>
                  <a:pt x="302" y="216"/>
                  <a:pt x="294" y="222"/>
                  <a:pt x="288" y="229"/>
                </a:cubicBezTo>
                <a:cubicBezTo>
                  <a:pt x="282" y="222"/>
                  <a:pt x="274" y="216"/>
                  <a:pt x="264" y="212"/>
                </a:cubicBezTo>
                <a:cubicBezTo>
                  <a:pt x="252" y="208"/>
                  <a:pt x="236" y="203"/>
                  <a:pt x="228" y="200"/>
                </a:cubicBezTo>
                <a:cubicBezTo>
                  <a:pt x="228" y="200"/>
                  <a:pt x="228" y="200"/>
                  <a:pt x="228" y="200"/>
                </a:cubicBezTo>
                <a:cubicBezTo>
                  <a:pt x="213" y="195"/>
                  <a:pt x="205" y="201"/>
                  <a:pt x="201" y="207"/>
                </a:cubicBezTo>
                <a:cubicBezTo>
                  <a:pt x="200" y="209"/>
                  <a:pt x="199" y="209"/>
                  <a:pt x="196" y="209"/>
                </a:cubicBezTo>
                <a:cubicBezTo>
                  <a:pt x="193" y="209"/>
                  <a:pt x="192" y="209"/>
                  <a:pt x="191" y="207"/>
                </a:cubicBezTo>
                <a:cubicBezTo>
                  <a:pt x="187" y="201"/>
                  <a:pt x="179" y="195"/>
                  <a:pt x="165" y="200"/>
                </a:cubicBezTo>
                <a:cubicBezTo>
                  <a:pt x="164" y="200"/>
                  <a:pt x="164" y="200"/>
                  <a:pt x="164" y="200"/>
                </a:cubicBezTo>
                <a:cubicBezTo>
                  <a:pt x="156" y="203"/>
                  <a:pt x="140" y="208"/>
                  <a:pt x="128" y="212"/>
                </a:cubicBezTo>
                <a:cubicBezTo>
                  <a:pt x="110" y="219"/>
                  <a:pt x="98" y="233"/>
                  <a:pt x="96" y="249"/>
                </a:cubicBezTo>
                <a:cubicBezTo>
                  <a:pt x="95" y="258"/>
                  <a:pt x="93" y="274"/>
                  <a:pt x="92" y="278"/>
                </a:cubicBezTo>
                <a:cubicBezTo>
                  <a:pt x="86" y="281"/>
                  <a:pt x="80" y="284"/>
                  <a:pt x="74" y="290"/>
                </a:cubicBezTo>
                <a:cubicBezTo>
                  <a:pt x="68" y="297"/>
                  <a:pt x="61" y="309"/>
                  <a:pt x="62" y="328"/>
                </a:cubicBezTo>
                <a:cubicBezTo>
                  <a:pt x="65" y="369"/>
                  <a:pt x="85" y="387"/>
                  <a:pt x="104" y="387"/>
                </a:cubicBezTo>
                <a:close/>
                <a:moveTo>
                  <a:pt x="490" y="326"/>
                </a:moveTo>
                <a:cubicBezTo>
                  <a:pt x="488" y="351"/>
                  <a:pt x="478" y="362"/>
                  <a:pt x="472" y="362"/>
                </a:cubicBezTo>
                <a:cubicBezTo>
                  <a:pt x="472" y="362"/>
                  <a:pt x="472" y="362"/>
                  <a:pt x="472" y="362"/>
                </a:cubicBezTo>
                <a:cubicBezTo>
                  <a:pt x="466" y="362"/>
                  <a:pt x="456" y="351"/>
                  <a:pt x="454" y="326"/>
                </a:cubicBezTo>
                <a:cubicBezTo>
                  <a:pt x="454" y="318"/>
                  <a:pt x="456" y="311"/>
                  <a:pt x="460" y="307"/>
                </a:cubicBezTo>
                <a:cubicBezTo>
                  <a:pt x="464" y="302"/>
                  <a:pt x="470" y="301"/>
                  <a:pt x="472" y="301"/>
                </a:cubicBezTo>
                <a:cubicBezTo>
                  <a:pt x="472" y="301"/>
                  <a:pt x="472" y="301"/>
                  <a:pt x="472" y="301"/>
                </a:cubicBezTo>
                <a:cubicBezTo>
                  <a:pt x="474" y="301"/>
                  <a:pt x="480" y="302"/>
                  <a:pt x="484" y="307"/>
                </a:cubicBezTo>
                <a:cubicBezTo>
                  <a:pt x="489" y="311"/>
                  <a:pt x="490" y="318"/>
                  <a:pt x="490" y="326"/>
                </a:cubicBezTo>
                <a:close/>
                <a:moveTo>
                  <a:pt x="306" y="326"/>
                </a:moveTo>
                <a:cubicBezTo>
                  <a:pt x="304" y="351"/>
                  <a:pt x="295" y="362"/>
                  <a:pt x="288" y="362"/>
                </a:cubicBezTo>
                <a:cubicBezTo>
                  <a:pt x="288" y="362"/>
                  <a:pt x="288" y="362"/>
                  <a:pt x="288" y="362"/>
                </a:cubicBezTo>
                <a:cubicBezTo>
                  <a:pt x="282" y="362"/>
                  <a:pt x="272" y="351"/>
                  <a:pt x="271" y="326"/>
                </a:cubicBezTo>
                <a:cubicBezTo>
                  <a:pt x="270" y="318"/>
                  <a:pt x="272" y="311"/>
                  <a:pt x="276" y="307"/>
                </a:cubicBezTo>
                <a:cubicBezTo>
                  <a:pt x="280" y="302"/>
                  <a:pt x="286" y="301"/>
                  <a:pt x="288" y="301"/>
                </a:cubicBezTo>
                <a:cubicBezTo>
                  <a:pt x="288" y="301"/>
                  <a:pt x="288" y="301"/>
                  <a:pt x="288" y="301"/>
                </a:cubicBezTo>
                <a:cubicBezTo>
                  <a:pt x="290" y="301"/>
                  <a:pt x="296" y="302"/>
                  <a:pt x="300" y="307"/>
                </a:cubicBezTo>
                <a:cubicBezTo>
                  <a:pt x="305" y="311"/>
                  <a:pt x="306" y="318"/>
                  <a:pt x="306" y="326"/>
                </a:cubicBezTo>
                <a:close/>
                <a:moveTo>
                  <a:pt x="92" y="307"/>
                </a:moveTo>
                <a:cubicBezTo>
                  <a:pt x="96" y="302"/>
                  <a:pt x="102" y="301"/>
                  <a:pt x="104" y="301"/>
                </a:cubicBezTo>
                <a:cubicBezTo>
                  <a:pt x="105" y="301"/>
                  <a:pt x="105" y="301"/>
                  <a:pt x="105" y="301"/>
                </a:cubicBezTo>
                <a:cubicBezTo>
                  <a:pt x="107" y="301"/>
                  <a:pt x="112" y="302"/>
                  <a:pt x="117" y="307"/>
                </a:cubicBezTo>
                <a:cubicBezTo>
                  <a:pt x="121" y="311"/>
                  <a:pt x="123" y="318"/>
                  <a:pt x="122" y="326"/>
                </a:cubicBezTo>
                <a:cubicBezTo>
                  <a:pt x="120" y="351"/>
                  <a:pt x="111" y="362"/>
                  <a:pt x="105" y="362"/>
                </a:cubicBezTo>
                <a:cubicBezTo>
                  <a:pt x="104" y="362"/>
                  <a:pt x="104" y="362"/>
                  <a:pt x="104" y="362"/>
                </a:cubicBezTo>
                <a:cubicBezTo>
                  <a:pt x="98" y="362"/>
                  <a:pt x="88" y="351"/>
                  <a:pt x="87" y="326"/>
                </a:cubicBezTo>
                <a:cubicBezTo>
                  <a:pt x="86" y="318"/>
                  <a:pt x="88" y="311"/>
                  <a:pt x="92" y="307"/>
                </a:cubicBezTo>
                <a:close/>
                <a:moveTo>
                  <a:pt x="196" y="198"/>
                </a:moveTo>
                <a:cubicBezTo>
                  <a:pt x="197" y="198"/>
                  <a:pt x="197" y="198"/>
                  <a:pt x="197" y="198"/>
                </a:cubicBezTo>
                <a:cubicBezTo>
                  <a:pt x="215" y="198"/>
                  <a:pt x="236" y="180"/>
                  <a:pt x="238" y="140"/>
                </a:cubicBezTo>
                <a:cubicBezTo>
                  <a:pt x="240" y="120"/>
                  <a:pt x="233" y="108"/>
                  <a:pt x="227" y="102"/>
                </a:cubicBezTo>
                <a:cubicBezTo>
                  <a:pt x="217" y="91"/>
                  <a:pt x="204" y="88"/>
                  <a:pt x="197" y="88"/>
                </a:cubicBezTo>
                <a:cubicBezTo>
                  <a:pt x="196" y="88"/>
                  <a:pt x="196" y="88"/>
                  <a:pt x="196" y="88"/>
                </a:cubicBezTo>
                <a:cubicBezTo>
                  <a:pt x="188" y="88"/>
                  <a:pt x="176" y="91"/>
                  <a:pt x="166" y="102"/>
                </a:cubicBezTo>
                <a:cubicBezTo>
                  <a:pt x="160" y="108"/>
                  <a:pt x="153" y="120"/>
                  <a:pt x="154" y="140"/>
                </a:cubicBezTo>
                <a:cubicBezTo>
                  <a:pt x="157" y="180"/>
                  <a:pt x="177" y="198"/>
                  <a:pt x="196" y="198"/>
                </a:cubicBezTo>
                <a:close/>
                <a:moveTo>
                  <a:pt x="184" y="118"/>
                </a:moveTo>
                <a:cubicBezTo>
                  <a:pt x="188" y="114"/>
                  <a:pt x="194" y="112"/>
                  <a:pt x="196" y="112"/>
                </a:cubicBezTo>
                <a:cubicBezTo>
                  <a:pt x="197" y="112"/>
                  <a:pt x="197" y="112"/>
                  <a:pt x="197" y="112"/>
                </a:cubicBezTo>
                <a:cubicBezTo>
                  <a:pt x="198" y="112"/>
                  <a:pt x="204" y="114"/>
                  <a:pt x="209" y="118"/>
                </a:cubicBezTo>
                <a:cubicBezTo>
                  <a:pt x="213" y="123"/>
                  <a:pt x="215" y="129"/>
                  <a:pt x="214" y="138"/>
                </a:cubicBezTo>
                <a:cubicBezTo>
                  <a:pt x="212" y="162"/>
                  <a:pt x="203" y="173"/>
                  <a:pt x="197" y="173"/>
                </a:cubicBezTo>
                <a:cubicBezTo>
                  <a:pt x="196" y="173"/>
                  <a:pt x="196" y="173"/>
                  <a:pt x="196" y="173"/>
                </a:cubicBezTo>
                <a:cubicBezTo>
                  <a:pt x="190" y="173"/>
                  <a:pt x="180" y="162"/>
                  <a:pt x="179" y="138"/>
                </a:cubicBezTo>
                <a:cubicBezTo>
                  <a:pt x="178" y="129"/>
                  <a:pt x="180" y="123"/>
                  <a:pt x="184" y="118"/>
                </a:cubicBezTo>
                <a:close/>
                <a:moveTo>
                  <a:pt x="380" y="198"/>
                </a:moveTo>
                <a:cubicBezTo>
                  <a:pt x="380" y="198"/>
                  <a:pt x="380" y="198"/>
                  <a:pt x="380" y="198"/>
                </a:cubicBezTo>
                <a:cubicBezTo>
                  <a:pt x="399" y="198"/>
                  <a:pt x="419" y="180"/>
                  <a:pt x="422" y="140"/>
                </a:cubicBezTo>
                <a:cubicBezTo>
                  <a:pt x="424" y="120"/>
                  <a:pt x="417" y="108"/>
                  <a:pt x="410" y="102"/>
                </a:cubicBezTo>
                <a:cubicBezTo>
                  <a:pt x="401" y="91"/>
                  <a:pt x="388" y="88"/>
                  <a:pt x="380" y="88"/>
                </a:cubicBezTo>
                <a:cubicBezTo>
                  <a:pt x="380" y="88"/>
                  <a:pt x="380" y="88"/>
                  <a:pt x="380" y="88"/>
                </a:cubicBezTo>
                <a:cubicBezTo>
                  <a:pt x="372" y="88"/>
                  <a:pt x="359" y="91"/>
                  <a:pt x="350" y="102"/>
                </a:cubicBezTo>
                <a:cubicBezTo>
                  <a:pt x="344" y="108"/>
                  <a:pt x="337" y="120"/>
                  <a:pt x="338" y="140"/>
                </a:cubicBezTo>
                <a:cubicBezTo>
                  <a:pt x="341" y="180"/>
                  <a:pt x="361" y="198"/>
                  <a:pt x="380" y="198"/>
                </a:cubicBezTo>
                <a:close/>
                <a:moveTo>
                  <a:pt x="368" y="118"/>
                </a:moveTo>
                <a:cubicBezTo>
                  <a:pt x="372" y="114"/>
                  <a:pt x="378" y="112"/>
                  <a:pt x="380" y="112"/>
                </a:cubicBezTo>
                <a:cubicBezTo>
                  <a:pt x="380" y="112"/>
                  <a:pt x="380" y="112"/>
                  <a:pt x="380" y="112"/>
                </a:cubicBezTo>
                <a:cubicBezTo>
                  <a:pt x="382" y="112"/>
                  <a:pt x="388" y="114"/>
                  <a:pt x="392" y="118"/>
                </a:cubicBezTo>
                <a:cubicBezTo>
                  <a:pt x="397" y="123"/>
                  <a:pt x="398" y="129"/>
                  <a:pt x="398" y="138"/>
                </a:cubicBezTo>
                <a:cubicBezTo>
                  <a:pt x="396" y="162"/>
                  <a:pt x="387" y="173"/>
                  <a:pt x="380" y="173"/>
                </a:cubicBezTo>
                <a:cubicBezTo>
                  <a:pt x="380" y="173"/>
                  <a:pt x="380" y="173"/>
                  <a:pt x="380" y="173"/>
                </a:cubicBezTo>
                <a:cubicBezTo>
                  <a:pt x="374" y="173"/>
                  <a:pt x="364" y="162"/>
                  <a:pt x="362" y="138"/>
                </a:cubicBezTo>
                <a:cubicBezTo>
                  <a:pt x="362" y="129"/>
                  <a:pt x="364" y="123"/>
                  <a:pt x="368" y="11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a:solidFill>
                <a:schemeClr val="accent1"/>
              </a:solidFill>
            </a:endParaRPr>
          </a:p>
        </p:txBody>
      </p:sp>
      <p:sp>
        <p:nvSpPr>
          <p:cNvPr id="9" name="Rectangle 8">
            <a:extLst>
              <a:ext uri="{FF2B5EF4-FFF2-40B4-BE49-F238E27FC236}">
                <a16:creationId xmlns:a16="http://schemas.microsoft.com/office/drawing/2014/main" id="{9673456A-DDC3-3374-71EC-7B0138256909}"/>
              </a:ext>
            </a:extLst>
          </p:cNvPr>
          <p:cNvSpPr/>
          <p:nvPr/>
        </p:nvSpPr>
        <p:spPr>
          <a:xfrm rot="5400000">
            <a:off x="8976514" y="3400425"/>
            <a:ext cx="71438" cy="54737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6" name="Rectangle 15">
            <a:extLst>
              <a:ext uri="{FF2B5EF4-FFF2-40B4-BE49-F238E27FC236}">
                <a16:creationId xmlns:a16="http://schemas.microsoft.com/office/drawing/2014/main" id="{4ADCDAA5-456F-4D18-3B53-B12FF6B12F91}"/>
              </a:ext>
            </a:extLst>
          </p:cNvPr>
          <p:cNvSpPr/>
          <p:nvPr/>
        </p:nvSpPr>
        <p:spPr>
          <a:xfrm rot="5400000">
            <a:off x="3144042" y="3400425"/>
            <a:ext cx="71438" cy="54737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 name="Rectangle 4">
            <a:extLst>
              <a:ext uri="{FF2B5EF4-FFF2-40B4-BE49-F238E27FC236}">
                <a16:creationId xmlns:a16="http://schemas.microsoft.com/office/drawing/2014/main" id="{77809E40-37CF-33A7-7901-D1413BC4E7D9}"/>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rgbClr val="A4A3B2"/>
                </a:solidFill>
                <a:effectLst/>
                <a:uLnTx/>
                <a:uFillTx/>
                <a:ea typeface="Georgia"/>
                <a:cs typeface="Georgia"/>
                <a:sym typeface="Georgia"/>
              </a:rPr>
              <a:t>2. CIVILĀS AIZSARDZĪBAS SISTĒMA UN NORMATĪVAIS UN POLITIKAS PLĀNOŠANAS IETVARS</a:t>
            </a:r>
          </a:p>
        </p:txBody>
      </p:sp>
    </p:spTree>
    <p:extLst>
      <p:ext uri="{BB962C8B-B14F-4D97-AF65-F5344CB8AC3E}">
        <p14:creationId xmlns:p14="http://schemas.microsoft.com/office/powerpoint/2010/main" val="10760962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26D02910-881C-50EE-F448-D03745506520}"/>
              </a:ext>
            </a:extLst>
          </p:cNvPr>
          <p:cNvPicPr>
            <a:picLocks noGrp="1" noChangeAspect="1"/>
          </p:cNvPicPr>
          <p:nvPr>
            <p:ph type="pic" sz="quarter" idx="10"/>
          </p:nvPr>
        </p:nvPicPr>
        <p:blipFill rotWithShape="1">
          <a:blip r:embed="rId3"/>
          <a:srcRect l="2917" r="32559"/>
          <a:stretch/>
        </p:blipFill>
        <p:spPr>
          <a:xfrm>
            <a:off x="4327525" y="0"/>
            <a:ext cx="7864475" cy="6858000"/>
          </a:xfrm>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p:cNvSpPr>
            <a:spLocks noGrp="1"/>
          </p:cNvSpPr>
          <p:nvPr>
            <p:ph type="ctrTitle"/>
          </p:nvPr>
        </p:nvSpPr>
        <p:spPr>
          <a:xfrm>
            <a:off x="442913" y="1893539"/>
            <a:ext cx="7418387" cy="2428875"/>
          </a:xfrm>
        </p:spPr>
        <p:txBody>
          <a:bodyPr vert="horz">
            <a:normAutofit/>
          </a:bodyPr>
          <a:lstStyle/>
          <a:p>
            <a:pPr>
              <a:lnSpc>
                <a:spcPct val="90000"/>
              </a:lnSpc>
            </a:pPr>
            <a:r>
              <a:rPr lang="lv-LV" sz="4000"/>
              <a:t>2</a:t>
            </a:r>
            <a:r>
              <a:rPr lang="lv-LV" sz="4000">
                <a:latin typeface="+mj-lt"/>
              </a:rPr>
              <a:t>.1. Civilās aizsardzības sistēmas struktūra un loma nacionālās drošības sistēmā</a:t>
            </a:r>
            <a:endParaRPr lang="en-GB" sz="4000">
              <a:latin typeface="+mj-lt"/>
              <a:cs typeface="Arial"/>
            </a:endParaRPr>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Tree>
    <p:extLst>
      <p:ext uri="{BB962C8B-B14F-4D97-AF65-F5344CB8AC3E}">
        <p14:creationId xmlns:p14="http://schemas.microsoft.com/office/powerpoint/2010/main" val="39015688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think-cell data - do not delete" hidden="1">
            <a:extLst>
              <a:ext uri="{FF2B5EF4-FFF2-40B4-BE49-F238E27FC236}">
                <a16:creationId xmlns:a16="http://schemas.microsoft.com/office/drawing/2014/main" id="{895C67C0-8232-71F7-D5D4-B855F09A32F0}"/>
              </a:ext>
            </a:extLst>
          </p:cNvPr>
          <p:cNvGraphicFramePr>
            <a:graphicFrameLocks noChangeAspect="1"/>
          </p:cNvGraphicFramePr>
          <p:nvPr>
            <p:custDataLst>
              <p:tags r:id="rId1"/>
            </p:custDataLst>
            <p:extLst>
              <p:ext uri="{D42A27DB-BD31-4B8C-83A1-F6EECF244321}">
                <p14:modId xmlns:p14="http://schemas.microsoft.com/office/powerpoint/2010/main" val="806794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9" name="think-cell data - do not delete" hidden="1">
                        <a:extLst>
                          <a:ext uri="{FF2B5EF4-FFF2-40B4-BE49-F238E27FC236}">
                            <a16:creationId xmlns:a16="http://schemas.microsoft.com/office/drawing/2014/main" id="{895C67C0-8232-71F7-D5D4-B855F09A32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Title 26">
            <a:extLst>
              <a:ext uri="{FF2B5EF4-FFF2-40B4-BE49-F238E27FC236}">
                <a16:creationId xmlns:a16="http://schemas.microsoft.com/office/drawing/2014/main" id="{32BEDB9C-EB44-3430-B207-FA719672649E}"/>
              </a:ext>
            </a:extLst>
          </p:cNvPr>
          <p:cNvSpPr>
            <a:spLocks noGrp="1"/>
          </p:cNvSpPr>
          <p:nvPr>
            <p:ph type="title"/>
          </p:nvPr>
        </p:nvSpPr>
        <p:spPr>
          <a:xfrm>
            <a:off x="442913" y="431800"/>
            <a:ext cx="11306175" cy="1387475"/>
          </a:xfrm>
        </p:spPr>
        <p:txBody>
          <a:bodyPr vert="horz"/>
          <a:lstStyle/>
          <a:p>
            <a:r>
              <a:rPr lang="lv-LV" altLang="lv-LV"/>
              <a:t>Civilās aizsardzības sistēmas un katastrofu medicīnas sistēmas loma nacionālās drošības sistēmā</a:t>
            </a:r>
            <a:endParaRPr lang="lv-LV"/>
          </a:p>
        </p:txBody>
      </p:sp>
      <p:sp>
        <p:nvSpPr>
          <p:cNvPr id="4" name="Slide Number Placeholder 3">
            <a:extLst>
              <a:ext uri="{FF2B5EF4-FFF2-40B4-BE49-F238E27FC236}">
                <a16:creationId xmlns:a16="http://schemas.microsoft.com/office/drawing/2014/main" id="{02F42781-1C97-9A4F-FEDB-EA9F3D3C05E2}"/>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a:fld id="{A9DEB5B7-0CCF-447A-91D6-F7DB098D19F7}" type="slidenum">
              <a:rPr lang="lv-LV" altLang="en-US"/>
              <a:pPr lvl="0"/>
              <a:t>6</a:t>
            </a:fld>
            <a:endParaRPr lang="lv-LV" altLang="en-US"/>
          </a:p>
        </p:txBody>
      </p:sp>
      <p:sp>
        <p:nvSpPr>
          <p:cNvPr id="64" name="Rectangle 63">
            <a:extLst>
              <a:ext uri="{FF2B5EF4-FFF2-40B4-BE49-F238E27FC236}">
                <a16:creationId xmlns:a16="http://schemas.microsoft.com/office/drawing/2014/main" id="{67FBBA03-31E4-D7C8-090F-638F677E6A35}"/>
              </a:ext>
            </a:extLst>
          </p:cNvPr>
          <p:cNvSpPr/>
          <p:nvPr/>
        </p:nvSpPr>
        <p:spPr>
          <a:xfrm>
            <a:off x="4523217" y="5582721"/>
            <a:ext cx="3986029" cy="589479"/>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5" name="Freeform 50">
            <a:extLst>
              <a:ext uri="{FF2B5EF4-FFF2-40B4-BE49-F238E27FC236}">
                <a16:creationId xmlns:a16="http://schemas.microsoft.com/office/drawing/2014/main" id="{894E5700-E975-D8D2-5AD3-2E35DE8CE365}"/>
              </a:ext>
            </a:extLst>
          </p:cNvPr>
          <p:cNvSpPr>
            <a:spLocks noChangeAspect="1"/>
          </p:cNvSpPr>
          <p:nvPr/>
        </p:nvSpPr>
        <p:spPr bwMode="auto">
          <a:xfrm>
            <a:off x="4561805" y="5733407"/>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66" name="Google Shape;2685;p25">
            <a:extLst>
              <a:ext uri="{FF2B5EF4-FFF2-40B4-BE49-F238E27FC236}">
                <a16:creationId xmlns:a16="http://schemas.microsoft.com/office/drawing/2014/main" id="{8D4E5B49-05F7-6DC9-B647-FEF3369AD289}"/>
              </a:ext>
            </a:extLst>
          </p:cNvPr>
          <p:cNvSpPr txBox="1"/>
          <p:nvPr/>
        </p:nvSpPr>
        <p:spPr>
          <a:xfrm>
            <a:off x="4974785" y="5705739"/>
            <a:ext cx="3591374" cy="338554"/>
          </a:xfrm>
          <a:prstGeom prst="rect">
            <a:avLst/>
          </a:prstGeom>
          <a:noFill/>
          <a:ln>
            <a:noFill/>
          </a:ln>
        </p:spPr>
        <p:txBody>
          <a:bodyPr spcFirstLastPara="1" wrap="square" lIns="0" tIns="0" rIns="72000" bIns="0" anchor="ctr" anchorCtr="0">
            <a:spAutoFit/>
          </a:bodyPr>
          <a:lstStyle/>
          <a:p>
            <a:r>
              <a:rPr lang="lv-LV" sz="1100" i="0">
                <a:effectLst/>
                <a:hlinkClick r:id="rId6">
                  <a:extLst>
                    <a:ext uri="{A12FA001-AC4F-418D-AE19-62706E023703}">
                      <ahyp:hlinkClr xmlns:ahyp="http://schemas.microsoft.com/office/drawing/2018/hyperlinkcolor" val="tx"/>
                    </a:ext>
                  </a:extLst>
                </a:hlinkClick>
              </a:rPr>
              <a:t>Katastrofu medicīnas sistēmas organizēšanas</a:t>
            </a:r>
            <a:r>
              <a:rPr lang="en-US" sz="1100" i="0">
                <a:effectLst/>
                <a:hlinkClick r:id="rId6">
                  <a:extLst>
                    <a:ext uri="{A12FA001-AC4F-418D-AE19-62706E023703}">
                      <ahyp:hlinkClr xmlns:ahyp="http://schemas.microsoft.com/office/drawing/2018/hyperlinkcolor" val="tx"/>
                    </a:ext>
                  </a:extLst>
                </a:hlinkClick>
              </a:rPr>
              <a:t> </a:t>
            </a:r>
            <a:r>
              <a:rPr lang="lv-LV" sz="1100" i="0">
                <a:effectLst/>
                <a:hlinkClick r:id="rId6">
                  <a:extLst>
                    <a:ext uri="{A12FA001-AC4F-418D-AE19-62706E023703}">
                      <ahyp:hlinkClr xmlns:ahyp="http://schemas.microsoft.com/office/drawing/2018/hyperlinkcolor" val="tx"/>
                    </a:ext>
                  </a:extLst>
                </a:hlinkClick>
              </a:rPr>
              <a:t>noteikumi</a:t>
            </a:r>
            <a:endParaRPr lang="lv-LV" sz="1100" i="0">
              <a:effectLst/>
            </a:endParaRPr>
          </a:p>
          <a:p>
            <a:r>
              <a:rPr lang="lv-LV" sz="1100">
                <a:hlinkClick r:id="rId7">
                  <a:extLst>
                    <a:ext uri="{A12FA001-AC4F-418D-AE19-62706E023703}">
                      <ahyp:hlinkClr xmlns:ahyp="http://schemas.microsoft.com/office/drawing/2018/hyperlinkcolor" val="tx"/>
                    </a:ext>
                  </a:extLst>
                </a:hlinkClick>
              </a:rPr>
              <a:t>Valsts katastrofu medicīnas plāns</a:t>
            </a:r>
            <a:endParaRPr lang="lv-LV" sz="1100"/>
          </a:p>
        </p:txBody>
      </p:sp>
      <p:sp>
        <p:nvSpPr>
          <p:cNvPr id="2" name="TextBox 1">
            <a:extLst>
              <a:ext uri="{FF2B5EF4-FFF2-40B4-BE49-F238E27FC236}">
                <a16:creationId xmlns:a16="http://schemas.microsoft.com/office/drawing/2014/main" id="{B1F6A68B-1597-6DFC-9E7D-71CFDA319A8C}"/>
              </a:ext>
            </a:extLst>
          </p:cNvPr>
          <p:cNvSpPr txBox="1"/>
          <p:nvPr/>
        </p:nvSpPr>
        <p:spPr>
          <a:xfrm>
            <a:off x="442910" y="1822450"/>
            <a:ext cx="2370472" cy="900113"/>
          </a:xfrm>
          <a:prstGeom prst="rect">
            <a:avLst/>
          </a:prstGeom>
          <a:solidFill>
            <a:srgbClr val="CFD6E8"/>
          </a:solidFill>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algn="ctr">
              <a:buSzPct val="100000"/>
            </a:pPr>
            <a:r>
              <a:rPr lang="lv-LV" sz="1400" b="1">
                <a:cs typeface="Arial"/>
              </a:rPr>
              <a:t>Nacionālās drošības sistēma</a:t>
            </a:r>
          </a:p>
        </p:txBody>
      </p:sp>
      <p:sp>
        <p:nvSpPr>
          <p:cNvPr id="5" name="TextBox 4">
            <a:extLst>
              <a:ext uri="{FF2B5EF4-FFF2-40B4-BE49-F238E27FC236}">
                <a16:creationId xmlns:a16="http://schemas.microsoft.com/office/drawing/2014/main" id="{4698077E-5F06-B355-0606-A7F29A25D317}"/>
              </a:ext>
            </a:extLst>
          </p:cNvPr>
          <p:cNvSpPr txBox="1"/>
          <p:nvPr/>
        </p:nvSpPr>
        <p:spPr>
          <a:xfrm>
            <a:off x="442911" y="3214373"/>
            <a:ext cx="2370471" cy="900113"/>
          </a:xfrm>
          <a:prstGeom prst="rect">
            <a:avLst/>
          </a:prstGeom>
          <a:solidFill>
            <a:srgbClr val="CFD6E8"/>
          </a:solidFill>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algn="ctr">
              <a:buSzPct val="100000"/>
            </a:pPr>
            <a:r>
              <a:rPr lang="lv-LV" sz="1400" b="1">
                <a:cs typeface="Arial"/>
              </a:rPr>
              <a:t>Civilās aizsardzības sistēma</a:t>
            </a:r>
          </a:p>
        </p:txBody>
      </p:sp>
      <p:sp>
        <p:nvSpPr>
          <p:cNvPr id="33" name="TextBox 32">
            <a:extLst>
              <a:ext uri="{FF2B5EF4-FFF2-40B4-BE49-F238E27FC236}">
                <a16:creationId xmlns:a16="http://schemas.microsoft.com/office/drawing/2014/main" id="{5B2A4D2C-CD75-341E-580A-957F809C2018}"/>
              </a:ext>
            </a:extLst>
          </p:cNvPr>
          <p:cNvSpPr txBox="1"/>
          <p:nvPr/>
        </p:nvSpPr>
        <p:spPr>
          <a:xfrm>
            <a:off x="442911" y="4606297"/>
            <a:ext cx="2370471" cy="899999"/>
          </a:xfrm>
          <a:prstGeom prst="rect">
            <a:avLst/>
          </a:prstGeom>
          <a:solidFill>
            <a:srgbClr val="CFD6E8"/>
          </a:solidFill>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algn="ctr">
              <a:buSzPct val="100000"/>
            </a:pPr>
            <a:r>
              <a:rPr lang="lv-LV" sz="1400" b="1">
                <a:cs typeface="Arial"/>
              </a:rPr>
              <a:t>Katastrofu medicīnas sistēma</a:t>
            </a:r>
          </a:p>
        </p:txBody>
      </p:sp>
      <p:sp>
        <p:nvSpPr>
          <p:cNvPr id="37" name="TextBox 36">
            <a:extLst>
              <a:ext uri="{FF2B5EF4-FFF2-40B4-BE49-F238E27FC236}">
                <a16:creationId xmlns:a16="http://schemas.microsoft.com/office/drawing/2014/main" id="{16C10275-D1DB-BDFC-B1ED-A4402FA73250}"/>
              </a:ext>
            </a:extLst>
          </p:cNvPr>
          <p:cNvSpPr txBox="1"/>
          <p:nvPr/>
        </p:nvSpPr>
        <p:spPr>
          <a:xfrm>
            <a:off x="3014759" y="1816100"/>
            <a:ext cx="8756650" cy="900000"/>
          </a:xfrm>
          <a:prstGeom prst="rect">
            <a:avLst/>
          </a:prstGeom>
          <a:solidFill>
            <a:schemeClr val="bg1">
              <a:lumMod val="95000"/>
            </a:schemeClr>
          </a:solidFill>
        </p:spPr>
        <p:txBody>
          <a:bodyPr wrap="square" lIns="72000" tIns="72000" rIns="72000" bIns="72000" anchor="t">
            <a:noAutofit/>
          </a:bodyPr>
          <a:lstStyle/>
          <a:p>
            <a:r>
              <a:rPr lang="lv-LV" sz="1200" b="0" i="0">
                <a:effectLst/>
                <a:latin typeface="Arial" panose="020B0604020202020204" pitchFamily="34" charset="0"/>
              </a:rPr>
              <a:t>Nacionālā drošība ir valsts un sabiedrības īstenotu vienotu, mērķtiecīgu pasākumu rezultātā sasniegts stāvoklis, kurā ir garantēta valsts neatkarība, tās konstitucionālā iekārta un teritoriālā integritāte, sabiedrības brīvas attīstības perspektīva, labklājība un stabilitāte. </a:t>
            </a:r>
            <a:r>
              <a:rPr lang="lv-LV" sz="1200" b="1" i="0">
                <a:effectLst/>
                <a:latin typeface="Arial" panose="020B0604020202020204" pitchFamily="34" charset="0"/>
              </a:rPr>
              <a:t>Nacionālās drošības garantēšana ir valsts pamatpienākums.</a:t>
            </a:r>
            <a:endParaRPr lang="lv-LV" sz="1200" b="1"/>
          </a:p>
        </p:txBody>
      </p:sp>
      <p:sp>
        <p:nvSpPr>
          <p:cNvPr id="55" name="Rectangle 54">
            <a:extLst>
              <a:ext uri="{FF2B5EF4-FFF2-40B4-BE49-F238E27FC236}">
                <a16:creationId xmlns:a16="http://schemas.microsoft.com/office/drawing/2014/main" id="{01DEE395-A1D3-A782-B617-02A79709E740}"/>
              </a:ext>
            </a:extLst>
          </p:cNvPr>
          <p:cNvSpPr/>
          <p:nvPr/>
        </p:nvSpPr>
        <p:spPr>
          <a:xfrm>
            <a:off x="2880048" y="1820333"/>
            <a:ext cx="133897" cy="900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 name="Rectangle 5">
            <a:extLst>
              <a:ext uri="{FF2B5EF4-FFF2-40B4-BE49-F238E27FC236}">
                <a16:creationId xmlns:a16="http://schemas.microsoft.com/office/drawing/2014/main" id="{B406E0CD-6107-E269-B513-42F75DF0F104}"/>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rgbClr val="A4A3B2"/>
                </a:solidFill>
                <a:effectLst/>
                <a:uLnTx/>
                <a:uFillTx/>
                <a:ea typeface="Georgia"/>
                <a:cs typeface="Georgia"/>
                <a:sym typeface="Georgia"/>
              </a:rPr>
              <a:t>2. CIVILĀS AIZSARDZĪBAS SISTĒMA UN NORMATĪVAIS UN POLITIKAS PLĀNOŠANAS IETVARS</a:t>
            </a:r>
          </a:p>
        </p:txBody>
      </p:sp>
      <p:grpSp>
        <p:nvGrpSpPr>
          <p:cNvPr id="3" name="Group 2">
            <a:extLst>
              <a:ext uri="{FF2B5EF4-FFF2-40B4-BE49-F238E27FC236}">
                <a16:creationId xmlns:a16="http://schemas.microsoft.com/office/drawing/2014/main" id="{098D06C8-BDF3-A3DA-7D2A-F811209F6DCE}"/>
              </a:ext>
            </a:extLst>
          </p:cNvPr>
          <p:cNvGrpSpPr/>
          <p:nvPr/>
        </p:nvGrpSpPr>
        <p:grpSpPr>
          <a:xfrm>
            <a:off x="6994519" y="147748"/>
            <a:ext cx="4754569" cy="217488"/>
            <a:chOff x="6752692" y="132067"/>
            <a:chExt cx="4754569" cy="217488"/>
          </a:xfrm>
        </p:grpSpPr>
        <p:sp>
          <p:nvSpPr>
            <p:cNvPr id="8" name="Rectangle 7">
              <a:extLst>
                <a:ext uri="{FF2B5EF4-FFF2-40B4-BE49-F238E27FC236}">
                  <a16:creationId xmlns:a16="http://schemas.microsoft.com/office/drawing/2014/main" id="{3DFFD00F-D0DF-7F84-FFD0-EF989C35F86B}"/>
                </a:ext>
              </a:extLst>
            </p:cNvPr>
            <p:cNvSpPr/>
            <p:nvPr/>
          </p:nvSpPr>
          <p:spPr>
            <a:xfrm>
              <a:off x="6752692"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1</a:t>
              </a:r>
            </a:p>
          </p:txBody>
        </p:sp>
        <p:sp>
          <p:nvSpPr>
            <p:cNvPr id="9" name="Rectangle 8">
              <a:extLst>
                <a:ext uri="{FF2B5EF4-FFF2-40B4-BE49-F238E27FC236}">
                  <a16:creationId xmlns:a16="http://schemas.microsoft.com/office/drawing/2014/main" id="{02D61EFE-3B80-47F6-5A47-078F49031281}"/>
                </a:ext>
              </a:extLst>
            </p:cNvPr>
            <p:cNvSpPr/>
            <p:nvPr/>
          </p:nvSpPr>
          <p:spPr>
            <a:xfrm>
              <a:off x="10565780"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2</a:t>
              </a:r>
            </a:p>
          </p:txBody>
        </p:sp>
        <p:sp>
          <p:nvSpPr>
            <p:cNvPr id="10" name="Rectangle 9">
              <a:extLst>
                <a:ext uri="{FF2B5EF4-FFF2-40B4-BE49-F238E27FC236}">
                  <a16:creationId xmlns:a16="http://schemas.microsoft.com/office/drawing/2014/main" id="{E7620417-CA25-4C85-685A-F9654D084E1A}"/>
                </a:ext>
              </a:extLst>
            </p:cNvPr>
            <p:cNvSpPr/>
            <p:nvPr/>
          </p:nvSpPr>
          <p:spPr>
            <a:xfrm>
              <a:off x="6994519" y="132067"/>
              <a:ext cx="3545434"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600"/>
                </a:spcAft>
              </a:pPr>
              <a:r>
                <a:rPr lang="lv-LV" sz="800" b="1">
                  <a:cs typeface="Arial"/>
                </a:rPr>
                <a:t>Civilās aizsardzības sistēmas struktūra un loma </a:t>
              </a:r>
              <a:br>
                <a:rPr lang="en-US" sz="800" b="1">
                  <a:cs typeface="Arial"/>
                </a:rPr>
              </a:br>
              <a:r>
                <a:rPr lang="lv-LV" sz="800" b="1">
                  <a:cs typeface="Arial"/>
                </a:rPr>
                <a:t>nacionālās drošības sistēmā</a:t>
              </a:r>
            </a:p>
          </p:txBody>
        </p:sp>
        <p:sp>
          <p:nvSpPr>
            <p:cNvPr id="11" name="Rectangle 10">
              <a:extLst>
                <a:ext uri="{FF2B5EF4-FFF2-40B4-BE49-F238E27FC236}">
                  <a16:creationId xmlns:a16="http://schemas.microsoft.com/office/drawing/2014/main" id="{416EA174-AF69-E288-DE3A-FC6ADA020D52}"/>
                </a:ext>
              </a:extLst>
            </p:cNvPr>
            <p:cNvSpPr/>
            <p:nvPr/>
          </p:nvSpPr>
          <p:spPr>
            <a:xfrm>
              <a:off x="1080760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12" name="Rectangle 11">
              <a:extLst>
                <a:ext uri="{FF2B5EF4-FFF2-40B4-BE49-F238E27FC236}">
                  <a16:creationId xmlns:a16="http://schemas.microsoft.com/office/drawing/2014/main" id="{D704CE20-9536-92A4-D490-043CA68244AE}"/>
                </a:ext>
              </a:extLst>
            </p:cNvPr>
            <p:cNvSpPr/>
            <p:nvPr/>
          </p:nvSpPr>
          <p:spPr>
            <a:xfrm>
              <a:off x="1104943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13" name="Rectangle 12">
              <a:extLst>
                <a:ext uri="{FF2B5EF4-FFF2-40B4-BE49-F238E27FC236}">
                  <a16:creationId xmlns:a16="http://schemas.microsoft.com/office/drawing/2014/main" id="{04A46851-83AA-438A-B9EC-DD1194BC5271}"/>
                </a:ext>
              </a:extLst>
            </p:cNvPr>
            <p:cNvSpPr/>
            <p:nvPr/>
          </p:nvSpPr>
          <p:spPr>
            <a:xfrm>
              <a:off x="11291261"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15" name="TextBox 14">
            <a:extLst>
              <a:ext uri="{FF2B5EF4-FFF2-40B4-BE49-F238E27FC236}">
                <a16:creationId xmlns:a16="http://schemas.microsoft.com/office/drawing/2014/main" id="{59122A1E-8BC3-09F4-97FB-705F528E5398}"/>
              </a:ext>
            </a:extLst>
          </p:cNvPr>
          <p:cNvSpPr txBox="1"/>
          <p:nvPr/>
        </p:nvSpPr>
        <p:spPr>
          <a:xfrm>
            <a:off x="3014759" y="3213318"/>
            <a:ext cx="8756650" cy="900000"/>
          </a:xfrm>
          <a:prstGeom prst="rect">
            <a:avLst/>
          </a:prstGeom>
          <a:solidFill>
            <a:schemeClr val="bg1">
              <a:lumMod val="95000"/>
            </a:schemeClr>
          </a:solidFill>
        </p:spPr>
        <p:txBody>
          <a:bodyPr wrap="square" lIns="72000" tIns="72000" rIns="72000" bIns="72000" anchor="t">
            <a:noAutofit/>
          </a:bodyPr>
          <a:lstStyle/>
          <a:p>
            <a:pPr>
              <a:lnSpc>
                <a:spcPct val="100000"/>
              </a:lnSpc>
              <a:buSzPct val="100000"/>
            </a:pPr>
            <a:r>
              <a:rPr lang="lv-LV" sz="1200"/>
              <a:t>Civilās aizsardzības sistēma ir nacionālās drošības sistēmas sastāvdaļa, kas ir </a:t>
            </a:r>
            <a:r>
              <a:rPr lang="lv-LV" sz="1200" b="1"/>
              <a:t>pamats efektīvai un visaptverošai valsts aizsardzības sistēmas funkcionēšanai</a:t>
            </a:r>
            <a:r>
              <a:rPr lang="lv-LV" sz="1200"/>
              <a:t>, nodrošinot civilo un militāro institūciju savstarpēju koordināciju, resursu koordinēšanu un spēju harmonizāciju.</a:t>
            </a:r>
          </a:p>
        </p:txBody>
      </p:sp>
      <p:sp>
        <p:nvSpPr>
          <p:cNvPr id="16" name="Rectangle 15">
            <a:extLst>
              <a:ext uri="{FF2B5EF4-FFF2-40B4-BE49-F238E27FC236}">
                <a16:creationId xmlns:a16="http://schemas.microsoft.com/office/drawing/2014/main" id="{4C1489AC-C832-C969-96C3-5B7A4ED02FB3}"/>
              </a:ext>
            </a:extLst>
          </p:cNvPr>
          <p:cNvSpPr/>
          <p:nvPr/>
        </p:nvSpPr>
        <p:spPr>
          <a:xfrm>
            <a:off x="2880048" y="3213318"/>
            <a:ext cx="133897" cy="900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7" name="TextBox 16">
            <a:extLst>
              <a:ext uri="{FF2B5EF4-FFF2-40B4-BE49-F238E27FC236}">
                <a16:creationId xmlns:a16="http://schemas.microsoft.com/office/drawing/2014/main" id="{D67163D0-AFF2-0F5B-BEF8-713B9C5550B9}"/>
              </a:ext>
            </a:extLst>
          </p:cNvPr>
          <p:cNvSpPr txBox="1"/>
          <p:nvPr/>
        </p:nvSpPr>
        <p:spPr>
          <a:xfrm>
            <a:off x="3013945" y="4606302"/>
            <a:ext cx="8757464" cy="900000"/>
          </a:xfrm>
          <a:prstGeom prst="rect">
            <a:avLst/>
          </a:prstGeom>
          <a:solidFill>
            <a:schemeClr val="bg1">
              <a:lumMod val="95000"/>
            </a:schemeClr>
          </a:solidFill>
        </p:spPr>
        <p:txBody>
          <a:bodyPr wrap="square" lIns="72000" tIns="72000" rIns="72000" bIns="72000" anchor="t">
            <a:noAutofit/>
          </a:bodyPr>
          <a:lstStyle/>
          <a:p>
            <a:r>
              <a:rPr lang="lv-LV" sz="1200">
                <a:solidFill>
                  <a:schemeClr val="tx1"/>
                </a:solidFill>
              </a:rPr>
              <a:t>Katastrofu medicīnas sistēma ir civilās aizsardzības sistēmas un nacionālās drošības sistēmas sastāvdaļa, </a:t>
            </a:r>
            <a:r>
              <a:rPr lang="lv-LV" sz="1200" b="1">
                <a:solidFill>
                  <a:schemeClr val="tx1"/>
                </a:solidFill>
              </a:rPr>
              <a:t>kuru aktivizē ārkārtas medicīniskajā situācijā un ārkārtas sabiedrības veselības situācijā. </a:t>
            </a:r>
            <a:r>
              <a:rPr lang="lv-LV" sz="1200">
                <a:solidFill>
                  <a:schemeClr val="tx1"/>
                </a:solidFill>
              </a:rPr>
              <a:t>Katastrofu medicīnas sistēma ir valsts koordinētu pasākumu kopums, ko veic ārstniecības iestādes u.c. veselības aprūpes nozares institūcijas, lai ārkārtas situācijās glābtu cilvēku dzīvību un mazinātu postošo ietekmi uz sabiedrības veselību.</a:t>
            </a:r>
          </a:p>
        </p:txBody>
      </p:sp>
      <p:sp>
        <p:nvSpPr>
          <p:cNvPr id="18" name="Rectangle 17">
            <a:extLst>
              <a:ext uri="{FF2B5EF4-FFF2-40B4-BE49-F238E27FC236}">
                <a16:creationId xmlns:a16="http://schemas.microsoft.com/office/drawing/2014/main" id="{D3932FD6-4833-DAF0-8321-A600DDDF2D68}"/>
              </a:ext>
            </a:extLst>
          </p:cNvPr>
          <p:cNvSpPr/>
          <p:nvPr/>
        </p:nvSpPr>
        <p:spPr>
          <a:xfrm>
            <a:off x="2880048" y="4606303"/>
            <a:ext cx="133897" cy="900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9" name="TextBox 18">
            <a:extLst>
              <a:ext uri="{FF2B5EF4-FFF2-40B4-BE49-F238E27FC236}">
                <a16:creationId xmlns:a16="http://schemas.microsoft.com/office/drawing/2014/main" id="{106AC05F-A272-513E-EF01-E89A9509C706}"/>
              </a:ext>
            </a:extLst>
          </p:cNvPr>
          <p:cNvSpPr txBox="1"/>
          <p:nvPr/>
        </p:nvSpPr>
        <p:spPr>
          <a:xfrm>
            <a:off x="442910" y="5582721"/>
            <a:ext cx="2370472" cy="589480"/>
          </a:xfrm>
          <a:prstGeom prst="rect">
            <a:avLst/>
          </a:prstGeom>
          <a:solidFill>
            <a:srgbClr val="D18D85"/>
          </a:solidFill>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algn="ctr">
              <a:buSzPct val="100000"/>
            </a:pPr>
            <a:r>
              <a:rPr lang="lv-LV" sz="1200">
                <a:cs typeface="Arial"/>
              </a:rPr>
              <a:t>Civilās aizsardzības sistēmā darbojas arī citas institūcijas, kā Valsts enerģētiskās krīzes centrs</a:t>
            </a:r>
          </a:p>
        </p:txBody>
      </p:sp>
      <p:sp>
        <p:nvSpPr>
          <p:cNvPr id="20" name="Rectangle 19">
            <a:extLst>
              <a:ext uri="{FF2B5EF4-FFF2-40B4-BE49-F238E27FC236}">
                <a16:creationId xmlns:a16="http://schemas.microsoft.com/office/drawing/2014/main" id="{420F2629-D747-1650-347F-99EDC0529C8F}"/>
              </a:ext>
            </a:extLst>
          </p:cNvPr>
          <p:cNvSpPr/>
          <p:nvPr/>
        </p:nvSpPr>
        <p:spPr>
          <a:xfrm>
            <a:off x="8575912" y="5582721"/>
            <a:ext cx="3173176" cy="589479"/>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1" name="Freeform 50">
            <a:extLst>
              <a:ext uri="{FF2B5EF4-FFF2-40B4-BE49-F238E27FC236}">
                <a16:creationId xmlns:a16="http://schemas.microsoft.com/office/drawing/2014/main" id="{036DED66-E299-1067-9D43-ADF12C7A1CC7}"/>
              </a:ext>
            </a:extLst>
          </p:cNvPr>
          <p:cNvSpPr>
            <a:spLocks noChangeAspect="1"/>
          </p:cNvSpPr>
          <p:nvPr/>
        </p:nvSpPr>
        <p:spPr bwMode="auto">
          <a:xfrm>
            <a:off x="8632825" y="5741257"/>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2" name="Google Shape;2685;p25">
            <a:extLst>
              <a:ext uri="{FF2B5EF4-FFF2-40B4-BE49-F238E27FC236}">
                <a16:creationId xmlns:a16="http://schemas.microsoft.com/office/drawing/2014/main" id="{5945FFC4-B564-FA15-EA24-EE9B63FADFEC}"/>
              </a:ext>
            </a:extLst>
          </p:cNvPr>
          <p:cNvSpPr txBox="1"/>
          <p:nvPr/>
        </p:nvSpPr>
        <p:spPr>
          <a:xfrm>
            <a:off x="9054272" y="5628951"/>
            <a:ext cx="2694815" cy="507831"/>
          </a:xfrm>
          <a:prstGeom prst="rect">
            <a:avLst/>
          </a:prstGeom>
          <a:noFill/>
          <a:ln>
            <a:noFill/>
          </a:ln>
        </p:spPr>
        <p:txBody>
          <a:bodyPr spcFirstLastPara="1" wrap="square" lIns="0" tIns="0" rIns="72000" bIns="0" anchor="ctr" anchorCtr="0">
            <a:spAutoFit/>
          </a:bodyPr>
          <a:lstStyle/>
          <a:p>
            <a:r>
              <a:rPr lang="lv-LV" sz="1100" i="0">
                <a:effectLst/>
                <a:hlinkClick r:id="rId8">
                  <a:extLst>
                    <a:ext uri="{A12FA001-AC4F-418D-AE19-62706E023703}">
                      <ahyp:hlinkClr xmlns:ahyp="http://schemas.microsoft.com/office/drawing/2018/hyperlinkcolor" val="tx"/>
                    </a:ext>
                  </a:extLst>
                </a:hlinkClick>
              </a:rPr>
              <a:t>Valsts enerģētiskās krīzes centra nolikums</a:t>
            </a:r>
            <a:endParaRPr lang="lv-LV" sz="1100" i="0">
              <a:effectLst/>
            </a:endParaRPr>
          </a:p>
          <a:p>
            <a:r>
              <a:rPr lang="lv-LV" sz="1100" i="0">
                <a:effectLst/>
                <a:hlinkClick r:id="rId9">
                  <a:extLst>
                    <a:ext uri="{A12FA001-AC4F-418D-AE19-62706E023703}">
                      <ahyp:hlinkClr xmlns:ahyp="http://schemas.microsoft.com/office/drawing/2018/hyperlinkcolor" val="tx"/>
                    </a:ext>
                  </a:extLst>
                </a:hlinkClick>
              </a:rPr>
              <a:t>Enerģētikas likums</a:t>
            </a:r>
            <a:r>
              <a:rPr lang="lv-LV" sz="1100"/>
              <a:t> </a:t>
            </a:r>
            <a:endParaRPr lang="lv-LV" sz="1100" i="0">
              <a:effectLst/>
            </a:endParaRPr>
          </a:p>
        </p:txBody>
      </p:sp>
      <p:sp>
        <p:nvSpPr>
          <p:cNvPr id="23" name="Rectangle 22">
            <a:extLst>
              <a:ext uri="{FF2B5EF4-FFF2-40B4-BE49-F238E27FC236}">
                <a16:creationId xmlns:a16="http://schemas.microsoft.com/office/drawing/2014/main" id="{40D304C9-A45C-F440-2AD0-14A290FE5C9A}"/>
              </a:ext>
            </a:extLst>
          </p:cNvPr>
          <p:cNvSpPr/>
          <p:nvPr/>
        </p:nvSpPr>
        <p:spPr>
          <a:xfrm>
            <a:off x="2880048" y="5582721"/>
            <a:ext cx="1576503" cy="589479"/>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4" name="Freeform 50">
            <a:extLst>
              <a:ext uri="{FF2B5EF4-FFF2-40B4-BE49-F238E27FC236}">
                <a16:creationId xmlns:a16="http://schemas.microsoft.com/office/drawing/2014/main" id="{4125062F-480F-BBF3-EB3F-3D86985D4CAF}"/>
              </a:ext>
            </a:extLst>
          </p:cNvPr>
          <p:cNvSpPr>
            <a:spLocks noChangeAspect="1"/>
          </p:cNvSpPr>
          <p:nvPr/>
        </p:nvSpPr>
        <p:spPr bwMode="auto">
          <a:xfrm>
            <a:off x="2953475" y="572699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5" name="Google Shape;2685;p25">
            <a:extLst>
              <a:ext uri="{FF2B5EF4-FFF2-40B4-BE49-F238E27FC236}">
                <a16:creationId xmlns:a16="http://schemas.microsoft.com/office/drawing/2014/main" id="{AC45CEB6-E989-C8E7-CB62-A8DB26594D29}"/>
              </a:ext>
            </a:extLst>
          </p:cNvPr>
          <p:cNvSpPr txBox="1"/>
          <p:nvPr/>
        </p:nvSpPr>
        <p:spPr>
          <a:xfrm>
            <a:off x="3374922" y="5719189"/>
            <a:ext cx="1168369" cy="338554"/>
          </a:xfrm>
          <a:prstGeom prst="rect">
            <a:avLst/>
          </a:prstGeom>
          <a:noFill/>
          <a:ln>
            <a:noFill/>
          </a:ln>
        </p:spPr>
        <p:txBody>
          <a:bodyPr spcFirstLastPara="1" wrap="square" lIns="0" tIns="0" rIns="72000" bIns="0" anchor="ctr" anchorCtr="0">
            <a:spAutoFit/>
          </a:bodyPr>
          <a:lstStyle/>
          <a:p>
            <a:r>
              <a:rPr lang="lv-LV" sz="1100">
                <a:hlinkClick r:id="rId10">
                  <a:extLst>
                    <a:ext uri="{A12FA001-AC4F-418D-AE19-62706E023703}">
                      <ahyp:hlinkClr xmlns:ahyp="http://schemas.microsoft.com/office/drawing/2018/hyperlinkcolor" val="tx"/>
                    </a:ext>
                  </a:extLst>
                </a:hlinkClick>
              </a:rPr>
              <a:t>Nacionālās drošības likums</a:t>
            </a:r>
            <a:endParaRPr lang="lv-LV" sz="1100"/>
          </a:p>
        </p:txBody>
      </p:sp>
      <p:grpSp>
        <p:nvGrpSpPr>
          <p:cNvPr id="41" name="Group 40">
            <a:extLst>
              <a:ext uri="{FF2B5EF4-FFF2-40B4-BE49-F238E27FC236}">
                <a16:creationId xmlns:a16="http://schemas.microsoft.com/office/drawing/2014/main" id="{7791985C-12B3-8C09-1D30-21A08DE6D25B}"/>
              </a:ext>
            </a:extLst>
          </p:cNvPr>
          <p:cNvGrpSpPr/>
          <p:nvPr/>
        </p:nvGrpSpPr>
        <p:grpSpPr>
          <a:xfrm>
            <a:off x="442910" y="4266486"/>
            <a:ext cx="11306178" cy="241090"/>
            <a:chOff x="716103" y="3041909"/>
            <a:chExt cx="11306178" cy="241090"/>
          </a:xfrm>
        </p:grpSpPr>
        <p:grpSp>
          <p:nvGrpSpPr>
            <p:cNvPr id="42" name="Group 41">
              <a:extLst>
                <a:ext uri="{FF2B5EF4-FFF2-40B4-BE49-F238E27FC236}">
                  <a16:creationId xmlns:a16="http://schemas.microsoft.com/office/drawing/2014/main" id="{A804AD52-C2B5-1BBD-590C-011CCC0F2E26}"/>
                </a:ext>
              </a:extLst>
            </p:cNvPr>
            <p:cNvGrpSpPr/>
            <p:nvPr/>
          </p:nvGrpSpPr>
          <p:grpSpPr>
            <a:xfrm>
              <a:off x="716103" y="3057081"/>
              <a:ext cx="11306178" cy="102868"/>
              <a:chOff x="1005246" y="2692968"/>
              <a:chExt cx="23272425" cy="102868"/>
            </a:xfrm>
          </p:grpSpPr>
          <p:cxnSp>
            <p:nvCxnSpPr>
              <p:cNvPr id="44" name="Straight Connector 43">
                <a:extLst>
                  <a:ext uri="{FF2B5EF4-FFF2-40B4-BE49-F238E27FC236}">
                    <a16:creationId xmlns:a16="http://schemas.microsoft.com/office/drawing/2014/main" id="{94D6467B-3AEE-87CA-9CA3-D85B89F519C1}"/>
                  </a:ext>
                </a:extLst>
              </p:cNvPr>
              <p:cNvCxnSpPr>
                <a:cxnSpLocks/>
              </p:cNvCxnSpPr>
              <p:nvPr/>
            </p:nvCxnSpPr>
            <p:spPr>
              <a:xfrm>
                <a:off x="1005246" y="2756534"/>
                <a:ext cx="23272425" cy="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5" name="Rectangle 44">
                <a:extLst>
                  <a:ext uri="{FF2B5EF4-FFF2-40B4-BE49-F238E27FC236}">
                    <a16:creationId xmlns:a16="http://schemas.microsoft.com/office/drawing/2014/main" id="{351F422D-199E-63ED-F400-A5A2A505286D}"/>
                  </a:ext>
                </a:extLst>
              </p:cNvPr>
              <p:cNvSpPr/>
              <p:nvPr/>
            </p:nvSpPr>
            <p:spPr>
              <a:xfrm>
                <a:off x="12275699" y="2692968"/>
                <a:ext cx="731520" cy="102868"/>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sp>
          <p:nvSpPr>
            <p:cNvPr id="43" name="L-Shape 42">
              <a:extLst>
                <a:ext uri="{FF2B5EF4-FFF2-40B4-BE49-F238E27FC236}">
                  <a16:creationId xmlns:a16="http://schemas.microsoft.com/office/drawing/2014/main" id="{4D22AE43-6F09-8F6C-6BFB-B80568A76645}"/>
                </a:ext>
              </a:extLst>
            </p:cNvPr>
            <p:cNvSpPr/>
            <p:nvPr/>
          </p:nvSpPr>
          <p:spPr>
            <a:xfrm rot="8100000">
              <a:off x="6248647" y="3041909"/>
              <a:ext cx="241090" cy="241090"/>
            </a:xfrm>
            <a:prstGeom prst="corner">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grpSp>
        <p:nvGrpSpPr>
          <p:cNvPr id="52" name="Group 51">
            <a:extLst>
              <a:ext uri="{FF2B5EF4-FFF2-40B4-BE49-F238E27FC236}">
                <a16:creationId xmlns:a16="http://schemas.microsoft.com/office/drawing/2014/main" id="{F63A512F-4A6A-81D2-94DA-4195DD4BBA36}"/>
              </a:ext>
            </a:extLst>
          </p:cNvPr>
          <p:cNvGrpSpPr/>
          <p:nvPr/>
        </p:nvGrpSpPr>
        <p:grpSpPr>
          <a:xfrm>
            <a:off x="442910" y="2871386"/>
            <a:ext cx="11306178" cy="241090"/>
            <a:chOff x="716103" y="3041909"/>
            <a:chExt cx="11306178" cy="241090"/>
          </a:xfrm>
        </p:grpSpPr>
        <p:grpSp>
          <p:nvGrpSpPr>
            <p:cNvPr id="53" name="Group 52">
              <a:extLst>
                <a:ext uri="{FF2B5EF4-FFF2-40B4-BE49-F238E27FC236}">
                  <a16:creationId xmlns:a16="http://schemas.microsoft.com/office/drawing/2014/main" id="{24AD5AF1-0601-3591-444D-06C11DAFA813}"/>
                </a:ext>
              </a:extLst>
            </p:cNvPr>
            <p:cNvGrpSpPr/>
            <p:nvPr/>
          </p:nvGrpSpPr>
          <p:grpSpPr>
            <a:xfrm>
              <a:off x="716103" y="3057081"/>
              <a:ext cx="11306178" cy="102868"/>
              <a:chOff x="1005246" y="2692968"/>
              <a:chExt cx="23272425" cy="102868"/>
            </a:xfrm>
          </p:grpSpPr>
          <p:cxnSp>
            <p:nvCxnSpPr>
              <p:cNvPr id="56" name="Straight Connector 55">
                <a:extLst>
                  <a:ext uri="{FF2B5EF4-FFF2-40B4-BE49-F238E27FC236}">
                    <a16:creationId xmlns:a16="http://schemas.microsoft.com/office/drawing/2014/main" id="{FC541874-E061-42A4-B950-AAC2700C2B87}"/>
                  </a:ext>
                </a:extLst>
              </p:cNvPr>
              <p:cNvCxnSpPr>
                <a:cxnSpLocks/>
              </p:cNvCxnSpPr>
              <p:nvPr/>
            </p:nvCxnSpPr>
            <p:spPr>
              <a:xfrm>
                <a:off x="1005246" y="2756534"/>
                <a:ext cx="23272425" cy="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57" name="Rectangle 56">
                <a:extLst>
                  <a:ext uri="{FF2B5EF4-FFF2-40B4-BE49-F238E27FC236}">
                    <a16:creationId xmlns:a16="http://schemas.microsoft.com/office/drawing/2014/main" id="{E3F9568D-80D6-B7D3-B26D-0CF99F24FA39}"/>
                  </a:ext>
                </a:extLst>
              </p:cNvPr>
              <p:cNvSpPr/>
              <p:nvPr/>
            </p:nvSpPr>
            <p:spPr>
              <a:xfrm>
                <a:off x="12275699" y="2692968"/>
                <a:ext cx="731520" cy="102868"/>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sp>
          <p:nvSpPr>
            <p:cNvPr id="54" name="L-Shape 53">
              <a:extLst>
                <a:ext uri="{FF2B5EF4-FFF2-40B4-BE49-F238E27FC236}">
                  <a16:creationId xmlns:a16="http://schemas.microsoft.com/office/drawing/2014/main" id="{97C2D747-7EA4-AB85-62EB-9712560435D7}"/>
                </a:ext>
              </a:extLst>
            </p:cNvPr>
            <p:cNvSpPr/>
            <p:nvPr/>
          </p:nvSpPr>
          <p:spPr>
            <a:xfrm rot="8100000">
              <a:off x="6248647" y="3041909"/>
              <a:ext cx="241090" cy="241090"/>
            </a:xfrm>
            <a:prstGeom prst="corner">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spTree>
    <p:extLst>
      <p:ext uri="{BB962C8B-B14F-4D97-AF65-F5344CB8AC3E}">
        <p14:creationId xmlns:p14="http://schemas.microsoft.com/office/powerpoint/2010/main" val="3292141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26D02910-881C-50EE-F448-D03745506520}"/>
              </a:ext>
            </a:extLst>
          </p:cNvPr>
          <p:cNvPicPr>
            <a:picLocks noGrp="1" noChangeAspect="1"/>
          </p:cNvPicPr>
          <p:nvPr>
            <p:ph type="pic" sz="quarter" idx="10"/>
          </p:nvPr>
        </p:nvPicPr>
        <p:blipFill rotWithShape="1">
          <a:blip r:embed="rId3"/>
          <a:srcRect l="-5632" t="13356" r="5632" b="28504"/>
          <a:stretch/>
        </p:blipFill>
        <p:spPr>
          <a:xfrm>
            <a:off x="4327525" y="0"/>
            <a:ext cx="7864475" cy="6858000"/>
          </a:xfrm>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4" name="Title 1">
            <a:extLst>
              <a:ext uri="{FF2B5EF4-FFF2-40B4-BE49-F238E27FC236}">
                <a16:creationId xmlns:a16="http://schemas.microsoft.com/office/drawing/2014/main" id="{B1CBE399-95B1-4855-23E2-3019CA5A03DE}"/>
              </a:ext>
            </a:extLst>
          </p:cNvPr>
          <p:cNvSpPr txBox="1">
            <a:spLocks/>
          </p:cNvSpPr>
          <p:nvPr/>
        </p:nvSpPr>
        <p:spPr>
          <a:xfrm>
            <a:off x="442913" y="749301"/>
            <a:ext cx="7418387" cy="3573114"/>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6000" kern="1200">
                <a:solidFill>
                  <a:schemeClr val="bg1"/>
                </a:solidFill>
                <a:latin typeface="+mj-lt"/>
                <a:ea typeface="+mj-ea"/>
                <a:cs typeface="+mj-cs"/>
              </a:defRPr>
            </a:lvl1pPr>
          </a:lstStyle>
          <a:p>
            <a:pPr>
              <a:spcAft>
                <a:spcPts val="600"/>
              </a:spcAft>
            </a:pPr>
            <a:r>
              <a:rPr lang="lv-LV" sz="4000">
                <a:cs typeface="Arial"/>
              </a:rPr>
              <a:t>2.2. Tiesiskais regulējums civilās aizsardzības sistēmas darbības nodrošināšanai</a:t>
            </a:r>
          </a:p>
        </p:txBody>
      </p:sp>
    </p:spTree>
    <p:extLst>
      <p:ext uri="{BB962C8B-B14F-4D97-AF65-F5344CB8AC3E}">
        <p14:creationId xmlns:p14="http://schemas.microsoft.com/office/powerpoint/2010/main" val="26477399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6" name="Straight Connector 55">
            <a:extLst>
              <a:ext uri="{FF2B5EF4-FFF2-40B4-BE49-F238E27FC236}">
                <a16:creationId xmlns:a16="http://schemas.microsoft.com/office/drawing/2014/main" id="{DE2C231D-EBCF-E891-0247-A043B734B43B}"/>
              </a:ext>
            </a:extLst>
          </p:cNvPr>
          <p:cNvCxnSpPr>
            <a:cxnSpLocks/>
          </p:cNvCxnSpPr>
          <p:nvPr/>
        </p:nvCxnSpPr>
        <p:spPr>
          <a:xfrm>
            <a:off x="442913" y="5301615"/>
            <a:ext cx="532393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7" name="Straight Connector 46">
            <a:extLst>
              <a:ext uri="{FF2B5EF4-FFF2-40B4-BE49-F238E27FC236}">
                <a16:creationId xmlns:a16="http://schemas.microsoft.com/office/drawing/2014/main" id="{E5719E3A-D296-88A4-B2DD-C1BBBB2C510D}"/>
              </a:ext>
            </a:extLst>
          </p:cNvPr>
          <p:cNvCxnSpPr>
            <a:cxnSpLocks/>
          </p:cNvCxnSpPr>
          <p:nvPr/>
        </p:nvCxnSpPr>
        <p:spPr>
          <a:xfrm>
            <a:off x="442913" y="3560445"/>
            <a:ext cx="532393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8" name="Straight Connector 47">
            <a:extLst>
              <a:ext uri="{FF2B5EF4-FFF2-40B4-BE49-F238E27FC236}">
                <a16:creationId xmlns:a16="http://schemas.microsoft.com/office/drawing/2014/main" id="{2F2697D9-DA60-8BE1-79DA-66E9D0D7BECC}"/>
              </a:ext>
            </a:extLst>
          </p:cNvPr>
          <p:cNvCxnSpPr>
            <a:cxnSpLocks/>
          </p:cNvCxnSpPr>
          <p:nvPr/>
        </p:nvCxnSpPr>
        <p:spPr>
          <a:xfrm>
            <a:off x="442913" y="4431030"/>
            <a:ext cx="532393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9" name="Straight Connector 48">
            <a:extLst>
              <a:ext uri="{FF2B5EF4-FFF2-40B4-BE49-F238E27FC236}">
                <a16:creationId xmlns:a16="http://schemas.microsoft.com/office/drawing/2014/main" id="{8E577F64-6C9A-A6C3-831A-F2C4EDBC0738}"/>
              </a:ext>
            </a:extLst>
          </p:cNvPr>
          <p:cNvCxnSpPr>
            <a:cxnSpLocks/>
          </p:cNvCxnSpPr>
          <p:nvPr/>
        </p:nvCxnSpPr>
        <p:spPr>
          <a:xfrm>
            <a:off x="442913" y="2689860"/>
            <a:ext cx="5982236"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3" name="Straight Connector 22">
            <a:extLst>
              <a:ext uri="{FF2B5EF4-FFF2-40B4-BE49-F238E27FC236}">
                <a16:creationId xmlns:a16="http://schemas.microsoft.com/office/drawing/2014/main" id="{E8846961-D91A-20AF-7FE8-DFABE1D41867}"/>
              </a:ext>
            </a:extLst>
          </p:cNvPr>
          <p:cNvCxnSpPr>
            <a:cxnSpLocks/>
          </p:cNvCxnSpPr>
          <p:nvPr/>
        </p:nvCxnSpPr>
        <p:spPr>
          <a:xfrm>
            <a:off x="6425149" y="2689860"/>
            <a:ext cx="532393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4" name="Straight Connector 23">
            <a:extLst>
              <a:ext uri="{FF2B5EF4-FFF2-40B4-BE49-F238E27FC236}">
                <a16:creationId xmlns:a16="http://schemas.microsoft.com/office/drawing/2014/main" id="{AC76435C-6965-2044-9A7C-81DC1657CB77}"/>
              </a:ext>
            </a:extLst>
          </p:cNvPr>
          <p:cNvCxnSpPr>
            <a:cxnSpLocks/>
          </p:cNvCxnSpPr>
          <p:nvPr/>
        </p:nvCxnSpPr>
        <p:spPr>
          <a:xfrm>
            <a:off x="6425149" y="3560445"/>
            <a:ext cx="532393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5" name="Straight Connector 24">
            <a:extLst>
              <a:ext uri="{FF2B5EF4-FFF2-40B4-BE49-F238E27FC236}">
                <a16:creationId xmlns:a16="http://schemas.microsoft.com/office/drawing/2014/main" id="{D9DA443E-4298-3849-1482-AB7D4704719D}"/>
              </a:ext>
            </a:extLst>
          </p:cNvPr>
          <p:cNvCxnSpPr>
            <a:cxnSpLocks/>
          </p:cNvCxnSpPr>
          <p:nvPr/>
        </p:nvCxnSpPr>
        <p:spPr>
          <a:xfrm>
            <a:off x="6425149" y="4431030"/>
            <a:ext cx="532393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6" name="Straight Connector 25">
            <a:extLst>
              <a:ext uri="{FF2B5EF4-FFF2-40B4-BE49-F238E27FC236}">
                <a16:creationId xmlns:a16="http://schemas.microsoft.com/office/drawing/2014/main" id="{ECC3D074-804F-5878-A908-4C986877F108}"/>
              </a:ext>
            </a:extLst>
          </p:cNvPr>
          <p:cNvCxnSpPr>
            <a:cxnSpLocks/>
          </p:cNvCxnSpPr>
          <p:nvPr/>
        </p:nvCxnSpPr>
        <p:spPr>
          <a:xfrm>
            <a:off x="6425149" y="5301615"/>
            <a:ext cx="532393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57346" name="Title 1">
            <a:extLst>
              <a:ext uri="{FF2B5EF4-FFF2-40B4-BE49-F238E27FC236}">
                <a16:creationId xmlns:a16="http://schemas.microsoft.com/office/drawing/2014/main" id="{FCA19F51-1289-1EC9-1082-2616C6DFFA9F}"/>
              </a:ext>
            </a:extLst>
          </p:cNvPr>
          <p:cNvSpPr>
            <a:spLocks noGrp="1"/>
          </p:cNvSpPr>
          <p:nvPr>
            <p:ph type="title"/>
          </p:nvPr>
        </p:nvSpPr>
        <p:spPr>
          <a:xfrm>
            <a:off x="442913" y="431800"/>
            <a:ext cx="11306175" cy="1387475"/>
          </a:xfrm>
        </p:spPr>
        <p:txBody>
          <a:bodyPr vert="horz">
            <a:normAutofit/>
          </a:bodyPr>
          <a:lstStyle/>
          <a:p>
            <a:r>
              <a:rPr lang="lv-LV" altLang="lv-LV"/>
              <a:t>Civilās aizsardzības normatīvo aktu pakļautības sistēmas skaidrojums</a:t>
            </a:r>
            <a:endParaRPr lang="lv-LV"/>
          </a:p>
        </p:txBody>
      </p:sp>
      <p:sp>
        <p:nvSpPr>
          <p:cNvPr id="4" name="Slide Number Placeholder 3">
            <a:extLst>
              <a:ext uri="{FF2B5EF4-FFF2-40B4-BE49-F238E27FC236}">
                <a16:creationId xmlns:a16="http://schemas.microsoft.com/office/drawing/2014/main" id="{5A61784A-59B7-DFB2-948F-11357F6AD9AC}"/>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62C999B-8A19-4CBE-B8CE-8064C986E16F}" type="slidenum">
              <a:rPr lang="lv-LV" altLang="en-US"/>
              <a:pPr/>
              <a:t>8</a:t>
            </a:fld>
            <a:endParaRPr lang="lv-LV" altLang="en-US"/>
          </a:p>
        </p:txBody>
      </p:sp>
      <p:sp>
        <p:nvSpPr>
          <p:cNvPr id="15" name="Freeform: Shape 14">
            <a:extLst>
              <a:ext uri="{FF2B5EF4-FFF2-40B4-BE49-F238E27FC236}">
                <a16:creationId xmlns:a16="http://schemas.microsoft.com/office/drawing/2014/main" id="{DEBA95F2-D529-A6BC-6AC4-DCFF6790B4C7}"/>
              </a:ext>
            </a:extLst>
          </p:cNvPr>
          <p:cNvSpPr/>
          <p:nvPr/>
        </p:nvSpPr>
        <p:spPr>
          <a:xfrm>
            <a:off x="3996344" y="5301615"/>
            <a:ext cx="5090160" cy="870585"/>
          </a:xfrm>
          <a:custGeom>
            <a:avLst/>
            <a:gdLst>
              <a:gd name="connsiteX0" fmla="*/ 0 w 5949107"/>
              <a:gd name="connsiteY0" fmla="*/ 977563 h 977563"/>
              <a:gd name="connsiteX1" fmla="*/ 594916 w 5949107"/>
              <a:gd name="connsiteY1" fmla="*/ 0 h 977563"/>
              <a:gd name="connsiteX2" fmla="*/ 5354191 w 5949107"/>
              <a:gd name="connsiteY2" fmla="*/ 0 h 977563"/>
              <a:gd name="connsiteX3" fmla="*/ 5949107 w 5949107"/>
              <a:gd name="connsiteY3" fmla="*/ 977563 h 977563"/>
              <a:gd name="connsiteX4" fmla="*/ 0 w 5949107"/>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9107" h="977563">
                <a:moveTo>
                  <a:pt x="0" y="977563"/>
                </a:moveTo>
                <a:lnTo>
                  <a:pt x="594916" y="0"/>
                </a:lnTo>
                <a:lnTo>
                  <a:pt x="5354191" y="0"/>
                </a:lnTo>
                <a:lnTo>
                  <a:pt x="5949107" y="977563"/>
                </a:lnTo>
                <a:lnTo>
                  <a:pt x="0" y="977563"/>
                </a:lnTo>
                <a:close/>
              </a:path>
            </a:pathLst>
          </a:custGeom>
          <a:solidFill>
            <a:srgbClr val="CFD6E8"/>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65223" tIns="24130" rIns="1065224" bIns="24130" numCol="1" spcCol="127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17" name="Rectangle 16">
            <a:extLst>
              <a:ext uri="{FF2B5EF4-FFF2-40B4-BE49-F238E27FC236}">
                <a16:creationId xmlns:a16="http://schemas.microsoft.com/office/drawing/2014/main" id="{B6F948A6-0922-23DB-91DD-ACCDC742353D}"/>
              </a:ext>
            </a:extLst>
          </p:cNvPr>
          <p:cNvSpPr/>
          <p:nvPr/>
        </p:nvSpPr>
        <p:spPr>
          <a:xfrm>
            <a:off x="6657975" y="2157617"/>
            <a:ext cx="5091113" cy="1938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a:lnSpc>
                <a:spcPct val="90000"/>
              </a:lnSpc>
              <a:spcBef>
                <a:spcPct val="0"/>
              </a:spcBef>
              <a:spcAft>
                <a:spcPct val="35000"/>
              </a:spcAft>
              <a:buNone/>
            </a:pPr>
            <a:r>
              <a:rPr lang="lv-LV" sz="1400" b="1" kern="1200">
                <a:solidFill>
                  <a:schemeClr val="tx1"/>
                </a:solidFill>
              </a:rPr>
              <a:t>Satversme</a:t>
            </a:r>
          </a:p>
        </p:txBody>
      </p:sp>
      <p:sp>
        <p:nvSpPr>
          <p:cNvPr id="18" name="Rectangle 17">
            <a:extLst>
              <a:ext uri="{FF2B5EF4-FFF2-40B4-BE49-F238E27FC236}">
                <a16:creationId xmlns:a16="http://schemas.microsoft.com/office/drawing/2014/main" id="{3D37D2FC-305C-2948-9261-01531F1B517B}"/>
              </a:ext>
            </a:extLst>
          </p:cNvPr>
          <p:cNvSpPr/>
          <p:nvPr/>
        </p:nvSpPr>
        <p:spPr>
          <a:xfrm>
            <a:off x="6657975" y="3028202"/>
            <a:ext cx="5091113" cy="1938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rtl="0">
              <a:lnSpc>
                <a:spcPct val="90000"/>
              </a:lnSpc>
              <a:spcBef>
                <a:spcPct val="0"/>
              </a:spcBef>
              <a:spcAft>
                <a:spcPct val="35000"/>
              </a:spcAft>
              <a:buNone/>
            </a:pPr>
            <a:r>
              <a:rPr lang="lv-LV" sz="1400" b="1" kern="1200">
                <a:solidFill>
                  <a:schemeClr val="tx1"/>
                </a:solidFill>
              </a:rPr>
              <a:t>Starptautisko tiesību normas</a:t>
            </a:r>
          </a:p>
        </p:txBody>
      </p:sp>
      <p:sp>
        <p:nvSpPr>
          <p:cNvPr id="19" name="Rectangle 18">
            <a:extLst>
              <a:ext uri="{FF2B5EF4-FFF2-40B4-BE49-F238E27FC236}">
                <a16:creationId xmlns:a16="http://schemas.microsoft.com/office/drawing/2014/main" id="{F2A1576E-AA22-F7BF-2F83-839482ADA18C}"/>
              </a:ext>
            </a:extLst>
          </p:cNvPr>
          <p:cNvSpPr/>
          <p:nvPr/>
        </p:nvSpPr>
        <p:spPr>
          <a:xfrm>
            <a:off x="6657975" y="3898787"/>
            <a:ext cx="5091113" cy="1938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a:lnSpc>
                <a:spcPct val="90000"/>
              </a:lnSpc>
              <a:spcBef>
                <a:spcPct val="0"/>
              </a:spcBef>
              <a:spcAft>
                <a:spcPct val="35000"/>
              </a:spcAft>
              <a:buNone/>
            </a:pPr>
            <a:r>
              <a:rPr lang="lv-LV" sz="1400" b="1" kern="1200">
                <a:solidFill>
                  <a:schemeClr val="tx1"/>
                </a:solidFill>
              </a:rPr>
              <a:t>Likumi</a:t>
            </a:r>
          </a:p>
        </p:txBody>
      </p:sp>
      <p:sp>
        <p:nvSpPr>
          <p:cNvPr id="20" name="Rectangle 19">
            <a:extLst>
              <a:ext uri="{FF2B5EF4-FFF2-40B4-BE49-F238E27FC236}">
                <a16:creationId xmlns:a16="http://schemas.microsoft.com/office/drawing/2014/main" id="{83FBD7EB-47E2-E2C9-A0E2-1AF68270CE5A}"/>
              </a:ext>
            </a:extLst>
          </p:cNvPr>
          <p:cNvSpPr/>
          <p:nvPr/>
        </p:nvSpPr>
        <p:spPr>
          <a:xfrm>
            <a:off x="6657975" y="4769372"/>
            <a:ext cx="5091113" cy="1938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rtl="0">
              <a:lnSpc>
                <a:spcPct val="90000"/>
              </a:lnSpc>
              <a:spcBef>
                <a:spcPct val="0"/>
              </a:spcBef>
              <a:spcAft>
                <a:spcPct val="35000"/>
              </a:spcAft>
              <a:buNone/>
            </a:pPr>
            <a:r>
              <a:rPr lang="lv-LV" sz="1400" b="1" kern="1200">
                <a:solidFill>
                  <a:schemeClr val="tx1"/>
                </a:solidFill>
              </a:rPr>
              <a:t>Ministru kabineta noteikumi</a:t>
            </a:r>
          </a:p>
        </p:txBody>
      </p:sp>
      <p:sp>
        <p:nvSpPr>
          <p:cNvPr id="21" name="Rectangle 20">
            <a:extLst>
              <a:ext uri="{FF2B5EF4-FFF2-40B4-BE49-F238E27FC236}">
                <a16:creationId xmlns:a16="http://schemas.microsoft.com/office/drawing/2014/main" id="{3437E61C-571D-87C4-E1D3-99CE2EEEE763}"/>
              </a:ext>
            </a:extLst>
          </p:cNvPr>
          <p:cNvSpPr/>
          <p:nvPr/>
        </p:nvSpPr>
        <p:spPr>
          <a:xfrm>
            <a:off x="6658928" y="5639957"/>
            <a:ext cx="5090160" cy="1938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rtl="0">
              <a:lnSpc>
                <a:spcPct val="90000"/>
              </a:lnSpc>
              <a:spcBef>
                <a:spcPct val="0"/>
              </a:spcBef>
              <a:spcAft>
                <a:spcPct val="35000"/>
              </a:spcAft>
              <a:buNone/>
            </a:pPr>
            <a:r>
              <a:rPr lang="lv-LV" sz="1400" b="1" kern="1200">
                <a:solidFill>
                  <a:schemeClr val="tx1"/>
                </a:solidFill>
              </a:rPr>
              <a:t>Pašvaldību saistošie noteikumi</a:t>
            </a:r>
          </a:p>
        </p:txBody>
      </p:sp>
      <p:sp>
        <p:nvSpPr>
          <p:cNvPr id="2" name="Satura vietturis 2">
            <a:extLst>
              <a:ext uri="{FF2B5EF4-FFF2-40B4-BE49-F238E27FC236}">
                <a16:creationId xmlns:a16="http://schemas.microsoft.com/office/drawing/2014/main" id="{8B4AD949-FF2D-8D8A-57E5-851CFA3552F7}"/>
              </a:ext>
            </a:extLst>
          </p:cNvPr>
          <p:cNvSpPr txBox="1">
            <a:spLocks/>
          </p:cNvSpPr>
          <p:nvPr/>
        </p:nvSpPr>
        <p:spPr>
          <a:xfrm>
            <a:off x="442913" y="1901520"/>
            <a:ext cx="4571463" cy="713043"/>
          </a:xfrm>
          <a:prstGeom prst="rect">
            <a:avLst/>
          </a:prstGeom>
          <a:noFill/>
        </p:spPr>
        <p:txBody>
          <a:bodyPr vert="horz" wrap="square" lIns="0" tIns="72000" rIns="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400">
                <a:solidFill>
                  <a:schemeClr val="tx1"/>
                </a:solidFill>
              </a:rPr>
              <a:t>Satversme nosaka cilvēka </a:t>
            </a:r>
            <a:r>
              <a:rPr lang="lv-LV" altLang="lv-LV" sz="1400" err="1">
                <a:solidFill>
                  <a:schemeClr val="tx1"/>
                </a:solidFill>
              </a:rPr>
              <a:t>pamattiesības</a:t>
            </a:r>
            <a:r>
              <a:rPr lang="lv-LV" altLang="lv-LV" sz="1400">
                <a:solidFill>
                  <a:schemeClr val="tx1"/>
                </a:solidFill>
              </a:rPr>
              <a:t> (89.-116.pants)</a:t>
            </a:r>
          </a:p>
        </p:txBody>
      </p:sp>
      <p:sp>
        <p:nvSpPr>
          <p:cNvPr id="10" name="Satura vietturis 2">
            <a:extLst>
              <a:ext uri="{FF2B5EF4-FFF2-40B4-BE49-F238E27FC236}">
                <a16:creationId xmlns:a16="http://schemas.microsoft.com/office/drawing/2014/main" id="{6FF985DB-6086-437F-AF0E-F9C8ED4A19CB}"/>
              </a:ext>
            </a:extLst>
          </p:cNvPr>
          <p:cNvSpPr txBox="1">
            <a:spLocks/>
          </p:cNvSpPr>
          <p:nvPr/>
        </p:nvSpPr>
        <p:spPr>
          <a:xfrm>
            <a:off x="442913" y="3530359"/>
            <a:ext cx="4062446" cy="900671"/>
          </a:xfrm>
          <a:prstGeom prst="rect">
            <a:avLst/>
          </a:prstGeom>
          <a:noFill/>
        </p:spPr>
        <p:txBody>
          <a:bodyPr vert="horz" wrap="square" lIns="0" tIns="72000" rIns="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400">
                <a:solidFill>
                  <a:schemeClr val="tx1"/>
                </a:solidFill>
              </a:rPr>
              <a:t>Civilās aizsardzības un katastrofas pārvaldīšanas likums (CAKPL) nosaka rīcību katastrofas vai katastrofas draudu gadījumā</a:t>
            </a:r>
          </a:p>
        </p:txBody>
      </p:sp>
      <p:sp>
        <p:nvSpPr>
          <p:cNvPr id="16" name="Satura vietturis 2">
            <a:extLst>
              <a:ext uri="{FF2B5EF4-FFF2-40B4-BE49-F238E27FC236}">
                <a16:creationId xmlns:a16="http://schemas.microsoft.com/office/drawing/2014/main" id="{5C5A71DF-F02C-D517-1E25-F9E18E4916BD}"/>
              </a:ext>
            </a:extLst>
          </p:cNvPr>
          <p:cNvSpPr txBox="1">
            <a:spLocks/>
          </p:cNvSpPr>
          <p:nvPr/>
        </p:nvSpPr>
        <p:spPr>
          <a:xfrm>
            <a:off x="442913" y="4591880"/>
            <a:ext cx="4072128" cy="619391"/>
          </a:xfrm>
          <a:prstGeom prst="rect">
            <a:avLst/>
          </a:prstGeom>
          <a:noFill/>
        </p:spPr>
        <p:txBody>
          <a:bodyPr vert="horz" wrap="square" lIns="0" tIns="72000" rIns="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400">
                <a:solidFill>
                  <a:schemeClr val="tx1"/>
                </a:solidFill>
              </a:rPr>
              <a:t>Ministru Kabineta noteikumi tiek izdoti, lai nodrošinātu civilās aizsardzības sistēmas darbību</a:t>
            </a:r>
          </a:p>
        </p:txBody>
      </p:sp>
      <p:sp>
        <p:nvSpPr>
          <p:cNvPr id="11" name="Freeform: Shape 10">
            <a:extLst>
              <a:ext uri="{FF2B5EF4-FFF2-40B4-BE49-F238E27FC236}">
                <a16:creationId xmlns:a16="http://schemas.microsoft.com/office/drawing/2014/main" id="{6B97B1CC-1E29-3BF1-7F3B-3E1A3CAFC42B}"/>
              </a:ext>
            </a:extLst>
          </p:cNvPr>
          <p:cNvSpPr/>
          <p:nvPr/>
        </p:nvSpPr>
        <p:spPr>
          <a:xfrm>
            <a:off x="6032408" y="1819275"/>
            <a:ext cx="1018032" cy="870585"/>
          </a:xfrm>
          <a:custGeom>
            <a:avLst/>
            <a:gdLst>
              <a:gd name="connsiteX0" fmla="*/ 0 w 1189821"/>
              <a:gd name="connsiteY0" fmla="*/ 977563 h 977563"/>
              <a:gd name="connsiteX1" fmla="*/ 594911 w 1189821"/>
              <a:gd name="connsiteY1" fmla="*/ 0 h 977563"/>
              <a:gd name="connsiteX2" fmla="*/ 594911 w 1189821"/>
              <a:gd name="connsiteY2" fmla="*/ 0 h 977563"/>
              <a:gd name="connsiteX3" fmla="*/ 1189821 w 1189821"/>
              <a:gd name="connsiteY3" fmla="*/ 977563 h 977563"/>
              <a:gd name="connsiteX4" fmla="*/ 0 w 1189821"/>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821" h="977563">
                <a:moveTo>
                  <a:pt x="0" y="977563"/>
                </a:moveTo>
                <a:lnTo>
                  <a:pt x="594911" y="0"/>
                </a:lnTo>
                <a:lnTo>
                  <a:pt x="594911" y="0"/>
                </a:lnTo>
                <a:lnTo>
                  <a:pt x="1189821" y="977563"/>
                </a:lnTo>
                <a:lnTo>
                  <a:pt x="0" y="977563"/>
                </a:lnTo>
                <a:close/>
              </a:path>
            </a:pathLst>
          </a:custGeom>
          <a:solidFill>
            <a:srgbClr val="D18D85"/>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endParaRPr lang="lv-LV" sz="1900" kern="1200">
              <a:solidFill>
                <a:schemeClr val="tx1"/>
              </a:solidFill>
            </a:endParaRPr>
          </a:p>
        </p:txBody>
      </p:sp>
      <p:sp>
        <p:nvSpPr>
          <p:cNvPr id="12" name="Freeform: Shape 11">
            <a:extLst>
              <a:ext uri="{FF2B5EF4-FFF2-40B4-BE49-F238E27FC236}">
                <a16:creationId xmlns:a16="http://schemas.microsoft.com/office/drawing/2014/main" id="{8C9FDD50-3ECC-4B56-4C39-6AB999970B00}"/>
              </a:ext>
            </a:extLst>
          </p:cNvPr>
          <p:cNvSpPr/>
          <p:nvPr/>
        </p:nvSpPr>
        <p:spPr>
          <a:xfrm>
            <a:off x="5523392" y="2689860"/>
            <a:ext cx="2036064" cy="870585"/>
          </a:xfrm>
          <a:custGeom>
            <a:avLst/>
            <a:gdLst>
              <a:gd name="connsiteX0" fmla="*/ 0 w 2379643"/>
              <a:gd name="connsiteY0" fmla="*/ 977563 h 977563"/>
              <a:gd name="connsiteX1" fmla="*/ 594916 w 2379643"/>
              <a:gd name="connsiteY1" fmla="*/ 0 h 977563"/>
              <a:gd name="connsiteX2" fmla="*/ 1784727 w 2379643"/>
              <a:gd name="connsiteY2" fmla="*/ 0 h 977563"/>
              <a:gd name="connsiteX3" fmla="*/ 2379643 w 2379643"/>
              <a:gd name="connsiteY3" fmla="*/ 977563 h 977563"/>
              <a:gd name="connsiteX4" fmla="*/ 0 w 2379643"/>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9643" h="977563">
                <a:moveTo>
                  <a:pt x="0" y="977563"/>
                </a:moveTo>
                <a:lnTo>
                  <a:pt x="594916" y="0"/>
                </a:lnTo>
                <a:lnTo>
                  <a:pt x="1784727" y="0"/>
                </a:lnTo>
                <a:lnTo>
                  <a:pt x="2379643" y="977563"/>
                </a:lnTo>
                <a:lnTo>
                  <a:pt x="0" y="977563"/>
                </a:lnTo>
                <a:close/>
              </a:path>
            </a:pathLst>
          </a:custGeom>
          <a:solidFill>
            <a:srgbClr val="A8192D"/>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40567" tIns="24130" rIns="440568" bIns="24130" numCol="1" spcCol="127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13" name="Freeform: Shape 12">
            <a:extLst>
              <a:ext uri="{FF2B5EF4-FFF2-40B4-BE49-F238E27FC236}">
                <a16:creationId xmlns:a16="http://schemas.microsoft.com/office/drawing/2014/main" id="{D9E2DB3C-BBE6-5407-30D9-5C89B4281328}"/>
              </a:ext>
            </a:extLst>
          </p:cNvPr>
          <p:cNvSpPr/>
          <p:nvPr/>
        </p:nvSpPr>
        <p:spPr>
          <a:xfrm>
            <a:off x="5014376" y="3560445"/>
            <a:ext cx="3054096" cy="870585"/>
          </a:xfrm>
          <a:custGeom>
            <a:avLst/>
            <a:gdLst>
              <a:gd name="connsiteX0" fmla="*/ 0 w 3569464"/>
              <a:gd name="connsiteY0" fmla="*/ 977563 h 977563"/>
              <a:gd name="connsiteX1" fmla="*/ 594916 w 3569464"/>
              <a:gd name="connsiteY1" fmla="*/ 0 h 977563"/>
              <a:gd name="connsiteX2" fmla="*/ 2974548 w 3569464"/>
              <a:gd name="connsiteY2" fmla="*/ 0 h 977563"/>
              <a:gd name="connsiteX3" fmla="*/ 3569464 w 3569464"/>
              <a:gd name="connsiteY3" fmla="*/ 977563 h 977563"/>
              <a:gd name="connsiteX4" fmla="*/ 0 w 3569464"/>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9464" h="977563">
                <a:moveTo>
                  <a:pt x="0" y="977563"/>
                </a:moveTo>
                <a:lnTo>
                  <a:pt x="594916" y="0"/>
                </a:lnTo>
                <a:lnTo>
                  <a:pt x="2974548" y="0"/>
                </a:lnTo>
                <a:lnTo>
                  <a:pt x="3569464" y="977563"/>
                </a:lnTo>
                <a:lnTo>
                  <a:pt x="0" y="977563"/>
                </a:lnTo>
                <a:close/>
              </a:path>
            </a:pathLst>
          </a:custGeom>
          <a:solidFill>
            <a:srgbClr val="A4A3B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48786" tIns="24130" rIns="648786" bIns="24130" numCol="1" spcCol="1270" anchor="ctr" anchorCtr="0">
            <a:noAutofit/>
          </a:bodyPr>
          <a:lstStyle/>
          <a:p>
            <a:pPr marL="0" lvl="0" indent="0" algn="ctr" defTabSz="844550">
              <a:lnSpc>
                <a:spcPct val="90000"/>
              </a:lnSpc>
              <a:spcBef>
                <a:spcPct val="0"/>
              </a:spcBef>
              <a:spcAft>
                <a:spcPct val="35000"/>
              </a:spcAft>
              <a:buNone/>
            </a:pPr>
            <a:endParaRPr lang="lv-LV" sz="1900" kern="1200">
              <a:solidFill>
                <a:schemeClr val="tx1"/>
              </a:solidFill>
            </a:endParaRPr>
          </a:p>
        </p:txBody>
      </p:sp>
      <p:sp>
        <p:nvSpPr>
          <p:cNvPr id="14" name="Freeform: Shape 13">
            <a:extLst>
              <a:ext uri="{FF2B5EF4-FFF2-40B4-BE49-F238E27FC236}">
                <a16:creationId xmlns:a16="http://schemas.microsoft.com/office/drawing/2014/main" id="{139E8CFE-F242-9EAC-2FA5-46CE02F3EA12}"/>
              </a:ext>
            </a:extLst>
          </p:cNvPr>
          <p:cNvSpPr/>
          <p:nvPr/>
        </p:nvSpPr>
        <p:spPr>
          <a:xfrm>
            <a:off x="4505359" y="4431030"/>
            <a:ext cx="4072128" cy="870585"/>
          </a:xfrm>
          <a:custGeom>
            <a:avLst/>
            <a:gdLst>
              <a:gd name="connsiteX0" fmla="*/ 0 w 4759286"/>
              <a:gd name="connsiteY0" fmla="*/ 977563 h 977563"/>
              <a:gd name="connsiteX1" fmla="*/ 594916 w 4759286"/>
              <a:gd name="connsiteY1" fmla="*/ 0 h 977563"/>
              <a:gd name="connsiteX2" fmla="*/ 4164370 w 4759286"/>
              <a:gd name="connsiteY2" fmla="*/ 0 h 977563"/>
              <a:gd name="connsiteX3" fmla="*/ 4759286 w 4759286"/>
              <a:gd name="connsiteY3" fmla="*/ 977563 h 977563"/>
              <a:gd name="connsiteX4" fmla="*/ 0 w 4759286"/>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9286" h="977563">
                <a:moveTo>
                  <a:pt x="0" y="977563"/>
                </a:moveTo>
                <a:lnTo>
                  <a:pt x="594916" y="0"/>
                </a:lnTo>
                <a:lnTo>
                  <a:pt x="4164370" y="0"/>
                </a:lnTo>
                <a:lnTo>
                  <a:pt x="4759286" y="977563"/>
                </a:lnTo>
                <a:lnTo>
                  <a:pt x="0" y="977563"/>
                </a:lnTo>
                <a:close/>
              </a:path>
            </a:pathLst>
          </a:custGeom>
          <a:solidFill>
            <a:srgbClr val="525A7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7005" tIns="24130" rIns="857005" bIns="24130" numCol="1" spcCol="127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50" name="Google Shape;1488;p91">
            <a:extLst>
              <a:ext uri="{FF2B5EF4-FFF2-40B4-BE49-F238E27FC236}">
                <a16:creationId xmlns:a16="http://schemas.microsoft.com/office/drawing/2014/main" id="{D9C6F400-E18F-9139-A3C2-56BDA98A0FB1}"/>
              </a:ext>
            </a:extLst>
          </p:cNvPr>
          <p:cNvSpPr/>
          <p:nvPr/>
        </p:nvSpPr>
        <p:spPr>
          <a:xfrm>
            <a:off x="6361424" y="2254567"/>
            <a:ext cx="360000" cy="360000"/>
          </a:xfrm>
          <a:custGeom>
            <a:avLst/>
            <a:gdLst/>
            <a:ahLst/>
            <a:cxnLst/>
            <a:rect l="l" t="t" r="r" b="b"/>
            <a:pathLst>
              <a:path w="395" h="396" extrusionOk="0">
                <a:moveTo>
                  <a:pt x="0" y="0"/>
                </a:moveTo>
                <a:lnTo>
                  <a:pt x="0" y="396"/>
                </a:lnTo>
                <a:lnTo>
                  <a:pt x="395" y="396"/>
                </a:lnTo>
                <a:lnTo>
                  <a:pt x="395" y="0"/>
                </a:lnTo>
                <a:lnTo>
                  <a:pt x="0" y="0"/>
                </a:lnTo>
                <a:close/>
                <a:moveTo>
                  <a:pt x="378" y="379"/>
                </a:moveTo>
                <a:lnTo>
                  <a:pt x="17" y="379"/>
                </a:lnTo>
                <a:lnTo>
                  <a:pt x="17" y="16"/>
                </a:lnTo>
                <a:lnTo>
                  <a:pt x="378" y="16"/>
                </a:lnTo>
                <a:lnTo>
                  <a:pt x="378" y="379"/>
                </a:lnTo>
                <a:close/>
                <a:moveTo>
                  <a:pt x="343" y="346"/>
                </a:moveTo>
                <a:lnTo>
                  <a:pt x="50" y="346"/>
                </a:lnTo>
                <a:lnTo>
                  <a:pt x="50" y="329"/>
                </a:lnTo>
                <a:lnTo>
                  <a:pt x="343" y="329"/>
                </a:lnTo>
                <a:lnTo>
                  <a:pt x="343" y="346"/>
                </a:lnTo>
                <a:close/>
                <a:moveTo>
                  <a:pt x="343" y="140"/>
                </a:moveTo>
                <a:lnTo>
                  <a:pt x="207" y="140"/>
                </a:lnTo>
                <a:lnTo>
                  <a:pt x="207" y="115"/>
                </a:lnTo>
                <a:lnTo>
                  <a:pt x="237" y="115"/>
                </a:lnTo>
                <a:lnTo>
                  <a:pt x="237" y="130"/>
                </a:lnTo>
                <a:lnTo>
                  <a:pt x="289" y="130"/>
                </a:lnTo>
                <a:lnTo>
                  <a:pt x="289" y="75"/>
                </a:lnTo>
                <a:lnTo>
                  <a:pt x="255" y="75"/>
                </a:lnTo>
                <a:lnTo>
                  <a:pt x="255" y="54"/>
                </a:lnTo>
                <a:lnTo>
                  <a:pt x="190" y="54"/>
                </a:lnTo>
                <a:lnTo>
                  <a:pt x="190" y="140"/>
                </a:lnTo>
                <a:lnTo>
                  <a:pt x="50" y="140"/>
                </a:lnTo>
                <a:lnTo>
                  <a:pt x="50" y="157"/>
                </a:lnTo>
                <a:lnTo>
                  <a:pt x="343" y="157"/>
                </a:lnTo>
                <a:lnTo>
                  <a:pt x="343" y="140"/>
                </a:lnTo>
                <a:close/>
                <a:moveTo>
                  <a:pt x="273" y="92"/>
                </a:moveTo>
                <a:lnTo>
                  <a:pt x="273" y="114"/>
                </a:lnTo>
                <a:lnTo>
                  <a:pt x="255" y="114"/>
                </a:lnTo>
                <a:lnTo>
                  <a:pt x="255" y="92"/>
                </a:lnTo>
                <a:lnTo>
                  <a:pt x="273" y="92"/>
                </a:lnTo>
                <a:close/>
                <a:moveTo>
                  <a:pt x="207" y="71"/>
                </a:moveTo>
                <a:lnTo>
                  <a:pt x="237" y="71"/>
                </a:lnTo>
                <a:lnTo>
                  <a:pt x="237" y="75"/>
                </a:lnTo>
                <a:lnTo>
                  <a:pt x="237" y="98"/>
                </a:lnTo>
                <a:lnTo>
                  <a:pt x="207" y="98"/>
                </a:lnTo>
                <a:lnTo>
                  <a:pt x="207" y="71"/>
                </a:lnTo>
                <a:close/>
                <a:moveTo>
                  <a:pt x="123" y="320"/>
                </a:moveTo>
                <a:lnTo>
                  <a:pt x="123" y="167"/>
                </a:lnTo>
                <a:lnTo>
                  <a:pt x="73" y="167"/>
                </a:lnTo>
                <a:lnTo>
                  <a:pt x="73" y="320"/>
                </a:lnTo>
                <a:lnTo>
                  <a:pt x="123" y="320"/>
                </a:lnTo>
                <a:close/>
                <a:moveTo>
                  <a:pt x="90" y="185"/>
                </a:moveTo>
                <a:lnTo>
                  <a:pt x="106" y="185"/>
                </a:lnTo>
                <a:lnTo>
                  <a:pt x="106" y="302"/>
                </a:lnTo>
                <a:lnTo>
                  <a:pt x="90" y="302"/>
                </a:lnTo>
                <a:lnTo>
                  <a:pt x="90" y="185"/>
                </a:lnTo>
                <a:close/>
                <a:moveTo>
                  <a:pt x="189" y="320"/>
                </a:moveTo>
                <a:lnTo>
                  <a:pt x="189" y="167"/>
                </a:lnTo>
                <a:lnTo>
                  <a:pt x="138" y="167"/>
                </a:lnTo>
                <a:lnTo>
                  <a:pt x="138" y="320"/>
                </a:lnTo>
                <a:lnTo>
                  <a:pt x="189" y="320"/>
                </a:lnTo>
                <a:close/>
                <a:moveTo>
                  <a:pt x="155" y="185"/>
                </a:moveTo>
                <a:lnTo>
                  <a:pt x="172" y="185"/>
                </a:lnTo>
                <a:lnTo>
                  <a:pt x="172" y="302"/>
                </a:lnTo>
                <a:lnTo>
                  <a:pt x="155" y="302"/>
                </a:lnTo>
                <a:lnTo>
                  <a:pt x="155" y="185"/>
                </a:lnTo>
                <a:close/>
                <a:moveTo>
                  <a:pt x="255" y="320"/>
                </a:moveTo>
                <a:lnTo>
                  <a:pt x="255" y="167"/>
                </a:lnTo>
                <a:lnTo>
                  <a:pt x="204" y="167"/>
                </a:lnTo>
                <a:lnTo>
                  <a:pt x="204" y="320"/>
                </a:lnTo>
                <a:lnTo>
                  <a:pt x="255" y="320"/>
                </a:lnTo>
                <a:close/>
                <a:moveTo>
                  <a:pt x="220" y="185"/>
                </a:moveTo>
                <a:lnTo>
                  <a:pt x="237" y="185"/>
                </a:lnTo>
                <a:lnTo>
                  <a:pt x="237" y="302"/>
                </a:lnTo>
                <a:lnTo>
                  <a:pt x="220" y="302"/>
                </a:lnTo>
                <a:lnTo>
                  <a:pt x="220" y="185"/>
                </a:lnTo>
                <a:close/>
                <a:moveTo>
                  <a:pt x="320" y="320"/>
                </a:moveTo>
                <a:lnTo>
                  <a:pt x="320" y="167"/>
                </a:lnTo>
                <a:lnTo>
                  <a:pt x="269" y="167"/>
                </a:lnTo>
                <a:lnTo>
                  <a:pt x="269" y="320"/>
                </a:lnTo>
                <a:lnTo>
                  <a:pt x="320" y="320"/>
                </a:lnTo>
                <a:close/>
                <a:moveTo>
                  <a:pt x="287" y="185"/>
                </a:moveTo>
                <a:lnTo>
                  <a:pt x="304" y="185"/>
                </a:lnTo>
                <a:lnTo>
                  <a:pt x="304" y="302"/>
                </a:lnTo>
                <a:lnTo>
                  <a:pt x="287" y="302"/>
                </a:lnTo>
                <a:lnTo>
                  <a:pt x="287" y="185"/>
                </a:lnTo>
                <a:close/>
              </a:path>
            </a:pathLst>
          </a:custGeom>
          <a:solidFill>
            <a:schemeClr val="dk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800">
              <a:solidFill>
                <a:schemeClr val="accent1"/>
              </a:solidFill>
              <a:latin typeface="Arial"/>
              <a:ea typeface="Arial"/>
              <a:cs typeface="Arial"/>
              <a:sym typeface="Arial"/>
            </a:endParaRPr>
          </a:p>
        </p:txBody>
      </p:sp>
      <p:sp>
        <p:nvSpPr>
          <p:cNvPr id="51" name="Google Shape;1490;p91">
            <a:extLst>
              <a:ext uri="{FF2B5EF4-FFF2-40B4-BE49-F238E27FC236}">
                <a16:creationId xmlns:a16="http://schemas.microsoft.com/office/drawing/2014/main" id="{068E7E96-E629-666A-2597-2420A976A69C}"/>
              </a:ext>
            </a:extLst>
          </p:cNvPr>
          <p:cNvSpPr/>
          <p:nvPr/>
        </p:nvSpPr>
        <p:spPr>
          <a:xfrm>
            <a:off x="6361424" y="2945152"/>
            <a:ext cx="360000" cy="360000"/>
          </a:xfrm>
          <a:custGeom>
            <a:avLst/>
            <a:gdLst/>
            <a:ahLst/>
            <a:cxnLst/>
            <a:rect l="l" t="t" r="r" b="b"/>
            <a:pathLst>
              <a:path w="346" h="346" extrusionOk="0">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800">
              <a:solidFill>
                <a:schemeClr val="accent1"/>
              </a:solidFill>
              <a:latin typeface="Arial"/>
              <a:ea typeface="Arial"/>
              <a:cs typeface="Arial"/>
              <a:sym typeface="Arial"/>
            </a:endParaRPr>
          </a:p>
        </p:txBody>
      </p:sp>
      <p:sp>
        <p:nvSpPr>
          <p:cNvPr id="52" name="Google Shape;1984;p97">
            <a:extLst>
              <a:ext uri="{FF2B5EF4-FFF2-40B4-BE49-F238E27FC236}">
                <a16:creationId xmlns:a16="http://schemas.microsoft.com/office/drawing/2014/main" id="{E8420F17-C1A2-D0B0-3F70-100604EAB0E7}"/>
              </a:ext>
            </a:extLst>
          </p:cNvPr>
          <p:cNvSpPr/>
          <p:nvPr/>
        </p:nvSpPr>
        <p:spPr>
          <a:xfrm>
            <a:off x="6361424" y="3815737"/>
            <a:ext cx="360000" cy="360000"/>
          </a:xfrm>
          <a:custGeom>
            <a:avLst/>
            <a:gdLst/>
            <a:ahLst/>
            <a:cxnLst/>
            <a:rect l="l" t="t" r="r" b="b"/>
            <a:pathLst>
              <a:path w="453744" h="453590" extrusionOk="0">
                <a:moveTo>
                  <a:pt x="357292" y="0"/>
                </a:moveTo>
                <a:lnTo>
                  <a:pt x="0" y="0"/>
                </a:lnTo>
                <a:lnTo>
                  <a:pt x="0" y="453590"/>
                </a:lnTo>
                <a:lnTo>
                  <a:pt x="453744" y="453590"/>
                </a:lnTo>
                <a:lnTo>
                  <a:pt x="453744" y="96419"/>
                </a:lnTo>
                <a:close/>
                <a:moveTo>
                  <a:pt x="362964" y="33074"/>
                </a:moveTo>
                <a:lnTo>
                  <a:pt x="423936" y="94025"/>
                </a:lnTo>
                <a:lnTo>
                  <a:pt x="362964" y="94025"/>
                </a:lnTo>
                <a:close/>
                <a:moveTo>
                  <a:pt x="19505" y="434250"/>
                </a:moveTo>
                <a:lnTo>
                  <a:pt x="19505" y="19372"/>
                </a:lnTo>
                <a:lnTo>
                  <a:pt x="343585" y="19372"/>
                </a:lnTo>
                <a:lnTo>
                  <a:pt x="343585" y="113398"/>
                </a:lnTo>
                <a:lnTo>
                  <a:pt x="434365" y="113398"/>
                </a:lnTo>
                <a:lnTo>
                  <a:pt x="434365" y="434250"/>
                </a:lnTo>
                <a:close/>
                <a:moveTo>
                  <a:pt x="224036" y="80953"/>
                </a:moveTo>
                <a:cubicBezTo>
                  <a:pt x="242942" y="80953"/>
                  <a:pt x="257500" y="86141"/>
                  <a:pt x="267709" y="96514"/>
                </a:cubicBezTo>
                <a:cubicBezTo>
                  <a:pt x="277918" y="106887"/>
                  <a:pt x="283265" y="121713"/>
                  <a:pt x="283748" y="140991"/>
                </a:cubicBezTo>
                <a:lnTo>
                  <a:pt x="256176" y="140991"/>
                </a:lnTo>
                <a:cubicBezTo>
                  <a:pt x="256438" y="131488"/>
                  <a:pt x="253132" y="122227"/>
                  <a:pt x="246912" y="115035"/>
                </a:cubicBezTo>
                <a:cubicBezTo>
                  <a:pt x="240878" y="108509"/>
                  <a:pt x="232289" y="104953"/>
                  <a:pt x="223406" y="105302"/>
                </a:cubicBezTo>
                <a:cubicBezTo>
                  <a:pt x="213669" y="105302"/>
                  <a:pt x="206076" y="107791"/>
                  <a:pt x="200687" y="112736"/>
                </a:cubicBezTo>
                <a:cubicBezTo>
                  <a:pt x="195138" y="118047"/>
                  <a:pt x="192170" y="125509"/>
                  <a:pt x="192558" y="133179"/>
                </a:cubicBezTo>
                <a:cubicBezTo>
                  <a:pt x="192876" y="140840"/>
                  <a:pt x="196288" y="148044"/>
                  <a:pt x="202011" y="153150"/>
                </a:cubicBezTo>
                <a:cubicBezTo>
                  <a:pt x="208313" y="159450"/>
                  <a:pt x="219184" y="166641"/>
                  <a:pt x="234624" y="174727"/>
                </a:cubicBezTo>
                <a:cubicBezTo>
                  <a:pt x="259832" y="187034"/>
                  <a:pt x="277090" y="198436"/>
                  <a:pt x="286395" y="208935"/>
                </a:cubicBezTo>
                <a:cubicBezTo>
                  <a:pt x="295198" y="218435"/>
                  <a:pt x="300123" y="230887"/>
                  <a:pt x="300196" y="243836"/>
                </a:cubicBezTo>
                <a:cubicBezTo>
                  <a:pt x="300155" y="253888"/>
                  <a:pt x="297032" y="263684"/>
                  <a:pt x="291247" y="271902"/>
                </a:cubicBezTo>
                <a:cubicBezTo>
                  <a:pt x="285147" y="280804"/>
                  <a:pt x="276488" y="287645"/>
                  <a:pt x="266417" y="291526"/>
                </a:cubicBezTo>
                <a:cubicBezTo>
                  <a:pt x="278911" y="300485"/>
                  <a:pt x="286092" y="315097"/>
                  <a:pt x="285544" y="330459"/>
                </a:cubicBezTo>
                <a:cubicBezTo>
                  <a:pt x="285944" y="344940"/>
                  <a:pt x="279585" y="358780"/>
                  <a:pt x="268339" y="367912"/>
                </a:cubicBezTo>
                <a:cubicBezTo>
                  <a:pt x="256870" y="377551"/>
                  <a:pt x="242375" y="382370"/>
                  <a:pt x="224855" y="382370"/>
                </a:cubicBezTo>
                <a:cubicBezTo>
                  <a:pt x="206454" y="382370"/>
                  <a:pt x="191360" y="377119"/>
                  <a:pt x="179576" y="366621"/>
                </a:cubicBezTo>
                <a:cubicBezTo>
                  <a:pt x="167791" y="356122"/>
                  <a:pt x="161142" y="340927"/>
                  <a:pt x="159630" y="321041"/>
                </a:cubicBezTo>
                <a:lnTo>
                  <a:pt x="187201" y="321041"/>
                </a:lnTo>
                <a:cubicBezTo>
                  <a:pt x="187081" y="331096"/>
                  <a:pt x="190866" y="340807"/>
                  <a:pt x="197757" y="348130"/>
                </a:cubicBezTo>
                <a:cubicBezTo>
                  <a:pt x="204840" y="354912"/>
                  <a:pt x="214397" y="358488"/>
                  <a:pt x="224194" y="358021"/>
                </a:cubicBezTo>
                <a:cubicBezTo>
                  <a:pt x="232537" y="358267"/>
                  <a:pt x="240718" y="355693"/>
                  <a:pt x="247417" y="350713"/>
                </a:cubicBezTo>
                <a:cubicBezTo>
                  <a:pt x="253602" y="346121"/>
                  <a:pt x="257134" y="338785"/>
                  <a:pt x="256870" y="331089"/>
                </a:cubicBezTo>
                <a:cubicBezTo>
                  <a:pt x="256844" y="325624"/>
                  <a:pt x="255017" y="320323"/>
                  <a:pt x="251670" y="316001"/>
                </a:cubicBezTo>
                <a:cubicBezTo>
                  <a:pt x="247666" y="310835"/>
                  <a:pt x="242907" y="306303"/>
                  <a:pt x="237554" y="302551"/>
                </a:cubicBezTo>
                <a:cubicBezTo>
                  <a:pt x="231589" y="298226"/>
                  <a:pt x="217145" y="289825"/>
                  <a:pt x="194228" y="277351"/>
                </a:cubicBezTo>
                <a:cubicBezTo>
                  <a:pt x="177108" y="268258"/>
                  <a:pt x="164451" y="258631"/>
                  <a:pt x="156258" y="248467"/>
                </a:cubicBezTo>
                <a:cubicBezTo>
                  <a:pt x="148066" y="238396"/>
                  <a:pt x="143692" y="225756"/>
                  <a:pt x="143906" y="212778"/>
                </a:cubicBezTo>
                <a:cubicBezTo>
                  <a:pt x="144079" y="203019"/>
                  <a:pt x="147394" y="193573"/>
                  <a:pt x="153359" y="185846"/>
                </a:cubicBezTo>
                <a:cubicBezTo>
                  <a:pt x="159538" y="177253"/>
                  <a:pt x="168408" y="170966"/>
                  <a:pt x="178567" y="167986"/>
                </a:cubicBezTo>
                <a:cubicBezTo>
                  <a:pt x="174105" y="163122"/>
                  <a:pt x="170340" y="157664"/>
                  <a:pt x="167381" y="151764"/>
                </a:cubicBezTo>
                <a:cubicBezTo>
                  <a:pt x="164788" y="146075"/>
                  <a:pt x="163515" y="139873"/>
                  <a:pt x="163663" y="133620"/>
                </a:cubicBezTo>
                <a:cubicBezTo>
                  <a:pt x="163439" y="119168"/>
                  <a:pt x="169763" y="105390"/>
                  <a:pt x="180868" y="96136"/>
                </a:cubicBezTo>
                <a:cubicBezTo>
                  <a:pt x="192791" y="85839"/>
                  <a:pt x="208161" y="80418"/>
                  <a:pt x="223910" y="80953"/>
                </a:cubicBezTo>
                <a:close/>
                <a:moveTo>
                  <a:pt x="170816" y="211392"/>
                </a:moveTo>
                <a:cubicBezTo>
                  <a:pt x="170712" y="219355"/>
                  <a:pt x="173743" y="227038"/>
                  <a:pt x="179260" y="232780"/>
                </a:cubicBezTo>
                <a:cubicBezTo>
                  <a:pt x="184869" y="238850"/>
                  <a:pt x="197095" y="246860"/>
                  <a:pt x="215938" y="256814"/>
                </a:cubicBezTo>
                <a:cubicBezTo>
                  <a:pt x="227789" y="263161"/>
                  <a:pt x="239240" y="270230"/>
                  <a:pt x="250221" y="277982"/>
                </a:cubicBezTo>
                <a:cubicBezTo>
                  <a:pt x="265787" y="271263"/>
                  <a:pt x="273570" y="261202"/>
                  <a:pt x="273570" y="247805"/>
                </a:cubicBezTo>
                <a:cubicBezTo>
                  <a:pt x="273214" y="241285"/>
                  <a:pt x="270696" y="235067"/>
                  <a:pt x="266417" y="230134"/>
                </a:cubicBezTo>
                <a:cubicBezTo>
                  <a:pt x="261668" y="223960"/>
                  <a:pt x="250211" y="215559"/>
                  <a:pt x="232040" y="204935"/>
                </a:cubicBezTo>
                <a:cubicBezTo>
                  <a:pt x="219083" y="197929"/>
                  <a:pt x="206513" y="190231"/>
                  <a:pt x="194385" y="181877"/>
                </a:cubicBezTo>
                <a:cubicBezTo>
                  <a:pt x="187560" y="184117"/>
                  <a:pt x="181529" y="188284"/>
                  <a:pt x="177023" y="193878"/>
                </a:cubicBezTo>
                <a:cubicBezTo>
                  <a:pt x="172974" y="198824"/>
                  <a:pt x="170740" y="205004"/>
                  <a:pt x="170690" y="211392"/>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lv-LV" sz="1800">
              <a:solidFill>
                <a:schemeClr val="dk1"/>
              </a:solidFill>
              <a:latin typeface="Arial"/>
              <a:ea typeface="Arial"/>
              <a:cs typeface="Arial"/>
              <a:sym typeface="Arial"/>
            </a:endParaRPr>
          </a:p>
        </p:txBody>
      </p:sp>
      <p:sp>
        <p:nvSpPr>
          <p:cNvPr id="53" name="Google Shape;1973;p97">
            <a:extLst>
              <a:ext uri="{FF2B5EF4-FFF2-40B4-BE49-F238E27FC236}">
                <a16:creationId xmlns:a16="http://schemas.microsoft.com/office/drawing/2014/main" id="{EA8EB5DA-D7B9-D8AD-98EA-8F9A80E795EF}"/>
              </a:ext>
            </a:extLst>
          </p:cNvPr>
          <p:cNvSpPr/>
          <p:nvPr/>
        </p:nvSpPr>
        <p:spPr>
          <a:xfrm>
            <a:off x="6361424" y="4686322"/>
            <a:ext cx="360000" cy="360000"/>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800">
              <a:solidFill>
                <a:schemeClr val="accent1"/>
              </a:solidFill>
              <a:latin typeface="Arial"/>
              <a:ea typeface="Arial"/>
              <a:cs typeface="Arial"/>
              <a:sym typeface="Arial"/>
            </a:endParaRPr>
          </a:p>
        </p:txBody>
      </p:sp>
      <p:sp>
        <p:nvSpPr>
          <p:cNvPr id="54" name="Google Shape;1978;p97">
            <a:extLst>
              <a:ext uri="{FF2B5EF4-FFF2-40B4-BE49-F238E27FC236}">
                <a16:creationId xmlns:a16="http://schemas.microsoft.com/office/drawing/2014/main" id="{F5A3FD28-E92B-ED1F-7D12-3226BF4AC422}"/>
              </a:ext>
            </a:extLst>
          </p:cNvPr>
          <p:cNvSpPr/>
          <p:nvPr/>
        </p:nvSpPr>
        <p:spPr>
          <a:xfrm>
            <a:off x="6361424" y="5556907"/>
            <a:ext cx="360000" cy="360000"/>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sp>
        <p:nvSpPr>
          <p:cNvPr id="3" name="Rectangle 2">
            <a:extLst>
              <a:ext uri="{FF2B5EF4-FFF2-40B4-BE49-F238E27FC236}">
                <a16:creationId xmlns:a16="http://schemas.microsoft.com/office/drawing/2014/main" id="{AF59673E-73CB-6DB6-BB7C-CE1C0484AA98}"/>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rgbClr val="A4A3B2"/>
                </a:solidFill>
                <a:effectLst/>
                <a:uLnTx/>
                <a:uFillTx/>
                <a:ea typeface="Georgia"/>
                <a:cs typeface="Georgia"/>
                <a:sym typeface="Georgia"/>
              </a:rPr>
              <a:t>2. CIVILĀS AIZSARDZĪBAS SISTĒMA UN NORMATĪVAIS UN POLITIKAS PLĀNOŠANAS IETVARS</a:t>
            </a:r>
          </a:p>
        </p:txBody>
      </p:sp>
      <p:grpSp>
        <p:nvGrpSpPr>
          <p:cNvPr id="6" name="Group 5">
            <a:extLst>
              <a:ext uri="{FF2B5EF4-FFF2-40B4-BE49-F238E27FC236}">
                <a16:creationId xmlns:a16="http://schemas.microsoft.com/office/drawing/2014/main" id="{2EB936C7-DBDF-E055-71C8-DEF660CB3AA8}"/>
              </a:ext>
            </a:extLst>
          </p:cNvPr>
          <p:cNvGrpSpPr/>
          <p:nvPr/>
        </p:nvGrpSpPr>
        <p:grpSpPr>
          <a:xfrm>
            <a:off x="6635744" y="132067"/>
            <a:ext cx="5113344" cy="217488"/>
            <a:chOff x="6393917" y="132067"/>
            <a:chExt cx="5113344" cy="217488"/>
          </a:xfrm>
        </p:grpSpPr>
        <p:sp>
          <p:nvSpPr>
            <p:cNvPr id="7" name="Rectangle 6">
              <a:extLst>
                <a:ext uri="{FF2B5EF4-FFF2-40B4-BE49-F238E27FC236}">
                  <a16:creationId xmlns:a16="http://schemas.microsoft.com/office/drawing/2014/main" id="{5D451561-8CEB-8D36-A0AE-D78D954597E0}"/>
                </a:ext>
              </a:extLst>
            </p:cNvPr>
            <p:cNvSpPr/>
            <p:nvPr/>
          </p:nvSpPr>
          <p:spPr>
            <a:xfrm>
              <a:off x="639391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1</a:t>
              </a:r>
            </a:p>
          </p:txBody>
        </p:sp>
        <p:sp>
          <p:nvSpPr>
            <p:cNvPr id="8" name="Rectangle 7">
              <a:extLst>
                <a:ext uri="{FF2B5EF4-FFF2-40B4-BE49-F238E27FC236}">
                  <a16:creationId xmlns:a16="http://schemas.microsoft.com/office/drawing/2014/main" id="{B85A1D09-0367-64BC-7801-9B9431631A78}"/>
                </a:ext>
              </a:extLst>
            </p:cNvPr>
            <p:cNvSpPr/>
            <p:nvPr/>
          </p:nvSpPr>
          <p:spPr>
            <a:xfrm>
              <a:off x="6635744"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2</a:t>
              </a:r>
            </a:p>
          </p:txBody>
        </p:sp>
        <p:sp>
          <p:nvSpPr>
            <p:cNvPr id="9" name="Rectangle 8">
              <a:extLst>
                <a:ext uri="{FF2B5EF4-FFF2-40B4-BE49-F238E27FC236}">
                  <a16:creationId xmlns:a16="http://schemas.microsoft.com/office/drawing/2014/main" id="{68FCCA4E-5399-0011-B276-61D5ADFBFE2C}"/>
                </a:ext>
              </a:extLst>
            </p:cNvPr>
            <p:cNvSpPr/>
            <p:nvPr/>
          </p:nvSpPr>
          <p:spPr>
            <a:xfrm>
              <a:off x="6877571" y="132067"/>
              <a:ext cx="390420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lv-LV" sz="800" b="1">
                  <a:cs typeface="Arial"/>
                </a:rPr>
                <a:t>Tiesiskais regulējums civilās aizsardzības sistēmas darbības nodrošināšanai</a:t>
              </a:r>
            </a:p>
          </p:txBody>
        </p:sp>
        <p:sp>
          <p:nvSpPr>
            <p:cNvPr id="22" name="Rectangle 21">
              <a:extLst>
                <a:ext uri="{FF2B5EF4-FFF2-40B4-BE49-F238E27FC236}">
                  <a16:creationId xmlns:a16="http://schemas.microsoft.com/office/drawing/2014/main" id="{647D0E22-C64E-781D-284F-D65BAFC4FE62}"/>
                </a:ext>
              </a:extLst>
            </p:cNvPr>
            <p:cNvSpPr/>
            <p:nvPr/>
          </p:nvSpPr>
          <p:spPr>
            <a:xfrm>
              <a:off x="1080760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27" name="Rectangle 26">
              <a:extLst>
                <a:ext uri="{FF2B5EF4-FFF2-40B4-BE49-F238E27FC236}">
                  <a16:creationId xmlns:a16="http://schemas.microsoft.com/office/drawing/2014/main" id="{CB35E1F8-FD06-AECA-B963-42DD6AEAC164}"/>
                </a:ext>
              </a:extLst>
            </p:cNvPr>
            <p:cNvSpPr/>
            <p:nvPr/>
          </p:nvSpPr>
          <p:spPr>
            <a:xfrm>
              <a:off x="1104943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28" name="Rectangle 27">
              <a:extLst>
                <a:ext uri="{FF2B5EF4-FFF2-40B4-BE49-F238E27FC236}">
                  <a16:creationId xmlns:a16="http://schemas.microsoft.com/office/drawing/2014/main" id="{3E861C96-F477-B536-9C08-003FEBC3B374}"/>
                </a:ext>
              </a:extLst>
            </p:cNvPr>
            <p:cNvSpPr/>
            <p:nvPr/>
          </p:nvSpPr>
          <p:spPr>
            <a:xfrm>
              <a:off x="11291261"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grpSp>
    </p:spTree>
    <p:extLst>
      <p:ext uri="{BB962C8B-B14F-4D97-AF65-F5344CB8AC3E}">
        <p14:creationId xmlns:p14="http://schemas.microsoft.com/office/powerpoint/2010/main" val="3653973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E94534AD-FA19-97C1-A2D3-EB1064D893A3}"/>
              </a:ext>
            </a:extLst>
          </p:cNvPr>
          <p:cNvCxnSpPr>
            <a:cxnSpLocks/>
          </p:cNvCxnSpPr>
          <p:nvPr/>
        </p:nvCxnSpPr>
        <p:spPr>
          <a:xfrm>
            <a:off x="5078480" y="3313119"/>
            <a:ext cx="2011680" cy="0"/>
          </a:xfrm>
          <a:prstGeom prst="line">
            <a:avLst/>
          </a:prstGeom>
          <a:ln w="38100" cap="sq">
            <a:solidFill>
              <a:srgbClr val="A8192D"/>
            </a:solidFill>
          </a:ln>
        </p:spPr>
        <p:style>
          <a:lnRef idx="1">
            <a:schemeClr val="accent1"/>
          </a:lnRef>
          <a:fillRef idx="0">
            <a:schemeClr val="accent1"/>
          </a:fillRef>
          <a:effectRef idx="0">
            <a:schemeClr val="dk1"/>
          </a:effectRef>
          <a:fontRef idx="minor">
            <a:schemeClr val="lt1"/>
          </a:fontRef>
        </p:style>
      </p:cxnSp>
      <p:sp>
        <p:nvSpPr>
          <p:cNvPr id="57346" name="Title 1">
            <a:extLst>
              <a:ext uri="{FF2B5EF4-FFF2-40B4-BE49-F238E27FC236}">
                <a16:creationId xmlns:a16="http://schemas.microsoft.com/office/drawing/2014/main" id="{FCA19F51-1289-1EC9-1082-2616C6DFFA9F}"/>
              </a:ext>
            </a:extLst>
          </p:cNvPr>
          <p:cNvSpPr>
            <a:spLocks noGrp="1"/>
          </p:cNvSpPr>
          <p:nvPr>
            <p:ph type="title"/>
          </p:nvPr>
        </p:nvSpPr>
        <p:spPr>
          <a:xfrm>
            <a:off x="442913" y="431800"/>
            <a:ext cx="11306175" cy="1387475"/>
          </a:xfrm>
        </p:spPr>
        <p:txBody>
          <a:bodyPr vert="horz">
            <a:normAutofit/>
          </a:bodyPr>
          <a:lstStyle/>
          <a:p>
            <a:r>
              <a:rPr lang="lv-LV" altLang="lv-LV"/>
              <a:t>Civilās aizsardzības normatīvo aktu pakļautības sistēmas skaidrojums</a:t>
            </a:r>
            <a:endParaRPr lang="lv-LV"/>
          </a:p>
        </p:txBody>
      </p:sp>
      <p:sp>
        <p:nvSpPr>
          <p:cNvPr id="4" name="Slide Number Placeholder 3">
            <a:extLst>
              <a:ext uri="{FF2B5EF4-FFF2-40B4-BE49-F238E27FC236}">
                <a16:creationId xmlns:a16="http://schemas.microsoft.com/office/drawing/2014/main" id="{5A61784A-59B7-DFB2-948F-11357F6AD9AC}"/>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62C999B-8A19-4CBE-B8CE-8064C986E16F}" type="slidenum">
              <a:rPr lang="lv-LV" altLang="en-US"/>
              <a:pPr/>
              <a:t>9</a:t>
            </a:fld>
            <a:endParaRPr lang="lv-LV" altLang="en-US"/>
          </a:p>
        </p:txBody>
      </p:sp>
      <p:cxnSp>
        <p:nvCxnSpPr>
          <p:cNvPr id="23" name="Straight Connector 22">
            <a:extLst>
              <a:ext uri="{FF2B5EF4-FFF2-40B4-BE49-F238E27FC236}">
                <a16:creationId xmlns:a16="http://schemas.microsoft.com/office/drawing/2014/main" id="{E8846961-D91A-20AF-7FE8-DFABE1D41867}"/>
              </a:ext>
            </a:extLst>
          </p:cNvPr>
          <p:cNvCxnSpPr>
            <a:cxnSpLocks/>
          </p:cNvCxnSpPr>
          <p:nvPr/>
        </p:nvCxnSpPr>
        <p:spPr>
          <a:xfrm>
            <a:off x="7471144" y="2971810"/>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4" name="Straight Connector 23">
            <a:extLst>
              <a:ext uri="{FF2B5EF4-FFF2-40B4-BE49-F238E27FC236}">
                <a16:creationId xmlns:a16="http://schemas.microsoft.com/office/drawing/2014/main" id="{AC76435C-6965-2044-9A7C-81DC1657CB77}"/>
              </a:ext>
            </a:extLst>
          </p:cNvPr>
          <p:cNvCxnSpPr>
            <a:cxnSpLocks/>
          </p:cNvCxnSpPr>
          <p:nvPr/>
        </p:nvCxnSpPr>
        <p:spPr>
          <a:xfrm>
            <a:off x="7471144" y="3654428"/>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5" name="Straight Connector 24">
            <a:extLst>
              <a:ext uri="{FF2B5EF4-FFF2-40B4-BE49-F238E27FC236}">
                <a16:creationId xmlns:a16="http://schemas.microsoft.com/office/drawing/2014/main" id="{D9DA443E-4298-3849-1482-AB7D4704719D}"/>
              </a:ext>
            </a:extLst>
          </p:cNvPr>
          <p:cNvCxnSpPr>
            <a:cxnSpLocks/>
          </p:cNvCxnSpPr>
          <p:nvPr/>
        </p:nvCxnSpPr>
        <p:spPr>
          <a:xfrm>
            <a:off x="7471144" y="4337047"/>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6" name="Straight Connector 25">
            <a:extLst>
              <a:ext uri="{FF2B5EF4-FFF2-40B4-BE49-F238E27FC236}">
                <a16:creationId xmlns:a16="http://schemas.microsoft.com/office/drawing/2014/main" id="{ECC3D074-804F-5878-A908-4C986877F108}"/>
              </a:ext>
            </a:extLst>
          </p:cNvPr>
          <p:cNvCxnSpPr>
            <a:cxnSpLocks/>
          </p:cNvCxnSpPr>
          <p:nvPr/>
        </p:nvCxnSpPr>
        <p:spPr>
          <a:xfrm>
            <a:off x="7471144" y="5019665"/>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7" name="Rectangle 16">
            <a:extLst>
              <a:ext uri="{FF2B5EF4-FFF2-40B4-BE49-F238E27FC236}">
                <a16:creationId xmlns:a16="http://schemas.microsoft.com/office/drawing/2014/main" id="{B6F948A6-0922-23DB-91DD-ACCDC742353D}"/>
              </a:ext>
            </a:extLst>
          </p:cNvPr>
          <p:cNvSpPr/>
          <p:nvPr/>
        </p:nvSpPr>
        <p:spPr>
          <a:xfrm>
            <a:off x="9466719" y="2554483"/>
            <a:ext cx="2178880" cy="15203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a:lnSpc>
                <a:spcPct val="90000"/>
              </a:lnSpc>
              <a:spcBef>
                <a:spcPct val="0"/>
              </a:spcBef>
              <a:spcAft>
                <a:spcPct val="35000"/>
              </a:spcAft>
              <a:buNone/>
            </a:pPr>
            <a:r>
              <a:rPr lang="lv-LV" sz="1400" kern="1200">
                <a:solidFill>
                  <a:schemeClr val="tx2"/>
                </a:solidFill>
              </a:rPr>
              <a:t>Satversme</a:t>
            </a:r>
          </a:p>
        </p:txBody>
      </p:sp>
      <p:sp>
        <p:nvSpPr>
          <p:cNvPr id="18" name="Rectangle 17">
            <a:extLst>
              <a:ext uri="{FF2B5EF4-FFF2-40B4-BE49-F238E27FC236}">
                <a16:creationId xmlns:a16="http://schemas.microsoft.com/office/drawing/2014/main" id="{3D37D2FC-305C-2948-9261-01531F1B517B}"/>
              </a:ext>
            </a:extLst>
          </p:cNvPr>
          <p:cNvSpPr/>
          <p:nvPr/>
        </p:nvSpPr>
        <p:spPr>
          <a:xfrm>
            <a:off x="9466719" y="3119220"/>
            <a:ext cx="2178880" cy="3877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rtl="0">
              <a:lnSpc>
                <a:spcPct val="90000"/>
              </a:lnSpc>
              <a:spcBef>
                <a:spcPct val="0"/>
              </a:spcBef>
              <a:spcAft>
                <a:spcPct val="35000"/>
              </a:spcAft>
              <a:buNone/>
            </a:pPr>
            <a:r>
              <a:rPr lang="lv-LV" sz="1400" b="1" kern="1200">
                <a:solidFill>
                  <a:schemeClr val="tx1"/>
                </a:solidFill>
              </a:rPr>
              <a:t>Starptautisko tiesību normas</a:t>
            </a:r>
          </a:p>
        </p:txBody>
      </p:sp>
      <p:sp>
        <p:nvSpPr>
          <p:cNvPr id="19" name="Rectangle 18">
            <a:extLst>
              <a:ext uri="{FF2B5EF4-FFF2-40B4-BE49-F238E27FC236}">
                <a16:creationId xmlns:a16="http://schemas.microsoft.com/office/drawing/2014/main" id="{F2A1576E-AA22-F7BF-2F83-839482ADA18C}"/>
              </a:ext>
            </a:extLst>
          </p:cNvPr>
          <p:cNvSpPr/>
          <p:nvPr/>
        </p:nvSpPr>
        <p:spPr>
          <a:xfrm>
            <a:off x="9466719" y="3898787"/>
            <a:ext cx="2178880" cy="1938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a:lnSpc>
                <a:spcPct val="90000"/>
              </a:lnSpc>
              <a:spcBef>
                <a:spcPct val="0"/>
              </a:spcBef>
              <a:spcAft>
                <a:spcPct val="35000"/>
              </a:spcAft>
              <a:buNone/>
            </a:pPr>
            <a:r>
              <a:rPr lang="lv-LV" sz="1400" kern="1200">
                <a:solidFill>
                  <a:schemeClr val="tx2"/>
                </a:solidFill>
              </a:rPr>
              <a:t>Likumi</a:t>
            </a:r>
          </a:p>
        </p:txBody>
      </p:sp>
      <p:sp>
        <p:nvSpPr>
          <p:cNvPr id="20" name="Rectangle 19">
            <a:extLst>
              <a:ext uri="{FF2B5EF4-FFF2-40B4-BE49-F238E27FC236}">
                <a16:creationId xmlns:a16="http://schemas.microsoft.com/office/drawing/2014/main" id="{83FBD7EB-47E2-E2C9-A0E2-1AF68270CE5A}"/>
              </a:ext>
            </a:extLst>
          </p:cNvPr>
          <p:cNvSpPr/>
          <p:nvPr/>
        </p:nvSpPr>
        <p:spPr>
          <a:xfrm>
            <a:off x="9158774" y="4581406"/>
            <a:ext cx="2486825" cy="1938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rtl="0">
              <a:lnSpc>
                <a:spcPct val="90000"/>
              </a:lnSpc>
              <a:spcBef>
                <a:spcPct val="0"/>
              </a:spcBef>
              <a:spcAft>
                <a:spcPct val="35000"/>
              </a:spcAft>
              <a:buNone/>
            </a:pPr>
            <a:r>
              <a:rPr lang="lv-LV" sz="1400" kern="1200">
                <a:solidFill>
                  <a:schemeClr val="tx2"/>
                </a:solidFill>
              </a:rPr>
              <a:t>Ministru kabineta noteikumi</a:t>
            </a:r>
          </a:p>
        </p:txBody>
      </p:sp>
      <p:sp>
        <p:nvSpPr>
          <p:cNvPr id="21" name="Rectangle 20">
            <a:extLst>
              <a:ext uri="{FF2B5EF4-FFF2-40B4-BE49-F238E27FC236}">
                <a16:creationId xmlns:a16="http://schemas.microsoft.com/office/drawing/2014/main" id="{3437E61C-571D-87C4-E1D3-99CE2EEEE763}"/>
              </a:ext>
            </a:extLst>
          </p:cNvPr>
          <p:cNvSpPr/>
          <p:nvPr/>
        </p:nvSpPr>
        <p:spPr>
          <a:xfrm>
            <a:off x="9467126" y="5284956"/>
            <a:ext cx="2178473" cy="15203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rtl="0">
              <a:lnSpc>
                <a:spcPct val="90000"/>
              </a:lnSpc>
              <a:spcBef>
                <a:spcPct val="0"/>
              </a:spcBef>
              <a:spcAft>
                <a:spcPct val="35000"/>
              </a:spcAft>
              <a:buNone/>
            </a:pPr>
            <a:r>
              <a:rPr lang="lv-LV" sz="1400" kern="1200">
                <a:solidFill>
                  <a:schemeClr val="tx2"/>
                </a:solidFill>
              </a:rPr>
              <a:t>Pašvaldību saistošie noteikumi</a:t>
            </a:r>
          </a:p>
        </p:txBody>
      </p:sp>
      <p:sp>
        <p:nvSpPr>
          <p:cNvPr id="15" name="Freeform: Shape 14">
            <a:extLst>
              <a:ext uri="{FF2B5EF4-FFF2-40B4-BE49-F238E27FC236}">
                <a16:creationId xmlns:a16="http://schemas.microsoft.com/office/drawing/2014/main" id="{DEBA95F2-D529-A6BC-6AC4-DCFF6790B4C7}"/>
              </a:ext>
            </a:extLst>
          </p:cNvPr>
          <p:cNvSpPr/>
          <p:nvPr/>
        </p:nvSpPr>
        <p:spPr>
          <a:xfrm>
            <a:off x="5566739" y="5019665"/>
            <a:ext cx="3991151" cy="682618"/>
          </a:xfrm>
          <a:custGeom>
            <a:avLst/>
            <a:gdLst>
              <a:gd name="connsiteX0" fmla="*/ 0 w 5949107"/>
              <a:gd name="connsiteY0" fmla="*/ 977563 h 977563"/>
              <a:gd name="connsiteX1" fmla="*/ 594916 w 5949107"/>
              <a:gd name="connsiteY1" fmla="*/ 0 h 977563"/>
              <a:gd name="connsiteX2" fmla="*/ 5354191 w 5949107"/>
              <a:gd name="connsiteY2" fmla="*/ 0 h 977563"/>
              <a:gd name="connsiteX3" fmla="*/ 5949107 w 5949107"/>
              <a:gd name="connsiteY3" fmla="*/ 977563 h 977563"/>
              <a:gd name="connsiteX4" fmla="*/ 0 w 5949107"/>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9107" h="977563">
                <a:moveTo>
                  <a:pt x="0" y="977563"/>
                </a:moveTo>
                <a:lnTo>
                  <a:pt x="594916" y="0"/>
                </a:lnTo>
                <a:lnTo>
                  <a:pt x="5354191" y="0"/>
                </a:lnTo>
                <a:lnTo>
                  <a:pt x="5949107"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65223" tIns="24130" rIns="1065224" bIns="24130" numCol="1" spcCol="127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11" name="Freeform: Shape 10">
            <a:extLst>
              <a:ext uri="{FF2B5EF4-FFF2-40B4-BE49-F238E27FC236}">
                <a16:creationId xmlns:a16="http://schemas.microsoft.com/office/drawing/2014/main" id="{6B97B1CC-1E29-3BF1-7F3B-3E1A3CAFC42B}"/>
              </a:ext>
            </a:extLst>
          </p:cNvPr>
          <p:cNvSpPr/>
          <p:nvPr/>
        </p:nvSpPr>
        <p:spPr>
          <a:xfrm>
            <a:off x="7163199" y="2289192"/>
            <a:ext cx="798230" cy="682618"/>
          </a:xfrm>
          <a:custGeom>
            <a:avLst/>
            <a:gdLst>
              <a:gd name="connsiteX0" fmla="*/ 0 w 1189821"/>
              <a:gd name="connsiteY0" fmla="*/ 977563 h 977563"/>
              <a:gd name="connsiteX1" fmla="*/ 594911 w 1189821"/>
              <a:gd name="connsiteY1" fmla="*/ 0 h 977563"/>
              <a:gd name="connsiteX2" fmla="*/ 594911 w 1189821"/>
              <a:gd name="connsiteY2" fmla="*/ 0 h 977563"/>
              <a:gd name="connsiteX3" fmla="*/ 1189821 w 1189821"/>
              <a:gd name="connsiteY3" fmla="*/ 977563 h 977563"/>
              <a:gd name="connsiteX4" fmla="*/ 0 w 1189821"/>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821" h="977563">
                <a:moveTo>
                  <a:pt x="0" y="977563"/>
                </a:moveTo>
                <a:lnTo>
                  <a:pt x="594911" y="0"/>
                </a:lnTo>
                <a:lnTo>
                  <a:pt x="594911" y="0"/>
                </a:lnTo>
                <a:lnTo>
                  <a:pt x="1189821"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endParaRPr lang="lv-LV" sz="1900" kern="1200">
              <a:solidFill>
                <a:schemeClr val="tx1"/>
              </a:solidFill>
            </a:endParaRPr>
          </a:p>
        </p:txBody>
      </p:sp>
      <p:sp>
        <p:nvSpPr>
          <p:cNvPr id="12" name="Freeform: Shape 11">
            <a:extLst>
              <a:ext uri="{FF2B5EF4-FFF2-40B4-BE49-F238E27FC236}">
                <a16:creationId xmlns:a16="http://schemas.microsoft.com/office/drawing/2014/main" id="{8C9FDD50-3ECC-4B56-4C39-6AB999970B00}"/>
              </a:ext>
            </a:extLst>
          </p:cNvPr>
          <p:cNvSpPr/>
          <p:nvPr/>
        </p:nvSpPr>
        <p:spPr>
          <a:xfrm>
            <a:off x="6764084" y="2971810"/>
            <a:ext cx="1596460" cy="682618"/>
          </a:xfrm>
          <a:custGeom>
            <a:avLst/>
            <a:gdLst>
              <a:gd name="connsiteX0" fmla="*/ 0 w 2379643"/>
              <a:gd name="connsiteY0" fmla="*/ 977563 h 977563"/>
              <a:gd name="connsiteX1" fmla="*/ 594916 w 2379643"/>
              <a:gd name="connsiteY1" fmla="*/ 0 h 977563"/>
              <a:gd name="connsiteX2" fmla="*/ 1784727 w 2379643"/>
              <a:gd name="connsiteY2" fmla="*/ 0 h 977563"/>
              <a:gd name="connsiteX3" fmla="*/ 2379643 w 2379643"/>
              <a:gd name="connsiteY3" fmla="*/ 977563 h 977563"/>
              <a:gd name="connsiteX4" fmla="*/ 0 w 2379643"/>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9643" h="977563">
                <a:moveTo>
                  <a:pt x="0" y="977563"/>
                </a:moveTo>
                <a:lnTo>
                  <a:pt x="594916" y="0"/>
                </a:lnTo>
                <a:lnTo>
                  <a:pt x="1784727" y="0"/>
                </a:lnTo>
                <a:lnTo>
                  <a:pt x="2379643" y="977563"/>
                </a:lnTo>
                <a:lnTo>
                  <a:pt x="0" y="977563"/>
                </a:lnTo>
                <a:close/>
              </a:path>
            </a:pathLst>
          </a:custGeom>
          <a:solidFill>
            <a:srgbClr val="A8192D"/>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40567" tIns="24130" rIns="440568" bIns="24130" numCol="1" spcCol="127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13" name="Freeform: Shape 12">
            <a:extLst>
              <a:ext uri="{FF2B5EF4-FFF2-40B4-BE49-F238E27FC236}">
                <a16:creationId xmlns:a16="http://schemas.microsoft.com/office/drawing/2014/main" id="{D9E2DB3C-BBE6-5407-30D9-5C89B4281328}"/>
              </a:ext>
            </a:extLst>
          </p:cNvPr>
          <p:cNvSpPr/>
          <p:nvPr/>
        </p:nvSpPr>
        <p:spPr>
          <a:xfrm>
            <a:off x="6364969" y="3654428"/>
            <a:ext cx="2394691" cy="682618"/>
          </a:xfrm>
          <a:custGeom>
            <a:avLst/>
            <a:gdLst>
              <a:gd name="connsiteX0" fmla="*/ 0 w 3569464"/>
              <a:gd name="connsiteY0" fmla="*/ 977563 h 977563"/>
              <a:gd name="connsiteX1" fmla="*/ 594916 w 3569464"/>
              <a:gd name="connsiteY1" fmla="*/ 0 h 977563"/>
              <a:gd name="connsiteX2" fmla="*/ 2974548 w 3569464"/>
              <a:gd name="connsiteY2" fmla="*/ 0 h 977563"/>
              <a:gd name="connsiteX3" fmla="*/ 3569464 w 3569464"/>
              <a:gd name="connsiteY3" fmla="*/ 977563 h 977563"/>
              <a:gd name="connsiteX4" fmla="*/ 0 w 3569464"/>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9464" h="977563">
                <a:moveTo>
                  <a:pt x="0" y="977563"/>
                </a:moveTo>
                <a:lnTo>
                  <a:pt x="594916" y="0"/>
                </a:lnTo>
                <a:lnTo>
                  <a:pt x="2974548" y="0"/>
                </a:lnTo>
                <a:lnTo>
                  <a:pt x="3569464"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48786" tIns="24130" rIns="648786" bIns="24130" numCol="1" spcCol="1270" anchor="ctr" anchorCtr="0">
            <a:noAutofit/>
          </a:bodyPr>
          <a:lstStyle/>
          <a:p>
            <a:pPr marL="0" lvl="0" indent="0" algn="ctr" defTabSz="844550">
              <a:lnSpc>
                <a:spcPct val="90000"/>
              </a:lnSpc>
              <a:spcBef>
                <a:spcPct val="0"/>
              </a:spcBef>
              <a:spcAft>
                <a:spcPct val="35000"/>
              </a:spcAft>
              <a:buNone/>
            </a:pPr>
            <a:endParaRPr lang="lv-LV" sz="1900" kern="1200">
              <a:solidFill>
                <a:schemeClr val="tx1"/>
              </a:solidFill>
            </a:endParaRPr>
          </a:p>
        </p:txBody>
      </p:sp>
      <p:sp>
        <p:nvSpPr>
          <p:cNvPr id="14" name="Freeform: Shape 13">
            <a:extLst>
              <a:ext uri="{FF2B5EF4-FFF2-40B4-BE49-F238E27FC236}">
                <a16:creationId xmlns:a16="http://schemas.microsoft.com/office/drawing/2014/main" id="{139E8CFE-F242-9EAC-2FA5-46CE02F3EA12}"/>
              </a:ext>
            </a:extLst>
          </p:cNvPr>
          <p:cNvSpPr/>
          <p:nvPr/>
        </p:nvSpPr>
        <p:spPr>
          <a:xfrm>
            <a:off x="5965853" y="4337047"/>
            <a:ext cx="3192921" cy="682618"/>
          </a:xfrm>
          <a:custGeom>
            <a:avLst/>
            <a:gdLst>
              <a:gd name="connsiteX0" fmla="*/ 0 w 4759286"/>
              <a:gd name="connsiteY0" fmla="*/ 977563 h 977563"/>
              <a:gd name="connsiteX1" fmla="*/ 594916 w 4759286"/>
              <a:gd name="connsiteY1" fmla="*/ 0 h 977563"/>
              <a:gd name="connsiteX2" fmla="*/ 4164370 w 4759286"/>
              <a:gd name="connsiteY2" fmla="*/ 0 h 977563"/>
              <a:gd name="connsiteX3" fmla="*/ 4759286 w 4759286"/>
              <a:gd name="connsiteY3" fmla="*/ 977563 h 977563"/>
              <a:gd name="connsiteX4" fmla="*/ 0 w 4759286"/>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9286" h="977563">
                <a:moveTo>
                  <a:pt x="0" y="977563"/>
                </a:moveTo>
                <a:lnTo>
                  <a:pt x="594916" y="0"/>
                </a:lnTo>
                <a:lnTo>
                  <a:pt x="4164370" y="0"/>
                </a:lnTo>
                <a:lnTo>
                  <a:pt x="4759286"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7005" tIns="24130" rIns="857005" bIns="24130" numCol="1" spcCol="127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50" name="Google Shape;1488;p91">
            <a:extLst>
              <a:ext uri="{FF2B5EF4-FFF2-40B4-BE49-F238E27FC236}">
                <a16:creationId xmlns:a16="http://schemas.microsoft.com/office/drawing/2014/main" id="{D9C6F400-E18F-9139-A3C2-56BDA98A0FB1}"/>
              </a:ext>
            </a:extLst>
          </p:cNvPr>
          <p:cNvSpPr/>
          <p:nvPr/>
        </p:nvSpPr>
        <p:spPr>
          <a:xfrm>
            <a:off x="7421178" y="2630501"/>
            <a:ext cx="282273" cy="282273"/>
          </a:xfrm>
          <a:custGeom>
            <a:avLst/>
            <a:gdLst/>
            <a:ahLst/>
            <a:cxnLst/>
            <a:rect l="l" t="t" r="r" b="b"/>
            <a:pathLst>
              <a:path w="395" h="396" extrusionOk="0">
                <a:moveTo>
                  <a:pt x="0" y="0"/>
                </a:moveTo>
                <a:lnTo>
                  <a:pt x="0" y="396"/>
                </a:lnTo>
                <a:lnTo>
                  <a:pt x="395" y="396"/>
                </a:lnTo>
                <a:lnTo>
                  <a:pt x="395" y="0"/>
                </a:lnTo>
                <a:lnTo>
                  <a:pt x="0" y="0"/>
                </a:lnTo>
                <a:close/>
                <a:moveTo>
                  <a:pt x="378" y="379"/>
                </a:moveTo>
                <a:lnTo>
                  <a:pt x="17" y="379"/>
                </a:lnTo>
                <a:lnTo>
                  <a:pt x="17" y="16"/>
                </a:lnTo>
                <a:lnTo>
                  <a:pt x="378" y="16"/>
                </a:lnTo>
                <a:lnTo>
                  <a:pt x="378" y="379"/>
                </a:lnTo>
                <a:close/>
                <a:moveTo>
                  <a:pt x="343" y="346"/>
                </a:moveTo>
                <a:lnTo>
                  <a:pt x="50" y="346"/>
                </a:lnTo>
                <a:lnTo>
                  <a:pt x="50" y="329"/>
                </a:lnTo>
                <a:lnTo>
                  <a:pt x="343" y="329"/>
                </a:lnTo>
                <a:lnTo>
                  <a:pt x="343" y="346"/>
                </a:lnTo>
                <a:close/>
                <a:moveTo>
                  <a:pt x="343" y="140"/>
                </a:moveTo>
                <a:lnTo>
                  <a:pt x="207" y="140"/>
                </a:lnTo>
                <a:lnTo>
                  <a:pt x="207" y="115"/>
                </a:lnTo>
                <a:lnTo>
                  <a:pt x="237" y="115"/>
                </a:lnTo>
                <a:lnTo>
                  <a:pt x="237" y="130"/>
                </a:lnTo>
                <a:lnTo>
                  <a:pt x="289" y="130"/>
                </a:lnTo>
                <a:lnTo>
                  <a:pt x="289" y="75"/>
                </a:lnTo>
                <a:lnTo>
                  <a:pt x="255" y="75"/>
                </a:lnTo>
                <a:lnTo>
                  <a:pt x="255" y="54"/>
                </a:lnTo>
                <a:lnTo>
                  <a:pt x="190" y="54"/>
                </a:lnTo>
                <a:lnTo>
                  <a:pt x="190" y="140"/>
                </a:lnTo>
                <a:lnTo>
                  <a:pt x="50" y="140"/>
                </a:lnTo>
                <a:lnTo>
                  <a:pt x="50" y="157"/>
                </a:lnTo>
                <a:lnTo>
                  <a:pt x="343" y="157"/>
                </a:lnTo>
                <a:lnTo>
                  <a:pt x="343" y="140"/>
                </a:lnTo>
                <a:close/>
                <a:moveTo>
                  <a:pt x="273" y="92"/>
                </a:moveTo>
                <a:lnTo>
                  <a:pt x="273" y="114"/>
                </a:lnTo>
                <a:lnTo>
                  <a:pt x="255" y="114"/>
                </a:lnTo>
                <a:lnTo>
                  <a:pt x="255" y="92"/>
                </a:lnTo>
                <a:lnTo>
                  <a:pt x="273" y="92"/>
                </a:lnTo>
                <a:close/>
                <a:moveTo>
                  <a:pt x="207" y="71"/>
                </a:moveTo>
                <a:lnTo>
                  <a:pt x="237" y="71"/>
                </a:lnTo>
                <a:lnTo>
                  <a:pt x="237" y="75"/>
                </a:lnTo>
                <a:lnTo>
                  <a:pt x="237" y="98"/>
                </a:lnTo>
                <a:lnTo>
                  <a:pt x="207" y="98"/>
                </a:lnTo>
                <a:lnTo>
                  <a:pt x="207" y="71"/>
                </a:lnTo>
                <a:close/>
                <a:moveTo>
                  <a:pt x="123" y="320"/>
                </a:moveTo>
                <a:lnTo>
                  <a:pt x="123" y="167"/>
                </a:lnTo>
                <a:lnTo>
                  <a:pt x="73" y="167"/>
                </a:lnTo>
                <a:lnTo>
                  <a:pt x="73" y="320"/>
                </a:lnTo>
                <a:lnTo>
                  <a:pt x="123" y="320"/>
                </a:lnTo>
                <a:close/>
                <a:moveTo>
                  <a:pt x="90" y="185"/>
                </a:moveTo>
                <a:lnTo>
                  <a:pt x="106" y="185"/>
                </a:lnTo>
                <a:lnTo>
                  <a:pt x="106" y="302"/>
                </a:lnTo>
                <a:lnTo>
                  <a:pt x="90" y="302"/>
                </a:lnTo>
                <a:lnTo>
                  <a:pt x="90" y="185"/>
                </a:lnTo>
                <a:close/>
                <a:moveTo>
                  <a:pt x="189" y="320"/>
                </a:moveTo>
                <a:lnTo>
                  <a:pt x="189" y="167"/>
                </a:lnTo>
                <a:lnTo>
                  <a:pt x="138" y="167"/>
                </a:lnTo>
                <a:lnTo>
                  <a:pt x="138" y="320"/>
                </a:lnTo>
                <a:lnTo>
                  <a:pt x="189" y="320"/>
                </a:lnTo>
                <a:close/>
                <a:moveTo>
                  <a:pt x="155" y="185"/>
                </a:moveTo>
                <a:lnTo>
                  <a:pt x="172" y="185"/>
                </a:lnTo>
                <a:lnTo>
                  <a:pt x="172" y="302"/>
                </a:lnTo>
                <a:lnTo>
                  <a:pt x="155" y="302"/>
                </a:lnTo>
                <a:lnTo>
                  <a:pt x="155" y="185"/>
                </a:lnTo>
                <a:close/>
                <a:moveTo>
                  <a:pt x="255" y="320"/>
                </a:moveTo>
                <a:lnTo>
                  <a:pt x="255" y="167"/>
                </a:lnTo>
                <a:lnTo>
                  <a:pt x="204" y="167"/>
                </a:lnTo>
                <a:lnTo>
                  <a:pt x="204" y="320"/>
                </a:lnTo>
                <a:lnTo>
                  <a:pt x="255" y="320"/>
                </a:lnTo>
                <a:close/>
                <a:moveTo>
                  <a:pt x="220" y="185"/>
                </a:moveTo>
                <a:lnTo>
                  <a:pt x="237" y="185"/>
                </a:lnTo>
                <a:lnTo>
                  <a:pt x="237" y="302"/>
                </a:lnTo>
                <a:lnTo>
                  <a:pt x="220" y="302"/>
                </a:lnTo>
                <a:lnTo>
                  <a:pt x="220" y="185"/>
                </a:lnTo>
                <a:close/>
                <a:moveTo>
                  <a:pt x="320" y="320"/>
                </a:moveTo>
                <a:lnTo>
                  <a:pt x="320" y="167"/>
                </a:lnTo>
                <a:lnTo>
                  <a:pt x="269" y="167"/>
                </a:lnTo>
                <a:lnTo>
                  <a:pt x="269" y="320"/>
                </a:lnTo>
                <a:lnTo>
                  <a:pt x="320" y="320"/>
                </a:lnTo>
                <a:close/>
                <a:moveTo>
                  <a:pt x="287" y="185"/>
                </a:moveTo>
                <a:lnTo>
                  <a:pt x="304" y="185"/>
                </a:lnTo>
                <a:lnTo>
                  <a:pt x="304" y="302"/>
                </a:lnTo>
                <a:lnTo>
                  <a:pt x="287" y="302"/>
                </a:lnTo>
                <a:lnTo>
                  <a:pt x="287" y="185"/>
                </a:lnTo>
                <a:close/>
              </a:path>
            </a:pathLst>
          </a:custGeom>
          <a:solidFill>
            <a:schemeClr val="tx2"/>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800">
              <a:solidFill>
                <a:schemeClr val="accent1"/>
              </a:solidFill>
              <a:latin typeface="Arial"/>
              <a:ea typeface="Arial"/>
              <a:cs typeface="Arial"/>
              <a:sym typeface="Arial"/>
            </a:endParaRPr>
          </a:p>
        </p:txBody>
      </p:sp>
      <p:sp>
        <p:nvSpPr>
          <p:cNvPr id="51" name="Google Shape;1490;p91">
            <a:extLst>
              <a:ext uri="{FF2B5EF4-FFF2-40B4-BE49-F238E27FC236}">
                <a16:creationId xmlns:a16="http://schemas.microsoft.com/office/drawing/2014/main" id="{068E7E96-E629-666A-2597-2420A976A69C}"/>
              </a:ext>
            </a:extLst>
          </p:cNvPr>
          <p:cNvSpPr/>
          <p:nvPr/>
        </p:nvSpPr>
        <p:spPr>
          <a:xfrm>
            <a:off x="7421178" y="3171982"/>
            <a:ext cx="282273" cy="282273"/>
          </a:xfrm>
          <a:custGeom>
            <a:avLst/>
            <a:gdLst/>
            <a:ahLst/>
            <a:cxnLst/>
            <a:rect l="l" t="t" r="r" b="b"/>
            <a:pathLst>
              <a:path w="346" h="346" extrusionOk="0">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800">
              <a:solidFill>
                <a:schemeClr val="accent1"/>
              </a:solidFill>
              <a:latin typeface="Arial"/>
              <a:ea typeface="Arial"/>
              <a:cs typeface="Arial"/>
              <a:sym typeface="Arial"/>
            </a:endParaRPr>
          </a:p>
        </p:txBody>
      </p:sp>
      <p:sp>
        <p:nvSpPr>
          <p:cNvPr id="52" name="Google Shape;1984;p97">
            <a:extLst>
              <a:ext uri="{FF2B5EF4-FFF2-40B4-BE49-F238E27FC236}">
                <a16:creationId xmlns:a16="http://schemas.microsoft.com/office/drawing/2014/main" id="{E8420F17-C1A2-D0B0-3F70-100604EAB0E7}"/>
              </a:ext>
            </a:extLst>
          </p:cNvPr>
          <p:cNvSpPr/>
          <p:nvPr/>
        </p:nvSpPr>
        <p:spPr>
          <a:xfrm>
            <a:off x="7421178" y="3854601"/>
            <a:ext cx="282273" cy="282273"/>
          </a:xfrm>
          <a:custGeom>
            <a:avLst/>
            <a:gdLst/>
            <a:ahLst/>
            <a:cxnLst/>
            <a:rect l="l" t="t" r="r" b="b"/>
            <a:pathLst>
              <a:path w="453744" h="453590" extrusionOk="0">
                <a:moveTo>
                  <a:pt x="357292" y="0"/>
                </a:moveTo>
                <a:lnTo>
                  <a:pt x="0" y="0"/>
                </a:lnTo>
                <a:lnTo>
                  <a:pt x="0" y="453590"/>
                </a:lnTo>
                <a:lnTo>
                  <a:pt x="453744" y="453590"/>
                </a:lnTo>
                <a:lnTo>
                  <a:pt x="453744" y="96419"/>
                </a:lnTo>
                <a:close/>
                <a:moveTo>
                  <a:pt x="362964" y="33074"/>
                </a:moveTo>
                <a:lnTo>
                  <a:pt x="423936" y="94025"/>
                </a:lnTo>
                <a:lnTo>
                  <a:pt x="362964" y="94025"/>
                </a:lnTo>
                <a:close/>
                <a:moveTo>
                  <a:pt x="19505" y="434250"/>
                </a:moveTo>
                <a:lnTo>
                  <a:pt x="19505" y="19372"/>
                </a:lnTo>
                <a:lnTo>
                  <a:pt x="343585" y="19372"/>
                </a:lnTo>
                <a:lnTo>
                  <a:pt x="343585" y="113398"/>
                </a:lnTo>
                <a:lnTo>
                  <a:pt x="434365" y="113398"/>
                </a:lnTo>
                <a:lnTo>
                  <a:pt x="434365" y="434250"/>
                </a:lnTo>
                <a:close/>
                <a:moveTo>
                  <a:pt x="224036" y="80953"/>
                </a:moveTo>
                <a:cubicBezTo>
                  <a:pt x="242942" y="80953"/>
                  <a:pt x="257500" y="86141"/>
                  <a:pt x="267709" y="96514"/>
                </a:cubicBezTo>
                <a:cubicBezTo>
                  <a:pt x="277918" y="106887"/>
                  <a:pt x="283265" y="121713"/>
                  <a:pt x="283748" y="140991"/>
                </a:cubicBezTo>
                <a:lnTo>
                  <a:pt x="256176" y="140991"/>
                </a:lnTo>
                <a:cubicBezTo>
                  <a:pt x="256438" y="131488"/>
                  <a:pt x="253132" y="122227"/>
                  <a:pt x="246912" y="115035"/>
                </a:cubicBezTo>
                <a:cubicBezTo>
                  <a:pt x="240878" y="108509"/>
                  <a:pt x="232289" y="104953"/>
                  <a:pt x="223406" y="105302"/>
                </a:cubicBezTo>
                <a:cubicBezTo>
                  <a:pt x="213669" y="105302"/>
                  <a:pt x="206076" y="107791"/>
                  <a:pt x="200687" y="112736"/>
                </a:cubicBezTo>
                <a:cubicBezTo>
                  <a:pt x="195138" y="118047"/>
                  <a:pt x="192170" y="125509"/>
                  <a:pt x="192558" y="133179"/>
                </a:cubicBezTo>
                <a:cubicBezTo>
                  <a:pt x="192876" y="140840"/>
                  <a:pt x="196288" y="148044"/>
                  <a:pt x="202011" y="153150"/>
                </a:cubicBezTo>
                <a:cubicBezTo>
                  <a:pt x="208313" y="159450"/>
                  <a:pt x="219184" y="166641"/>
                  <a:pt x="234624" y="174727"/>
                </a:cubicBezTo>
                <a:cubicBezTo>
                  <a:pt x="259832" y="187034"/>
                  <a:pt x="277090" y="198436"/>
                  <a:pt x="286395" y="208935"/>
                </a:cubicBezTo>
                <a:cubicBezTo>
                  <a:pt x="295198" y="218435"/>
                  <a:pt x="300123" y="230887"/>
                  <a:pt x="300196" y="243836"/>
                </a:cubicBezTo>
                <a:cubicBezTo>
                  <a:pt x="300155" y="253888"/>
                  <a:pt x="297032" y="263684"/>
                  <a:pt x="291247" y="271902"/>
                </a:cubicBezTo>
                <a:cubicBezTo>
                  <a:pt x="285147" y="280804"/>
                  <a:pt x="276488" y="287645"/>
                  <a:pt x="266417" y="291526"/>
                </a:cubicBezTo>
                <a:cubicBezTo>
                  <a:pt x="278911" y="300485"/>
                  <a:pt x="286092" y="315097"/>
                  <a:pt x="285544" y="330459"/>
                </a:cubicBezTo>
                <a:cubicBezTo>
                  <a:pt x="285944" y="344940"/>
                  <a:pt x="279585" y="358780"/>
                  <a:pt x="268339" y="367912"/>
                </a:cubicBezTo>
                <a:cubicBezTo>
                  <a:pt x="256870" y="377551"/>
                  <a:pt x="242375" y="382370"/>
                  <a:pt x="224855" y="382370"/>
                </a:cubicBezTo>
                <a:cubicBezTo>
                  <a:pt x="206454" y="382370"/>
                  <a:pt x="191360" y="377119"/>
                  <a:pt x="179576" y="366621"/>
                </a:cubicBezTo>
                <a:cubicBezTo>
                  <a:pt x="167791" y="356122"/>
                  <a:pt x="161142" y="340927"/>
                  <a:pt x="159630" y="321041"/>
                </a:cubicBezTo>
                <a:lnTo>
                  <a:pt x="187201" y="321041"/>
                </a:lnTo>
                <a:cubicBezTo>
                  <a:pt x="187081" y="331096"/>
                  <a:pt x="190866" y="340807"/>
                  <a:pt x="197757" y="348130"/>
                </a:cubicBezTo>
                <a:cubicBezTo>
                  <a:pt x="204840" y="354912"/>
                  <a:pt x="214397" y="358488"/>
                  <a:pt x="224194" y="358021"/>
                </a:cubicBezTo>
                <a:cubicBezTo>
                  <a:pt x="232537" y="358267"/>
                  <a:pt x="240718" y="355693"/>
                  <a:pt x="247417" y="350713"/>
                </a:cubicBezTo>
                <a:cubicBezTo>
                  <a:pt x="253602" y="346121"/>
                  <a:pt x="257134" y="338785"/>
                  <a:pt x="256870" y="331089"/>
                </a:cubicBezTo>
                <a:cubicBezTo>
                  <a:pt x="256844" y="325624"/>
                  <a:pt x="255017" y="320323"/>
                  <a:pt x="251670" y="316001"/>
                </a:cubicBezTo>
                <a:cubicBezTo>
                  <a:pt x="247666" y="310835"/>
                  <a:pt x="242907" y="306303"/>
                  <a:pt x="237554" y="302551"/>
                </a:cubicBezTo>
                <a:cubicBezTo>
                  <a:pt x="231589" y="298226"/>
                  <a:pt x="217145" y="289825"/>
                  <a:pt x="194228" y="277351"/>
                </a:cubicBezTo>
                <a:cubicBezTo>
                  <a:pt x="177108" y="268258"/>
                  <a:pt x="164451" y="258631"/>
                  <a:pt x="156258" y="248467"/>
                </a:cubicBezTo>
                <a:cubicBezTo>
                  <a:pt x="148066" y="238396"/>
                  <a:pt x="143692" y="225756"/>
                  <a:pt x="143906" y="212778"/>
                </a:cubicBezTo>
                <a:cubicBezTo>
                  <a:pt x="144079" y="203019"/>
                  <a:pt x="147394" y="193573"/>
                  <a:pt x="153359" y="185846"/>
                </a:cubicBezTo>
                <a:cubicBezTo>
                  <a:pt x="159538" y="177253"/>
                  <a:pt x="168408" y="170966"/>
                  <a:pt x="178567" y="167986"/>
                </a:cubicBezTo>
                <a:cubicBezTo>
                  <a:pt x="174105" y="163122"/>
                  <a:pt x="170340" y="157664"/>
                  <a:pt x="167381" y="151764"/>
                </a:cubicBezTo>
                <a:cubicBezTo>
                  <a:pt x="164788" y="146075"/>
                  <a:pt x="163515" y="139873"/>
                  <a:pt x="163663" y="133620"/>
                </a:cubicBezTo>
                <a:cubicBezTo>
                  <a:pt x="163439" y="119168"/>
                  <a:pt x="169763" y="105390"/>
                  <a:pt x="180868" y="96136"/>
                </a:cubicBezTo>
                <a:cubicBezTo>
                  <a:pt x="192791" y="85839"/>
                  <a:pt x="208161" y="80418"/>
                  <a:pt x="223910" y="80953"/>
                </a:cubicBezTo>
                <a:close/>
                <a:moveTo>
                  <a:pt x="170816" y="211392"/>
                </a:moveTo>
                <a:cubicBezTo>
                  <a:pt x="170712" y="219355"/>
                  <a:pt x="173743" y="227038"/>
                  <a:pt x="179260" y="232780"/>
                </a:cubicBezTo>
                <a:cubicBezTo>
                  <a:pt x="184869" y="238850"/>
                  <a:pt x="197095" y="246860"/>
                  <a:pt x="215938" y="256814"/>
                </a:cubicBezTo>
                <a:cubicBezTo>
                  <a:pt x="227789" y="263161"/>
                  <a:pt x="239240" y="270230"/>
                  <a:pt x="250221" y="277982"/>
                </a:cubicBezTo>
                <a:cubicBezTo>
                  <a:pt x="265787" y="271263"/>
                  <a:pt x="273570" y="261202"/>
                  <a:pt x="273570" y="247805"/>
                </a:cubicBezTo>
                <a:cubicBezTo>
                  <a:pt x="273214" y="241285"/>
                  <a:pt x="270696" y="235067"/>
                  <a:pt x="266417" y="230134"/>
                </a:cubicBezTo>
                <a:cubicBezTo>
                  <a:pt x="261668" y="223960"/>
                  <a:pt x="250211" y="215559"/>
                  <a:pt x="232040" y="204935"/>
                </a:cubicBezTo>
                <a:cubicBezTo>
                  <a:pt x="219083" y="197929"/>
                  <a:pt x="206513" y="190231"/>
                  <a:pt x="194385" y="181877"/>
                </a:cubicBezTo>
                <a:cubicBezTo>
                  <a:pt x="187560" y="184117"/>
                  <a:pt x="181529" y="188284"/>
                  <a:pt x="177023" y="193878"/>
                </a:cubicBezTo>
                <a:cubicBezTo>
                  <a:pt x="172974" y="198824"/>
                  <a:pt x="170740" y="205004"/>
                  <a:pt x="170690" y="211392"/>
                </a:cubicBezTo>
                <a:close/>
              </a:path>
            </a:pathLst>
          </a:custGeom>
          <a:solidFill>
            <a:schemeClr val="tx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lv-LV" sz="1800">
              <a:solidFill>
                <a:schemeClr val="dk1"/>
              </a:solidFill>
              <a:latin typeface="Arial"/>
              <a:ea typeface="Arial"/>
              <a:cs typeface="Arial"/>
              <a:sym typeface="Arial"/>
            </a:endParaRPr>
          </a:p>
        </p:txBody>
      </p:sp>
      <p:sp>
        <p:nvSpPr>
          <p:cNvPr id="53" name="Google Shape;1973;p97">
            <a:extLst>
              <a:ext uri="{FF2B5EF4-FFF2-40B4-BE49-F238E27FC236}">
                <a16:creationId xmlns:a16="http://schemas.microsoft.com/office/drawing/2014/main" id="{EA8EB5DA-D7B9-D8AD-98EA-8F9A80E795EF}"/>
              </a:ext>
            </a:extLst>
          </p:cNvPr>
          <p:cNvSpPr/>
          <p:nvPr/>
        </p:nvSpPr>
        <p:spPr>
          <a:xfrm>
            <a:off x="7421178" y="4537219"/>
            <a:ext cx="282273" cy="282273"/>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rgbClr val="828283"/>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800">
              <a:solidFill>
                <a:schemeClr val="accent1"/>
              </a:solidFill>
              <a:latin typeface="Arial"/>
              <a:ea typeface="Arial"/>
              <a:cs typeface="Arial"/>
              <a:sym typeface="Arial"/>
            </a:endParaRPr>
          </a:p>
        </p:txBody>
      </p:sp>
      <p:sp>
        <p:nvSpPr>
          <p:cNvPr id="54" name="Google Shape;1978;p97">
            <a:extLst>
              <a:ext uri="{FF2B5EF4-FFF2-40B4-BE49-F238E27FC236}">
                <a16:creationId xmlns:a16="http://schemas.microsoft.com/office/drawing/2014/main" id="{F5A3FD28-E92B-ED1F-7D12-3226BF4AC422}"/>
              </a:ext>
            </a:extLst>
          </p:cNvPr>
          <p:cNvSpPr/>
          <p:nvPr/>
        </p:nvSpPr>
        <p:spPr>
          <a:xfrm>
            <a:off x="7421178" y="5219837"/>
            <a:ext cx="282273" cy="282273"/>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tx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sp>
        <p:nvSpPr>
          <p:cNvPr id="27" name="TextBox 26">
            <a:extLst>
              <a:ext uri="{FF2B5EF4-FFF2-40B4-BE49-F238E27FC236}">
                <a16:creationId xmlns:a16="http://schemas.microsoft.com/office/drawing/2014/main" id="{2D6405CD-2499-573E-A031-A68FA08F053E}"/>
              </a:ext>
            </a:extLst>
          </p:cNvPr>
          <p:cNvSpPr txBox="1"/>
          <p:nvPr/>
        </p:nvSpPr>
        <p:spPr>
          <a:xfrm>
            <a:off x="442911" y="2103439"/>
            <a:ext cx="4635570" cy="4068762"/>
          </a:xfrm>
          <a:prstGeom prst="rect">
            <a:avLst/>
          </a:prstGeom>
          <a:solidFill>
            <a:schemeClr val="bg1">
              <a:lumMod val="95000"/>
            </a:schemeClr>
          </a:solidFill>
        </p:spPr>
        <p:txBody>
          <a:bodyPr wrap="square" lIns="72000" tIns="72000" rIns="144000" bIns="0" rtlCol="0">
            <a:noAutofit/>
          </a:bodyPr>
          <a:lstStyle/>
          <a:p>
            <a:pPr>
              <a:spcBef>
                <a:spcPts val="300"/>
              </a:spcBef>
              <a:spcAft>
                <a:spcPts val="300"/>
              </a:spcAft>
              <a:buSzPct val="100000"/>
            </a:pPr>
            <a:endParaRPr lang="lv-LV" sz="1400" kern="100" spc="10">
              <a:cs typeface="Times New Roman"/>
            </a:endParaRPr>
          </a:p>
          <a:p>
            <a:pPr marL="285750" indent="-285750">
              <a:spcBef>
                <a:spcPts val="300"/>
              </a:spcBef>
              <a:spcAft>
                <a:spcPts val="300"/>
              </a:spcAft>
              <a:buSzPct val="100000"/>
              <a:buBlip>
                <a:blip r:embed="rId3"/>
              </a:buBlip>
            </a:pPr>
            <a:r>
              <a:rPr lang="lv-LV" sz="1400" kern="100" spc="10">
                <a:cs typeface="Times New Roman"/>
              </a:rPr>
              <a:t>ANO Vispārējās konvencijas par klimata pārmaiņām Parīzes nolīgums</a:t>
            </a:r>
          </a:p>
          <a:p>
            <a:pPr marL="285750" indent="-285750">
              <a:spcBef>
                <a:spcPts val="300"/>
              </a:spcBef>
              <a:spcAft>
                <a:spcPts val="300"/>
              </a:spcAft>
              <a:buSzPct val="100000"/>
              <a:buBlip>
                <a:blip r:embed="rId3"/>
              </a:buBlip>
            </a:pPr>
            <a:r>
              <a:rPr lang="lv-LV" sz="1400" kern="100" spc="10">
                <a:cs typeface="Times New Roman"/>
              </a:rPr>
              <a:t>ANO </a:t>
            </a:r>
            <a:r>
              <a:rPr lang="lv-LV" sz="1400" kern="100" spc="10" err="1">
                <a:cs typeface="Times New Roman"/>
              </a:rPr>
              <a:t>Sendai</a:t>
            </a:r>
            <a:r>
              <a:rPr lang="lv-LV" sz="1400" kern="100" spc="10">
                <a:cs typeface="Times New Roman"/>
              </a:rPr>
              <a:t> </a:t>
            </a:r>
            <a:r>
              <a:rPr lang="lv-LV" sz="1400" kern="100" spc="10" err="1">
                <a:cs typeface="Times New Roman"/>
              </a:rPr>
              <a:t>ietvarprogramma</a:t>
            </a:r>
            <a:r>
              <a:rPr lang="lv-LV" sz="1400" kern="100" spc="10">
                <a:cs typeface="Times New Roman"/>
              </a:rPr>
              <a:t> katastrofu risku mazināšanai 2015.-2030. gadam</a:t>
            </a:r>
          </a:p>
          <a:p>
            <a:pPr marL="285750" indent="-285750">
              <a:spcBef>
                <a:spcPts val="300"/>
              </a:spcBef>
              <a:spcAft>
                <a:spcPts val="300"/>
              </a:spcAft>
              <a:buSzPct val="100000"/>
              <a:buBlip>
                <a:blip r:embed="rId3"/>
              </a:buBlip>
            </a:pPr>
            <a:r>
              <a:rPr lang="lv-LV" sz="1400" kern="100" spc="10">
                <a:cs typeface="Times New Roman"/>
              </a:rPr>
              <a:t>ANO </a:t>
            </a:r>
            <a:r>
              <a:rPr lang="en-US" altLang="lv-LV" sz="1400">
                <a:cs typeface="Times New Roman"/>
              </a:rPr>
              <a:t>"</a:t>
            </a:r>
            <a:r>
              <a:rPr lang="lv-LV" sz="1400" kern="100" spc="10">
                <a:cs typeface="Times New Roman"/>
              </a:rPr>
              <a:t>Pārveidosim mūsu pasauli: ilgtspējīgas attīstības programma 2030. gadam</a:t>
            </a:r>
            <a:r>
              <a:rPr lang="en-US" altLang="lv-LV" sz="1400">
                <a:cs typeface="Times New Roman"/>
              </a:rPr>
              <a:t>"</a:t>
            </a:r>
            <a:r>
              <a:rPr lang="lv-LV" sz="1400" kern="100" spc="10">
                <a:cs typeface="Times New Roman"/>
              </a:rPr>
              <a:t> </a:t>
            </a:r>
          </a:p>
          <a:p>
            <a:pPr marL="285750" indent="-285750">
              <a:spcBef>
                <a:spcPts val="300"/>
              </a:spcBef>
              <a:spcAft>
                <a:spcPts val="300"/>
              </a:spcAft>
              <a:buSzPct val="100000"/>
              <a:buBlip>
                <a:blip r:embed="rId3"/>
              </a:buBlip>
            </a:pPr>
            <a:r>
              <a:rPr lang="lv-LV" sz="1400" kern="100" spc="10">
                <a:cs typeface="Times New Roman"/>
              </a:rPr>
              <a:t>Eiropas Parlamenta un Padomes REGULA (ES) 2021/836, ar ko groza Lēmumu Nr. 1313/2013/ES par Savienības civilās aizsardzības mehānismu </a:t>
            </a:r>
          </a:p>
          <a:p>
            <a:pPr marL="285750" indent="-285750">
              <a:spcBef>
                <a:spcPts val="300"/>
              </a:spcBef>
              <a:spcAft>
                <a:spcPts val="300"/>
              </a:spcAft>
              <a:buSzPct val="100000"/>
              <a:buBlip>
                <a:blip r:embed="rId3"/>
              </a:buBlip>
            </a:pPr>
            <a:r>
              <a:rPr lang="lv-LV" sz="1400" kern="100" spc="10">
                <a:cs typeface="Times New Roman"/>
              </a:rPr>
              <a:t>ES </a:t>
            </a:r>
            <a:r>
              <a:rPr lang="lv-LV" sz="1400" kern="100" spc="10" err="1">
                <a:cs typeface="Times New Roman"/>
              </a:rPr>
              <a:t>Klimatadaptācijas</a:t>
            </a:r>
            <a:r>
              <a:rPr lang="lv-LV" sz="1400" kern="100" spc="10">
                <a:cs typeface="Times New Roman"/>
              </a:rPr>
              <a:t> stratēģija</a:t>
            </a:r>
          </a:p>
          <a:p>
            <a:pPr marL="285750" indent="-285750">
              <a:spcBef>
                <a:spcPts val="300"/>
              </a:spcBef>
              <a:spcAft>
                <a:spcPts val="300"/>
              </a:spcAft>
              <a:buSzPct val="100000"/>
              <a:buBlip>
                <a:blip r:embed="rId3"/>
              </a:buBlip>
            </a:pPr>
            <a:r>
              <a:rPr lang="lv-LV" sz="1400" kern="100" spc="10">
                <a:cs typeface="Times New Roman"/>
              </a:rPr>
              <a:t>ES jaunatnes stratēģija 2019. – 2027.gadam</a:t>
            </a:r>
          </a:p>
          <a:p>
            <a:pPr marL="285750" indent="-285750">
              <a:spcBef>
                <a:spcPts val="300"/>
              </a:spcBef>
              <a:spcAft>
                <a:spcPts val="300"/>
              </a:spcAft>
              <a:buSzPct val="100000"/>
              <a:buBlip>
                <a:blip r:embed="rId3"/>
              </a:buBlip>
            </a:pPr>
            <a:r>
              <a:rPr lang="lv-LV" sz="1400" kern="100" spc="10">
                <a:cs typeface="Times New Roman"/>
              </a:rPr>
              <a:t>ES Stratēģija Baltijas jūras reģionam </a:t>
            </a:r>
          </a:p>
        </p:txBody>
      </p:sp>
      <p:sp>
        <p:nvSpPr>
          <p:cNvPr id="2" name="Rectangle 1">
            <a:extLst>
              <a:ext uri="{FF2B5EF4-FFF2-40B4-BE49-F238E27FC236}">
                <a16:creationId xmlns:a16="http://schemas.microsoft.com/office/drawing/2014/main" id="{54AE6F26-EA3E-592F-41FC-B23FB4F07D34}"/>
              </a:ext>
            </a:extLst>
          </p:cNvPr>
          <p:cNvSpPr/>
          <p:nvPr/>
        </p:nvSpPr>
        <p:spPr>
          <a:xfrm>
            <a:off x="442912" y="132067"/>
            <a:ext cx="2671127"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a:ln>
                  <a:noFill/>
                </a:ln>
                <a:solidFill>
                  <a:srgbClr val="A4A3B2"/>
                </a:solidFill>
                <a:effectLst/>
                <a:uLnTx/>
                <a:uFillTx/>
                <a:ea typeface="Georgia"/>
                <a:cs typeface="Georgia"/>
                <a:sym typeface="Georgia"/>
              </a:rPr>
              <a:t>2. CIVILĀS AIZSARDZĪBAS SISTĒMA UN NORMATĪVAIS UN POLITIKAS PLĀNOŠANAS IETVARS</a:t>
            </a:r>
          </a:p>
        </p:txBody>
      </p:sp>
      <p:sp>
        <p:nvSpPr>
          <p:cNvPr id="5" name="Satura vietturis 2">
            <a:extLst>
              <a:ext uri="{FF2B5EF4-FFF2-40B4-BE49-F238E27FC236}">
                <a16:creationId xmlns:a16="http://schemas.microsoft.com/office/drawing/2014/main" id="{3C00543C-F4A1-E649-E0C9-99BB084CFC93}"/>
              </a:ext>
            </a:extLst>
          </p:cNvPr>
          <p:cNvSpPr txBox="1">
            <a:spLocks/>
          </p:cNvSpPr>
          <p:nvPr/>
        </p:nvSpPr>
        <p:spPr>
          <a:xfrm>
            <a:off x="442910" y="1822553"/>
            <a:ext cx="4635569" cy="469917"/>
          </a:xfrm>
          <a:prstGeom prst="rect">
            <a:avLst/>
          </a:prstGeom>
          <a:solidFill>
            <a:srgbClr val="D18D85"/>
          </a:solidFill>
        </p:spPr>
        <p:txBody>
          <a:bodyPr vert="horz" wrap="square" lIns="144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sz="1400">
                <a:solidFill>
                  <a:schemeClr val="tx1"/>
                </a:solidFill>
              </a:rPr>
              <a:t>Starptautiskā un ES normatīvā regulējuma un politikas plānošanas dokumentu piemēri</a:t>
            </a:r>
            <a:r>
              <a:rPr lang="en-US" sz="1400">
                <a:solidFill>
                  <a:schemeClr val="tx1"/>
                </a:solidFill>
              </a:rPr>
              <a:t>:</a:t>
            </a:r>
            <a:endParaRPr lang="lv-LV" sz="1400">
              <a:solidFill>
                <a:schemeClr val="tx1"/>
              </a:solidFill>
            </a:endParaRPr>
          </a:p>
        </p:txBody>
      </p:sp>
      <p:sp>
        <p:nvSpPr>
          <p:cNvPr id="22" name="Rectangle 21">
            <a:extLst>
              <a:ext uri="{FF2B5EF4-FFF2-40B4-BE49-F238E27FC236}">
                <a16:creationId xmlns:a16="http://schemas.microsoft.com/office/drawing/2014/main" id="{88C41322-A6A0-BE62-8BCF-45105927FE4C}"/>
              </a:ext>
            </a:extLst>
          </p:cNvPr>
          <p:cNvSpPr/>
          <p:nvPr/>
        </p:nvSpPr>
        <p:spPr>
          <a:xfrm>
            <a:off x="442911" y="1819276"/>
            <a:ext cx="72000" cy="469916"/>
          </a:xfrm>
          <a:prstGeom prst="rect">
            <a:avLst/>
          </a:prstGeom>
          <a:solidFill>
            <a:srgbClr val="525A72"/>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4B436DA1-5D6D-C5CA-FF35-B921088B411A}"/>
              </a:ext>
            </a:extLst>
          </p:cNvPr>
          <p:cNvSpPr/>
          <p:nvPr/>
        </p:nvSpPr>
        <p:spPr>
          <a:xfrm>
            <a:off x="5006481" y="1819275"/>
            <a:ext cx="72000" cy="435292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31" name="Group 30">
            <a:extLst>
              <a:ext uri="{FF2B5EF4-FFF2-40B4-BE49-F238E27FC236}">
                <a16:creationId xmlns:a16="http://schemas.microsoft.com/office/drawing/2014/main" id="{7127EB1B-DE96-DC39-9146-CEF726D947BF}"/>
              </a:ext>
            </a:extLst>
          </p:cNvPr>
          <p:cNvGrpSpPr/>
          <p:nvPr/>
        </p:nvGrpSpPr>
        <p:grpSpPr>
          <a:xfrm>
            <a:off x="6635744" y="132067"/>
            <a:ext cx="5113344" cy="217488"/>
            <a:chOff x="6393917" y="132067"/>
            <a:chExt cx="5113344" cy="217488"/>
          </a:xfrm>
        </p:grpSpPr>
        <p:sp>
          <p:nvSpPr>
            <p:cNvPr id="32" name="Rectangle 31">
              <a:extLst>
                <a:ext uri="{FF2B5EF4-FFF2-40B4-BE49-F238E27FC236}">
                  <a16:creationId xmlns:a16="http://schemas.microsoft.com/office/drawing/2014/main" id="{C6E4D409-3D7B-2FD8-B7C7-B258268DB07D}"/>
                </a:ext>
              </a:extLst>
            </p:cNvPr>
            <p:cNvSpPr/>
            <p:nvPr/>
          </p:nvSpPr>
          <p:spPr>
            <a:xfrm>
              <a:off x="639391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1</a:t>
              </a:r>
            </a:p>
          </p:txBody>
        </p:sp>
        <p:sp>
          <p:nvSpPr>
            <p:cNvPr id="33" name="Rectangle 32">
              <a:extLst>
                <a:ext uri="{FF2B5EF4-FFF2-40B4-BE49-F238E27FC236}">
                  <a16:creationId xmlns:a16="http://schemas.microsoft.com/office/drawing/2014/main" id="{2F87CEDC-88AE-3A65-FB55-D124C0A898C4}"/>
                </a:ext>
              </a:extLst>
            </p:cNvPr>
            <p:cNvSpPr/>
            <p:nvPr/>
          </p:nvSpPr>
          <p:spPr>
            <a:xfrm>
              <a:off x="6635744"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ea typeface="Georgia"/>
                  <a:cs typeface="Georgia"/>
                  <a:sym typeface="Georgia"/>
                </a:rPr>
                <a:t>2</a:t>
              </a:r>
              <a:r>
                <a:rPr kumimoji="0" lang="lv-LV" sz="800" b="1" i="0" u="none" strike="noStrike" kern="0" cap="none" spc="0" normalizeH="0" baseline="0">
                  <a:ln>
                    <a:noFill/>
                  </a:ln>
                  <a:effectLst/>
                  <a:uLnTx/>
                  <a:uFillTx/>
                  <a:ea typeface="Georgia"/>
                  <a:cs typeface="Georgia"/>
                  <a:sym typeface="Georgia"/>
                </a:rPr>
                <a:t>.2</a:t>
              </a:r>
            </a:p>
          </p:txBody>
        </p:sp>
        <p:sp>
          <p:nvSpPr>
            <p:cNvPr id="34" name="Rectangle 33">
              <a:extLst>
                <a:ext uri="{FF2B5EF4-FFF2-40B4-BE49-F238E27FC236}">
                  <a16:creationId xmlns:a16="http://schemas.microsoft.com/office/drawing/2014/main" id="{815046FE-C9DA-01DD-B301-B1E707FE182B}"/>
                </a:ext>
              </a:extLst>
            </p:cNvPr>
            <p:cNvSpPr/>
            <p:nvPr/>
          </p:nvSpPr>
          <p:spPr>
            <a:xfrm>
              <a:off x="6877571" y="132067"/>
              <a:ext cx="390420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lv-LV" sz="800" b="1">
                  <a:cs typeface="Arial"/>
                </a:rPr>
                <a:t>Tiesiskais regulējums civilās aizsardzības sistēmas darbības nodrošināšanai</a:t>
              </a:r>
            </a:p>
          </p:txBody>
        </p:sp>
        <p:sp>
          <p:nvSpPr>
            <p:cNvPr id="35" name="Rectangle 34">
              <a:extLst>
                <a:ext uri="{FF2B5EF4-FFF2-40B4-BE49-F238E27FC236}">
                  <a16:creationId xmlns:a16="http://schemas.microsoft.com/office/drawing/2014/main" id="{227EBCE0-AC0A-01B8-91ED-16DF9EF57119}"/>
                </a:ext>
              </a:extLst>
            </p:cNvPr>
            <p:cNvSpPr/>
            <p:nvPr/>
          </p:nvSpPr>
          <p:spPr>
            <a:xfrm>
              <a:off x="1080760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36" name="Rectangle 35">
              <a:extLst>
                <a:ext uri="{FF2B5EF4-FFF2-40B4-BE49-F238E27FC236}">
                  <a16:creationId xmlns:a16="http://schemas.microsoft.com/office/drawing/2014/main" id="{1ECAF34F-005F-1633-F3B8-16D1E6FEE990}"/>
                </a:ext>
              </a:extLst>
            </p:cNvPr>
            <p:cNvSpPr/>
            <p:nvPr/>
          </p:nvSpPr>
          <p:spPr>
            <a:xfrm>
              <a:off x="1104943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37" name="Rectangle 36">
              <a:extLst>
                <a:ext uri="{FF2B5EF4-FFF2-40B4-BE49-F238E27FC236}">
                  <a16:creationId xmlns:a16="http://schemas.microsoft.com/office/drawing/2014/main" id="{8291429A-0614-4B26-3C16-BB7754C126DD}"/>
                </a:ext>
              </a:extLst>
            </p:cNvPr>
            <p:cNvSpPr/>
            <p:nvPr/>
          </p:nvSpPr>
          <p:spPr>
            <a:xfrm>
              <a:off x="11291261"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lv-LV" sz="800" b="1" kern="0">
                  <a:solidFill>
                    <a:srgbClr val="A4A3B2"/>
                  </a:solidFill>
                  <a:ea typeface="Georgia"/>
                  <a:cs typeface="Georgia"/>
                  <a:sym typeface="Georgia"/>
                </a:rPr>
                <a:t>2</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grpSp>
    </p:spTree>
    <p:extLst>
      <p:ext uri="{BB962C8B-B14F-4D97-AF65-F5344CB8AC3E}">
        <p14:creationId xmlns:p14="http://schemas.microsoft.com/office/powerpoint/2010/main" val="9023805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LASTSLIDEVIEWED" val="2147481963,36,Izmantotie avoti (3/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_16x9_PowerPoint_Template_2024" id="{BFCA0133-6982-9A41-83EB-B5BEADC3CF5E}" vid="{0EDD02ED-29A7-1B45-BF3B-A0CA00E48CB6}"/>
    </a:ext>
  </a:extLst>
</a:theme>
</file>

<file path=ppt/theme/theme2.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ppt/theme/theme3.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51cb120f-d312-4c6b-a4cc-bcc7f473426d">
      <UserInfo>
        <DisplayName>Kateryna Levchuk (UA)</DisplayName>
        <AccountId>102</AccountId>
        <AccountType/>
      </UserInfo>
    </SharedWithUsers>
    <lcf76f155ced4ddcb4097134ff3c332f xmlns="d4c41ca5-56e0-486b-8028-8e1cdea398f5">
      <Terms xmlns="http://schemas.microsoft.com/office/infopath/2007/PartnerControls"/>
    </lcf76f155ced4ddcb4097134ff3c332f>
    <TaxCatchAll xmlns="51cb120f-d312-4c6b-a4cc-bcc7f473426d"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EFF7F3D1589944B90553ACEA3976663" ma:contentTypeVersion="15" ma:contentTypeDescription="Create a new document." ma:contentTypeScope="" ma:versionID="6f5a9c38107a468910586e54a44bf668">
  <xsd:schema xmlns:xsd="http://www.w3.org/2001/XMLSchema" xmlns:xs="http://www.w3.org/2001/XMLSchema" xmlns:p="http://schemas.microsoft.com/office/2006/metadata/properties" xmlns:ns2="d4c41ca5-56e0-486b-8028-8e1cdea398f5" xmlns:ns3="51cb120f-d312-4c6b-a4cc-bcc7f473426d" targetNamespace="http://schemas.microsoft.com/office/2006/metadata/properties" ma:root="true" ma:fieldsID="319bd485ab46f162b11c7c7cd04d0b0e" ns2:_="" ns3:_="">
    <xsd:import namespace="d4c41ca5-56e0-486b-8028-8e1cdea398f5"/>
    <xsd:import namespace="51cb120f-d312-4c6b-a4cc-bcc7f473426d"/>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SearchProperties"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c41ca5-56e0-486b-8028-8e1cdea398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47bde53e-b0a2-4e98-8550-8a152603f3a2"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1cb120f-d312-4c6b-a4cc-bcc7f473426d"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f52b72c0-8bf2-4414-88c4-a88c88bd1edf}" ma:internalName="TaxCatchAll" ma:showField="CatchAllData" ma:web="51cb120f-d312-4c6b-a4cc-bcc7f473426d">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3B42E8E-E3C8-41CE-9ACE-424ECCC8DA2D}">
  <ds:schemaRefs>
    <ds:schemaRef ds:uri="http://schemas.microsoft.com/sharepoint/v3/contenttype/forms"/>
  </ds:schemaRefs>
</ds:datastoreItem>
</file>

<file path=customXml/itemProps2.xml><?xml version="1.0" encoding="utf-8"?>
<ds:datastoreItem xmlns:ds="http://schemas.openxmlformats.org/officeDocument/2006/customXml" ds:itemID="{69F20CC1-55D2-43E4-8E08-4863AFE4AD21}">
  <ds:schemaRefs>
    <ds:schemaRef ds:uri="http://purl.org/dc/elements/1.1/"/>
    <ds:schemaRef ds:uri="http://schemas.microsoft.com/office/2006/documentManagement/types"/>
    <ds:schemaRef ds:uri="http://schemas.microsoft.com/office/infopath/2007/PartnerControls"/>
    <ds:schemaRef ds:uri="http://schemas.microsoft.com/office/2006/metadata/properties"/>
    <ds:schemaRef ds:uri="http://purl.org/dc/dcmitype/"/>
    <ds:schemaRef ds:uri="http://www.w3.org/XML/1998/namespace"/>
    <ds:schemaRef ds:uri="http://purl.org/dc/terms/"/>
    <ds:schemaRef ds:uri="http://schemas.openxmlformats.org/package/2006/metadata/core-properties"/>
    <ds:schemaRef ds:uri="51cb120f-d312-4c6b-a4cc-bcc7f473426d"/>
    <ds:schemaRef ds:uri="d4c41ca5-56e0-486b-8028-8e1cdea398f5"/>
  </ds:schemaRefs>
</ds:datastoreItem>
</file>

<file path=customXml/itemProps3.xml><?xml version="1.0" encoding="utf-8"?>
<ds:datastoreItem xmlns:ds="http://schemas.openxmlformats.org/officeDocument/2006/customXml" ds:itemID="{66690D5C-EFF1-4535-9B7B-80BFB3B59A8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4c41ca5-56e0-486b-8028-8e1cdea398f5"/>
    <ds:schemaRef ds:uri="51cb120f-d312-4c6b-a4cc-bcc7f47342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wC_16x9_PowerPoint_Template_2024 (1)</Template>
  <TotalTime>7</TotalTime>
  <Words>4833</Words>
  <Application>Microsoft Office PowerPoint</Application>
  <PresentationFormat>Widescreen</PresentationFormat>
  <Paragraphs>681</Paragraphs>
  <Slides>36</Slides>
  <Notes>3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4" baseType="lpstr">
      <vt:lpstr>Arial</vt:lpstr>
      <vt:lpstr>Calibri</vt:lpstr>
      <vt:lpstr>Georgia</vt:lpstr>
      <vt:lpstr>Open Sans</vt:lpstr>
      <vt:lpstr>Times New Roman</vt:lpstr>
      <vt:lpstr>Verdana</vt:lpstr>
      <vt:lpstr>PwC</vt:lpstr>
      <vt:lpstr>think-cell Slide</vt:lpstr>
      <vt:lpstr>PowerPoint Presentation</vt:lpstr>
      <vt:lpstr>Uzdevumi</vt:lpstr>
      <vt:lpstr>Satura rādītājs</vt:lpstr>
      <vt:lpstr>Ievaddiskusija ar izglītojamajiem par civilās aizsardzības sistēmu Latvijā</vt:lpstr>
      <vt:lpstr>2.1. Civilās aizsardzības sistēmas struktūra un loma nacionālās drošības sistēmā</vt:lpstr>
      <vt:lpstr>Civilās aizsardzības sistēmas un katastrofu medicīnas sistēmas loma nacionālās drošības sistēmā</vt:lpstr>
      <vt:lpstr>PowerPoint Presentation</vt:lpstr>
      <vt:lpstr>Civilās aizsardzības normatīvo aktu pakļautības sistēmas skaidrojums</vt:lpstr>
      <vt:lpstr>Civilās aizsardzības normatīvo aktu pakļautības sistēmas skaidrojums</vt:lpstr>
      <vt:lpstr>Civilās aizsardzības normatīvo aktu pakļautības sistēmas skaidrojums</vt:lpstr>
      <vt:lpstr>Civilās aizsardzības normatīvo aktu pakļautības sistēmas skaidrojums</vt:lpstr>
      <vt:lpstr>PowerPoint Presentation</vt:lpstr>
      <vt:lpstr>Civilās aizsardzības un katastrofas pārvaldīšanas likums</vt:lpstr>
      <vt:lpstr>Vadības struktūra civilās aizsardzības sistēmā</vt:lpstr>
      <vt:lpstr>Civilās aizsardzības un katastrofas pārvaldīšanas sistēmas atbildīgās institūcijas</vt:lpstr>
      <vt:lpstr>Civilās aizsardzības sistēmas organizācijas pamatā –  teritoriju sadarbības princips</vt:lpstr>
      <vt:lpstr>Civilās aizsardzības koordinācijas platformas</vt:lpstr>
      <vt:lpstr>Civilās aizsardzības operacionālās vadības centra uzdevumi</vt:lpstr>
      <vt:lpstr>PowerPoint Presentation</vt:lpstr>
      <vt:lpstr>Katastrofu pārvaldīšanas 3 līmeņu civilās aizsardzības plāni</vt:lpstr>
      <vt:lpstr>Valsts civilās aizsardzības plāns</vt:lpstr>
      <vt:lpstr>Valsts civilās aizsardzības plāna izstrādes process</vt:lpstr>
      <vt:lpstr>Civilās aizsardzības plānā iekļaujamā informācija</vt:lpstr>
      <vt:lpstr>Civilās aizsardzības plānā iekļaujamā informācija</vt:lpstr>
      <vt:lpstr>PowerPoint Presentation</vt:lpstr>
      <vt:lpstr>Ārkārtējā situācija (ĀS)</vt:lpstr>
      <vt:lpstr>Izsludinot ārkārtējo situāciju, Ministru kabinetam ir tiesības noteikt:</vt:lpstr>
      <vt:lpstr>Izņēmuma stāvoklis (IS)</vt:lpstr>
      <vt:lpstr>Atkarībā no valsts apdraudējuma veida, intensitātes un rakstura Ministru kabinets var noteikt:  (1/2)</vt:lpstr>
      <vt:lpstr>Atkarībā no valsts apdraudējuma veida, intensitātes un rakstura Ministru kabinets var noteikt:  (2/2)</vt:lpstr>
      <vt:lpstr>Noslēgumā</vt:lpstr>
      <vt:lpstr>PowerPoint Presentation</vt:lpstr>
      <vt:lpstr>Piemēri docētājiem Īpašo tiesisko režīmu izsludināšanas piemēri</vt:lpstr>
      <vt:lpstr>Izmantotie avoti (1/3)</vt:lpstr>
      <vt:lpstr>Izmantotie avoti (2/3)</vt:lpstr>
      <vt:lpstr>Izmantotie avoti (3/3)</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
  <cp:keywords/>
  <dc:description/>
  <cp:lastModifiedBy>Sindija Kirsteine (LV)</cp:lastModifiedBy>
  <cp:revision>1</cp:revision>
  <dcterms:created xsi:type="dcterms:W3CDTF">2024-05-09T17:35:29Z</dcterms:created>
  <dcterms:modified xsi:type="dcterms:W3CDTF">2024-09-02T07:23:3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EFF7F3D1589944B90553ACEA3976663</vt:lpwstr>
  </property>
  <property fmtid="{D5CDD505-2E9C-101B-9397-08002B2CF9AE}" pid="3" name="MediaServiceImageTags">
    <vt:lpwstr/>
  </property>
  <property fmtid="{D5CDD505-2E9C-101B-9397-08002B2CF9AE}" pid="4" name="lcf76f155ced4ddcb4097134ff3c332f">
    <vt:lpwstr/>
  </property>
  <property fmtid="{D5CDD505-2E9C-101B-9397-08002B2CF9AE}" pid="5" name="TaxCatchAll">
    <vt:lpwstr/>
  </property>
</Properties>
</file>